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4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5.xml" ContentType="application/vnd.openxmlformats-officedocument.theme+xml"/>
  <Override PartName="/ppt/slideLayouts/slideLayout201.xml" ContentType="application/vnd.openxmlformats-officedocument.presentationml.slideLayout+xml"/>
  <Override PartName="/ppt/theme/theme6.xml" ContentType="application/vnd.openxmlformats-officedocument.them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slideLayouts/slideLayout202.xml" ContentType="application/vnd.openxmlformats-officedocument.presentationml.slideLayout+xml"/>
  <Override PartName="/ppt/theme/theme7.xml" ContentType="application/vnd.openxmlformats-officedocument.theme+xml"/>
  <Override PartName="/ppt/slideLayouts/slideLayout203.xml" ContentType="application/vnd.openxmlformats-officedocument.presentationml.slideLayout+xml"/>
  <Override PartName="/ppt/theme/theme8.xml" ContentType="application/vnd.openxmlformats-officedocument.theme+xml"/>
  <Override PartName="/ppt/tags/tag210.xml" ContentType="application/vnd.openxmlformats-officedocument.presentationml.tags+xml"/>
  <Override PartName="/ppt/slideLayouts/slideLayout204.xml" ContentType="application/vnd.openxmlformats-officedocument.presentationml.slideLayout+xml"/>
  <Override PartName="/ppt/theme/theme9.xml" ContentType="application/vnd.openxmlformats-officedocument.theme+xml"/>
  <Override PartName="/ppt/tags/tag211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212.xml" ContentType="application/vnd.openxmlformats-officedocument.presentationml.tags+xml"/>
  <Override PartName="/ppt/notesSlides/notesSlide1.xml" ContentType="application/vnd.openxmlformats-officedocument.presentationml.notesSl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2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notesSlides/notesSlide3.xml" ContentType="application/vnd.openxmlformats-officedocument.presentationml.notesSlide+xml"/>
  <Override PartName="/ppt/tags/tag220.xml" ContentType="application/vnd.openxmlformats-officedocument.presentationml.tags+xml"/>
  <Override PartName="/ppt/notesSlides/notesSlide4.xml" ContentType="application/vnd.openxmlformats-officedocument.presentationml.notesSlide+xml"/>
  <Override PartName="/ppt/tags/tag221.xml" ContentType="application/vnd.openxmlformats-officedocument.presentationml.tags+xml"/>
  <Override PartName="/ppt/notesSlides/notesSlide5.xml" ContentType="application/vnd.openxmlformats-officedocument.presentationml.notesSlide+xml"/>
  <Override PartName="/ppt/tags/tag222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2"/>
    <p:sldMasterId id="2147483871" r:id="rId3"/>
    <p:sldMasterId id="2147483744" r:id="rId4"/>
    <p:sldMasterId id="2147483785" r:id="rId5"/>
    <p:sldMasterId id="2147483826" r:id="rId6"/>
    <p:sldMasterId id="2147483869" r:id="rId7"/>
    <p:sldMasterId id="2147483872" r:id="rId8"/>
    <p:sldMasterId id="2147483702" r:id="rId9"/>
    <p:sldMasterId id="2147483875" r:id="rId10"/>
  </p:sldMasterIdLst>
  <p:notesMasterIdLst>
    <p:notesMasterId r:id="rId20"/>
  </p:notesMasterIdLst>
  <p:handoutMasterIdLst>
    <p:handoutMasterId r:id="rId21"/>
  </p:handoutMasterIdLst>
  <p:sldIdLst>
    <p:sldId id="2147474793" r:id="rId11"/>
    <p:sldId id="2147328984" r:id="rId12"/>
    <p:sldId id="2147328969" r:id="rId13"/>
    <p:sldId id="2147328970" r:id="rId14"/>
    <p:sldId id="2147328994" r:id="rId15"/>
    <p:sldId id="2147328995" r:id="rId16"/>
    <p:sldId id="2147328957" r:id="rId17"/>
    <p:sldId id="2147328972" r:id="rId18"/>
    <p:sldId id="2145706274" r:id="rId19"/>
  </p:sldIdLst>
  <p:sldSz cx="12192000" cy="6858000"/>
  <p:notesSz cx="7104063" cy="10234613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C0FF"/>
    <a:srgbClr val="2A1848"/>
    <a:srgbClr val="4D217A"/>
    <a:srgbClr val="FFFFFF"/>
    <a:srgbClr val="1B1534"/>
    <a:srgbClr val="FABA2C"/>
    <a:srgbClr val="FF9900"/>
    <a:srgbClr val="FF0000"/>
    <a:srgbClr val="2A1949"/>
    <a:srgbClr val="2117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A19CCE-2897-4C73-BD4B-3432BAAAED37}" v="1" dt="2023-05-19T11:49:29.959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 w="12700" cmpd="sng">
              <a:solidFill>
                <a:schemeClr val="accent6"/>
              </a:solidFill>
            </a:ln>
          </a:top>
        </a:tcBdr>
      </a:tcStyle>
    </a:band1H>
    <a:band2H>
      <a:tcStyle>
        <a:tcBdr>
          <a:top>
            <a:ln w="12700" cmpd="sng">
              <a:solidFill>
                <a:schemeClr val="accent6"/>
              </a:solidFill>
            </a:ln>
          </a:top>
        </a:tcBdr>
      </a:tcStyle>
    </a:band2H>
    <a:band1V>
      <a:tcStyle>
        <a:tcBdr/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lastRow>
    <a:firstRow>
      <a:tcTxStyle>
        <a:fontRef idx="minor">
          <a:scrgbClr r="0" g="0" b="0"/>
        </a:fontRef>
        <a:schemeClr val="accent2"/>
      </a:tcTxStyle>
      <a:tcStyle>
        <a:tcBdr>
          <a:top>
            <a:ln w="0" cmpd="sng">
              <a:solidFill>
                <a:schemeClr val="accent2"/>
              </a:solidFill>
            </a:ln>
          </a:top>
          <a:bottom>
            <a:ln w="252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372" autoAdjust="0"/>
  </p:normalViewPr>
  <p:slideViewPr>
    <p:cSldViewPr snapToGrid="0">
      <p:cViewPr varScale="1">
        <p:scale>
          <a:sx n="58" d="100"/>
          <a:sy n="58" d="100"/>
        </p:scale>
        <p:origin x="96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6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6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" Target="slides/slide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4.xml"/><Relationship Id="rId15" Type="http://schemas.openxmlformats.org/officeDocument/2006/relationships/slide" Target="slides/slide5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" Target="slides/slide4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gemanyfar, Nima" userId="33ffb091-94b2-4591-b960-503e0661b26c" providerId="ADAL" clId="{D4A19CCE-2897-4C73-BD4B-3432BAAAED37}"/>
    <pc:docChg chg="undo custSel modSld modMainMaster">
      <pc:chgData name="Pegemanyfar, Nima" userId="33ffb091-94b2-4591-b960-503e0661b26c" providerId="ADAL" clId="{D4A19CCE-2897-4C73-BD4B-3432BAAAED37}" dt="2023-05-19T11:49:29.959" v="171"/>
      <pc:docMkLst>
        <pc:docMk/>
      </pc:docMkLst>
      <pc:sldChg chg="addSp delSp modSp mod">
        <pc:chgData name="Pegemanyfar, Nima" userId="33ffb091-94b2-4591-b960-503e0661b26c" providerId="ADAL" clId="{D4A19CCE-2897-4C73-BD4B-3432BAAAED37}" dt="2023-05-19T11:49:29.959" v="171"/>
        <pc:sldMkLst>
          <pc:docMk/>
          <pc:sldMk cId="655767192" sldId="2145706274"/>
        </pc:sldMkLst>
        <pc:spChg chg="add mod">
          <ac:chgData name="Pegemanyfar, Nima" userId="33ffb091-94b2-4591-b960-503e0661b26c" providerId="ADAL" clId="{D4A19CCE-2897-4C73-BD4B-3432BAAAED37}" dt="2023-05-19T11:49:29.959" v="171"/>
          <ac:spMkLst>
            <pc:docMk/>
            <pc:sldMk cId="655767192" sldId="2145706274"/>
            <ac:spMk id="3" creationId="{1E09B7E8-B1AA-E69B-8B75-8C21EA2A80BD}"/>
          </ac:spMkLst>
        </pc:spChg>
        <pc:spChg chg="del">
          <ac:chgData name="Pegemanyfar, Nima" userId="33ffb091-94b2-4591-b960-503e0661b26c" providerId="ADAL" clId="{D4A19CCE-2897-4C73-BD4B-3432BAAAED37}" dt="2023-05-19T11:48:23.544" v="155" actId="478"/>
          <ac:spMkLst>
            <pc:docMk/>
            <pc:sldMk cId="655767192" sldId="2145706274"/>
            <ac:spMk id="17" creationId="{86CDD08A-A9CC-4661-9CDD-B485EBCDED97}"/>
          </ac:spMkLst>
        </pc:spChg>
        <pc:spChg chg="mod">
          <ac:chgData name="Pegemanyfar, Nima" userId="33ffb091-94b2-4591-b960-503e0661b26c" providerId="ADAL" clId="{D4A19CCE-2897-4C73-BD4B-3432BAAAED37}" dt="2023-05-19T11:39:12.036" v="4" actId="20577"/>
          <ac:spMkLst>
            <pc:docMk/>
            <pc:sldMk cId="655767192" sldId="2145706274"/>
            <ac:spMk id="25" creationId="{0120477B-0CB2-4C68-83EF-61401AE001D0}"/>
          </ac:spMkLst>
        </pc:spChg>
      </pc:sldChg>
      <pc:sldChg chg="modSp mod">
        <pc:chgData name="Pegemanyfar, Nima" userId="33ffb091-94b2-4591-b960-503e0661b26c" providerId="ADAL" clId="{D4A19CCE-2897-4C73-BD4B-3432BAAAED37}" dt="2023-05-19T11:36:52.917" v="2" actId="1582"/>
        <pc:sldMkLst>
          <pc:docMk/>
          <pc:sldMk cId="1717847519" sldId="2147328969"/>
        </pc:sldMkLst>
        <pc:spChg chg="mod">
          <ac:chgData name="Pegemanyfar, Nima" userId="33ffb091-94b2-4591-b960-503e0661b26c" providerId="ADAL" clId="{D4A19CCE-2897-4C73-BD4B-3432BAAAED37}" dt="2023-05-19T11:36:52.917" v="2" actId="1582"/>
          <ac:spMkLst>
            <pc:docMk/>
            <pc:sldMk cId="1717847519" sldId="2147328969"/>
            <ac:spMk id="5" creationId="{825DED2F-A470-488D-A29E-8EFE150928E9}"/>
          </ac:spMkLst>
        </pc:spChg>
        <pc:spChg chg="mod">
          <ac:chgData name="Pegemanyfar, Nima" userId="33ffb091-94b2-4591-b960-503e0661b26c" providerId="ADAL" clId="{D4A19CCE-2897-4C73-BD4B-3432BAAAED37}" dt="2023-05-19T10:48:25.033" v="0" actId="20577"/>
          <ac:spMkLst>
            <pc:docMk/>
            <pc:sldMk cId="1717847519" sldId="2147328969"/>
            <ac:spMk id="33" creationId="{0A936221-8820-4B57-8537-B40AAF23A9E0}"/>
          </ac:spMkLst>
        </pc:spChg>
      </pc:sldChg>
      <pc:sldChg chg="modSp mod">
        <pc:chgData name="Pegemanyfar, Nima" userId="33ffb091-94b2-4591-b960-503e0661b26c" providerId="ADAL" clId="{D4A19CCE-2897-4C73-BD4B-3432BAAAED37}" dt="2023-05-19T11:49:23.434" v="170" actId="20577"/>
        <pc:sldMkLst>
          <pc:docMk/>
          <pc:sldMk cId="3888130144" sldId="2147328970"/>
        </pc:sldMkLst>
        <pc:spChg chg="mod">
          <ac:chgData name="Pegemanyfar, Nima" userId="33ffb091-94b2-4591-b960-503e0661b26c" providerId="ADAL" clId="{D4A19CCE-2897-4C73-BD4B-3432BAAAED37}" dt="2023-05-19T11:49:23.434" v="170" actId="20577"/>
          <ac:spMkLst>
            <pc:docMk/>
            <pc:sldMk cId="3888130144" sldId="2147328970"/>
            <ac:spMk id="38" creationId="{86C16217-58BB-4EC4-84B6-66AF044EB1AA}"/>
          </ac:spMkLst>
        </pc:spChg>
      </pc:sldChg>
      <pc:sldChg chg="modSp mod">
        <pc:chgData name="Pegemanyfar, Nima" userId="33ffb091-94b2-4591-b960-503e0661b26c" providerId="ADAL" clId="{D4A19CCE-2897-4C73-BD4B-3432BAAAED37}" dt="2023-05-19T11:47:28.412" v="154" actId="20577"/>
        <pc:sldMkLst>
          <pc:docMk/>
          <pc:sldMk cId="709340855" sldId="2147474793"/>
        </pc:sldMkLst>
        <pc:spChg chg="mod">
          <ac:chgData name="Pegemanyfar, Nima" userId="33ffb091-94b2-4591-b960-503e0661b26c" providerId="ADAL" clId="{D4A19CCE-2897-4C73-BD4B-3432BAAAED37}" dt="2023-05-19T11:47:28.412" v="154" actId="20577"/>
          <ac:spMkLst>
            <pc:docMk/>
            <pc:sldMk cId="709340855" sldId="2147474793"/>
            <ac:spMk id="3" creationId="{6D825A8D-B90A-DC6C-753D-B3052E3A90A1}"/>
          </ac:spMkLst>
        </pc:spChg>
      </pc:sldChg>
      <pc:sldMasterChg chg="modSp mod delSldLayout modSldLayout">
        <pc:chgData name="Pegemanyfar, Nima" userId="33ffb091-94b2-4591-b960-503e0661b26c" providerId="ADAL" clId="{D4A19CCE-2897-4C73-BD4B-3432BAAAED37}" dt="2023-05-19T11:49:10.203" v="163" actId="20577"/>
        <pc:sldMasterMkLst>
          <pc:docMk/>
          <pc:sldMasterMk cId="2636977341" sldId="2147483648"/>
        </pc:sldMasterMkLst>
        <pc:spChg chg="mod">
          <ac:chgData name="Pegemanyfar, Nima" userId="33ffb091-94b2-4591-b960-503e0661b26c" providerId="ADAL" clId="{D4A19CCE-2897-4C73-BD4B-3432BAAAED37}" dt="2023-05-19T11:45:35.402" v="137" actId="20577"/>
          <ac:spMkLst>
            <pc:docMk/>
            <pc:sldMasterMk cId="2636977341" sldId="2147483648"/>
            <ac:spMk id="10" creationId="{00B4D258-65B1-4091-875A-AE678469BF41}"/>
          </ac:spMkLst>
        </pc:spChg>
        <pc:sldLayoutChg chg="modSp mod">
          <pc:chgData name="Pegemanyfar, Nima" userId="33ffb091-94b2-4591-b960-503e0661b26c" providerId="ADAL" clId="{D4A19CCE-2897-4C73-BD4B-3432BAAAED37}" dt="2023-05-19T11:45:06.821" v="123" actId="20577"/>
          <pc:sldLayoutMkLst>
            <pc:docMk/>
            <pc:sldMasterMk cId="2636977341" sldId="2147483648"/>
            <pc:sldLayoutMk cId="3830381753" sldId="2147483649"/>
          </pc:sldLayoutMkLst>
          <pc:spChg chg="mod">
            <ac:chgData name="Pegemanyfar, Nima" userId="33ffb091-94b2-4591-b960-503e0661b26c" providerId="ADAL" clId="{D4A19CCE-2897-4C73-BD4B-3432BAAAED37}" dt="2023-05-19T11:45:06.821" v="123" actId="20577"/>
            <ac:spMkLst>
              <pc:docMk/>
              <pc:sldMasterMk cId="2636977341" sldId="2147483648"/>
              <pc:sldLayoutMk cId="3830381753" sldId="2147483649"/>
              <ac:spMk id="15" creationId="{43B07ABE-0FDD-4360-94CB-BE49F6F0B457}"/>
            </ac:spMkLst>
          </pc:spChg>
        </pc:sldLayoutChg>
        <pc:sldLayoutChg chg="del">
          <pc:chgData name="Pegemanyfar, Nima" userId="33ffb091-94b2-4591-b960-503e0661b26c" providerId="ADAL" clId="{D4A19CCE-2897-4C73-BD4B-3432BAAAED37}" dt="2023-05-19T11:45:14.558" v="124" actId="2696"/>
          <pc:sldLayoutMkLst>
            <pc:docMk/>
            <pc:sldMasterMk cId="2636977341" sldId="2147483648"/>
            <pc:sldLayoutMk cId="1048541785" sldId="2147483661"/>
          </pc:sldLayoutMkLst>
        </pc:sldLayoutChg>
        <pc:sldLayoutChg chg="modSp mod">
          <pc:chgData name="Pegemanyfar, Nima" userId="33ffb091-94b2-4591-b960-503e0661b26c" providerId="ADAL" clId="{D4A19CCE-2897-4C73-BD4B-3432BAAAED37}" dt="2023-05-19T11:49:03.778" v="159" actId="20577"/>
          <pc:sldLayoutMkLst>
            <pc:docMk/>
            <pc:sldMasterMk cId="2636977341" sldId="2147483648"/>
            <pc:sldLayoutMk cId="1936371516" sldId="2147483680"/>
          </pc:sldLayoutMkLst>
          <pc:spChg chg="mod">
            <ac:chgData name="Pegemanyfar, Nima" userId="33ffb091-94b2-4591-b960-503e0661b26c" providerId="ADAL" clId="{D4A19CCE-2897-4C73-BD4B-3432BAAAED37}" dt="2023-05-19T11:49:03.778" v="159" actId="20577"/>
            <ac:spMkLst>
              <pc:docMk/>
              <pc:sldMasterMk cId="2636977341" sldId="2147483648"/>
              <pc:sldLayoutMk cId="1936371516" sldId="2147483680"/>
              <ac:spMk id="12" creationId="{900EC468-32A2-44BE-96FC-38C3394BF4FA}"/>
            </ac:spMkLst>
          </pc:spChg>
        </pc:sldLayoutChg>
        <pc:sldLayoutChg chg="del">
          <pc:chgData name="Pegemanyfar, Nima" userId="33ffb091-94b2-4591-b960-503e0661b26c" providerId="ADAL" clId="{D4A19CCE-2897-4C73-BD4B-3432BAAAED37}" dt="2023-05-19T11:45:15.219" v="125" actId="2696"/>
          <pc:sldLayoutMkLst>
            <pc:docMk/>
            <pc:sldMasterMk cId="2636977341" sldId="2147483648"/>
            <pc:sldLayoutMk cId="3822521847" sldId="2147483689"/>
          </pc:sldLayoutMkLst>
        </pc:sldLayoutChg>
        <pc:sldLayoutChg chg="del">
          <pc:chgData name="Pegemanyfar, Nima" userId="33ffb091-94b2-4591-b960-503e0661b26c" providerId="ADAL" clId="{D4A19CCE-2897-4C73-BD4B-3432BAAAED37}" dt="2023-05-19T11:45:16.467" v="126" actId="2696"/>
          <pc:sldLayoutMkLst>
            <pc:docMk/>
            <pc:sldMasterMk cId="2636977341" sldId="2147483648"/>
            <pc:sldLayoutMk cId="956459006" sldId="2147483691"/>
          </pc:sldLayoutMkLst>
        </pc:sldLayoutChg>
        <pc:sldLayoutChg chg="del">
          <pc:chgData name="Pegemanyfar, Nima" userId="33ffb091-94b2-4591-b960-503e0661b26c" providerId="ADAL" clId="{D4A19CCE-2897-4C73-BD4B-3432BAAAED37}" dt="2023-05-19T11:45:17.043" v="127" actId="2696"/>
          <pc:sldLayoutMkLst>
            <pc:docMk/>
            <pc:sldMasterMk cId="2636977341" sldId="2147483648"/>
            <pc:sldLayoutMk cId="1766002889" sldId="2147483692"/>
          </pc:sldLayoutMkLst>
        </pc:sldLayoutChg>
        <pc:sldLayoutChg chg="modSp mod">
          <pc:chgData name="Pegemanyfar, Nima" userId="33ffb091-94b2-4591-b960-503e0661b26c" providerId="ADAL" clId="{D4A19CCE-2897-4C73-BD4B-3432BAAAED37}" dt="2023-05-19T11:46:17.754" v="145" actId="20577"/>
          <pc:sldLayoutMkLst>
            <pc:docMk/>
            <pc:sldMasterMk cId="2636977341" sldId="2147483648"/>
            <pc:sldLayoutMk cId="4247169562" sldId="2147483697"/>
          </pc:sldLayoutMkLst>
          <pc:spChg chg="mod">
            <ac:chgData name="Pegemanyfar, Nima" userId="33ffb091-94b2-4591-b960-503e0661b26c" providerId="ADAL" clId="{D4A19CCE-2897-4C73-BD4B-3432BAAAED37}" dt="2023-05-19T11:46:17.754" v="145" actId="20577"/>
            <ac:spMkLst>
              <pc:docMk/>
              <pc:sldMasterMk cId="2636977341" sldId="2147483648"/>
              <pc:sldLayoutMk cId="4247169562" sldId="2147483697"/>
              <ac:spMk id="19" creationId="{21CEE93F-0590-461F-A26C-B76B7B67C05B}"/>
            </ac:spMkLst>
          </pc:spChg>
        </pc:sldLayoutChg>
        <pc:sldLayoutChg chg="modSp mod">
          <pc:chgData name="Pegemanyfar, Nima" userId="33ffb091-94b2-4591-b960-503e0661b26c" providerId="ADAL" clId="{D4A19CCE-2897-4C73-BD4B-3432BAAAED37}" dt="2023-05-19T11:49:10.203" v="163" actId="20577"/>
          <pc:sldLayoutMkLst>
            <pc:docMk/>
            <pc:sldMasterMk cId="2636977341" sldId="2147483648"/>
            <pc:sldLayoutMk cId="2269700333" sldId="2147483698"/>
          </pc:sldLayoutMkLst>
          <pc:spChg chg="mod">
            <ac:chgData name="Pegemanyfar, Nima" userId="33ffb091-94b2-4591-b960-503e0661b26c" providerId="ADAL" clId="{D4A19CCE-2897-4C73-BD4B-3432BAAAED37}" dt="2023-05-19T11:49:10.203" v="163" actId="20577"/>
            <ac:spMkLst>
              <pc:docMk/>
              <pc:sldMasterMk cId="2636977341" sldId="2147483648"/>
              <pc:sldLayoutMk cId="2269700333" sldId="2147483698"/>
              <ac:spMk id="14" creationId="{CDF11FF7-3657-4591-BE50-74683C0E6F43}"/>
            </ac:spMkLst>
          </pc:spChg>
        </pc:sldLayoutChg>
        <pc:sldLayoutChg chg="modSp mod">
          <pc:chgData name="Pegemanyfar, Nima" userId="33ffb091-94b2-4591-b960-503e0661b26c" providerId="ADAL" clId="{D4A19CCE-2897-4C73-BD4B-3432BAAAED37}" dt="2023-05-19T11:46:04.439" v="141" actId="20577"/>
          <pc:sldLayoutMkLst>
            <pc:docMk/>
            <pc:sldMasterMk cId="2636977341" sldId="2147483648"/>
            <pc:sldLayoutMk cId="3335902106" sldId="2147483701"/>
          </pc:sldLayoutMkLst>
          <pc:spChg chg="mod">
            <ac:chgData name="Pegemanyfar, Nima" userId="33ffb091-94b2-4591-b960-503e0661b26c" providerId="ADAL" clId="{D4A19CCE-2897-4C73-BD4B-3432BAAAED37}" dt="2023-05-19T11:46:04.439" v="141" actId="20577"/>
            <ac:spMkLst>
              <pc:docMk/>
              <pc:sldMasterMk cId="2636977341" sldId="2147483648"/>
              <pc:sldLayoutMk cId="3335902106" sldId="2147483701"/>
              <ac:spMk id="14" creationId="{D15339B3-9DD6-41E7-BF96-594BDE98A08D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975238A-E77C-4161-8153-559CAAFF08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63C429-307D-46CA-9A12-06D8698F75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E2EF3F-42B8-4B9D-A37E-11A4D443AA0D}" type="datetimeFigureOut">
              <a:rPr lang="en-US" sz="1050" smtClean="0"/>
              <a:t>5/19/2023</a:t>
            </a:fld>
            <a:endParaRPr lang="en-US" sz="105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65EB52-C1D0-4343-AE68-5103D2F419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6198C1-5F95-4924-98B6-9E9A0B40AE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/>
              <a:t>Handout</a:t>
            </a:r>
            <a:r>
              <a:rPr lang="en-US" sz="1050"/>
              <a:t> </a:t>
            </a:r>
            <a:fld id="{FE9D864B-9634-41E7-BDAB-3BBEEED548E4}" type="slidenum">
              <a:rPr lang="en-US" sz="1050" smtClean="0"/>
              <a:t>‹Nr.›</a:t>
            </a:fld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27536000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000"/>
            </a:lvl1pPr>
          </a:lstStyle>
          <a:p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000"/>
            </a:lvl1pPr>
          </a:lstStyle>
          <a:p>
            <a:fld id="{B121E240-E9EA-40DE-8EFF-BE00DCAC0262}" type="datetimeFigureOut">
              <a:rPr lang="en-US" noProof="0" smtClean="0"/>
              <a:pPr/>
              <a:t>5/19/2023</a:t>
            </a:fld>
            <a:endParaRPr lang="en-US" noProof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9394" y="4925407"/>
            <a:ext cx="6145276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/>
              <a:t>Formatvorlagen des Textmasters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000"/>
            </a:lvl1pPr>
          </a:lstStyle>
          <a:p>
            <a:endParaRPr lang="en-US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000"/>
            </a:lvl1pPr>
          </a:lstStyle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314762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spcAft>
        <a:spcPts val="3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426385">
              <a:spcAft>
                <a:spcPts val="280"/>
              </a:spcAft>
              <a:defRPr/>
            </a:pPr>
            <a:endParaRPr lang="en-US" sz="600">
              <a:latin typeface="+mj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26385">
              <a:defRPr/>
            </a:pPr>
            <a:r>
              <a:rPr lang="en-US" b="1">
                <a:solidFill>
                  <a:srgbClr val="1B1534"/>
                </a:solidFill>
                <a:latin typeface="Arial"/>
              </a:rPr>
              <a:t>Notice </a:t>
            </a:r>
            <a:fld id="{84EE17C3-51E0-4A9C-B3A8-E6548E6A9E95}" type="slidenum">
              <a:rPr lang="en-US">
                <a:solidFill>
                  <a:srgbClr val="1B1534"/>
                </a:solidFill>
                <a:latin typeface="Arial"/>
              </a:rPr>
              <a:pPr defTabSz="426385">
                <a:defRPr/>
              </a:pPr>
              <a:t>2</a:t>
            </a:fld>
            <a:endParaRPr lang="en-US">
              <a:solidFill>
                <a:srgbClr val="1B153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6466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4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67674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ice </a:t>
            </a:r>
            <a:fld id="{84EE17C3-51E0-4A9C-B3A8-E6548E6A9E9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17512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3000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 </a:t>
            </a:r>
            <a:r>
              <a:rPr lang="de-DE" sz="1200" err="1">
                <a:ea typeface="Arial Unicode MS"/>
                <a:cs typeface="Arial" pitchFamily="34" charset="0"/>
              </a:rPr>
              <a:t>planned</a:t>
            </a:r>
            <a:r>
              <a:rPr lang="de-DE" sz="1200">
                <a:ea typeface="Arial Unicode MS"/>
                <a:cs typeface="Arial" pitchFamily="34" charset="0"/>
              </a:rPr>
              <a:t> annual p</a:t>
            </a:r>
            <a:r>
              <a:rPr lang="en-US" sz="1200" err="1">
                <a:ea typeface="Arial Unicode MS"/>
                <a:cs typeface="Arial" pitchFamily="34" charset="0"/>
              </a:rPr>
              <a:t>roduction</a:t>
            </a:r>
            <a:r>
              <a:rPr lang="en-US" sz="1200">
                <a:ea typeface="Arial Unicode MS"/>
                <a:cs typeface="Arial" pitchFamily="34" charset="0"/>
              </a:rPr>
              <a:t> capacity </a:t>
            </a:r>
            <a:r>
              <a:rPr lang="de-DE" sz="1200" err="1">
                <a:ea typeface="Arial Unicode MS"/>
                <a:cs typeface="Arial" pitchFamily="34" charset="0"/>
              </a:rPr>
              <a:t>by</a:t>
            </a:r>
            <a:r>
              <a:rPr lang="de-DE" sz="1200">
                <a:ea typeface="Arial Unicode MS"/>
                <a:cs typeface="Arial" pitchFamily="34" charset="0"/>
              </a:rPr>
              <a:t> end </a:t>
            </a:r>
            <a:r>
              <a:rPr lang="de-DE" sz="1200" err="1">
                <a:ea typeface="Arial Unicode MS"/>
                <a:cs typeface="Arial" pitchFamily="34" charset="0"/>
              </a:rPr>
              <a:t>of</a:t>
            </a:r>
            <a:r>
              <a:rPr lang="de-DE" sz="1200">
                <a:ea typeface="Arial Unicode MS"/>
                <a:cs typeface="Arial" pitchFamily="34" charset="0"/>
              </a:rPr>
              <a:t> </a:t>
            </a:r>
            <a:r>
              <a:rPr lang="de-DE" sz="1200" err="1">
                <a:ea typeface="Arial Unicode MS"/>
                <a:cs typeface="Arial" pitchFamily="34" charset="0"/>
              </a:rPr>
              <a:t>the</a:t>
            </a:r>
            <a:r>
              <a:rPr lang="de-DE" sz="1200">
                <a:ea typeface="Arial Unicode MS"/>
                <a:cs typeface="Arial" pitchFamily="34" charset="0"/>
              </a:rPr>
              <a:t> </a:t>
            </a:r>
            <a:r>
              <a:rPr lang="de-DE" sz="1200" err="1">
                <a:ea typeface="Arial Unicode MS"/>
                <a:cs typeface="Arial" pitchFamily="34" charset="0"/>
              </a:rPr>
              <a:t>year</a:t>
            </a:r>
            <a:r>
              <a:rPr lang="de-DE" sz="1200">
                <a:ea typeface="Arial Unicode MS"/>
                <a:cs typeface="Arial" pitchFamily="34" charset="0"/>
              </a:rPr>
              <a:t>, </a:t>
            </a:r>
            <a:r>
              <a:rPr lang="de-DE" sz="1200" err="1">
                <a:ea typeface="Arial Unicode MS"/>
                <a:cs typeface="Arial" pitchFamily="34" charset="0"/>
              </a:rPr>
              <a:t>subject</a:t>
            </a:r>
            <a:r>
              <a:rPr lang="de-DE" sz="1200">
                <a:ea typeface="Arial Unicode MS"/>
                <a:cs typeface="Arial" pitchFamily="34" charset="0"/>
              </a:rPr>
              <a:t> </a:t>
            </a:r>
            <a:r>
              <a:rPr lang="de-DE" sz="1200" err="1">
                <a:ea typeface="Arial Unicode MS"/>
                <a:cs typeface="Arial" pitchFamily="34" charset="0"/>
              </a:rPr>
              <a:t>to</a:t>
            </a:r>
            <a:r>
              <a:rPr lang="de-DE" sz="1200">
                <a:ea typeface="Arial Unicode MS"/>
                <a:cs typeface="Arial" pitchFamily="34" charset="0"/>
              </a:rPr>
              <a:t> </a:t>
            </a:r>
            <a:r>
              <a:rPr lang="de-DE" sz="1200" err="1">
                <a:ea typeface="Arial Unicode MS"/>
                <a:cs typeface="Arial" pitchFamily="34" charset="0"/>
              </a:rPr>
              <a:t>market</a:t>
            </a:r>
            <a:r>
              <a:rPr lang="de-DE" sz="1200">
                <a:ea typeface="Arial Unicode MS"/>
                <a:cs typeface="Arial" pitchFamily="34" charset="0"/>
              </a:rPr>
              <a:t> </a:t>
            </a:r>
            <a:r>
              <a:rPr lang="de-DE" sz="1200" err="1">
                <a:ea typeface="Arial Unicode MS"/>
                <a:cs typeface="Arial" pitchFamily="34" charset="0"/>
              </a:rPr>
              <a:t>development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ice </a:t>
            </a:r>
            <a:fld id="{84EE17C3-51E0-4A9C-B3A8-E6548E6A9E9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4327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8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32849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9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43055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oleObject" Target="../embeddings/oleObject83.bin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Relationship Id="rId6" Type="http://schemas.openxmlformats.org/officeDocument/2006/relationships/image" Target="../media/image7.png"/><Relationship Id="rId5" Type="http://schemas.openxmlformats.org/officeDocument/2006/relationships/hyperlink" Target="https://www.siemens-energy.com/" TargetMode="Externa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sv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sv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svg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emf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sv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sv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sv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1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emf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sv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image" Target="../media/image1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image" Target="../media/image1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oleObject" Target="../embeddings/oleObject124.bin"/><Relationship Id="rId7" Type="http://schemas.openxmlformats.org/officeDocument/2006/relationships/image" Target="../media/image8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5.xml"/><Relationship Id="rId6" Type="http://schemas.openxmlformats.org/officeDocument/2006/relationships/image" Target="../media/image7.png"/><Relationship Id="rId5" Type="http://schemas.openxmlformats.org/officeDocument/2006/relationships/hyperlink" Target="https://www.siemens-energy.com/" TargetMode="External"/><Relationship Id="rId4" Type="http://schemas.openxmlformats.org/officeDocument/2006/relationships/image" Target="../media/image1.emf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emf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1.emf"/><Relationship Id="rId4" Type="http://schemas.openxmlformats.org/officeDocument/2006/relationships/image" Target="../media/image8.sv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emf"/><Relationship Id="rId4" Type="http://schemas.openxmlformats.org/officeDocument/2006/relationships/image" Target="../media/image8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4.emf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11.emf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4.emf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11.emf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openxmlformats.org/officeDocument/2006/relationships/image" Target="../media/image4.emf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11.emf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sv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sv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sv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emf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sv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sv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sv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813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able</a:t>
            </a:r>
          </a:p>
        </p:txBody>
      </p:sp>
      <p:sp>
        <p:nvSpPr>
          <p:cNvPr id="11" name="Page">
            <a:extLst>
              <a:ext uri="{FF2B5EF4-FFF2-40B4-BE49-F238E27FC236}">
                <a16:creationId xmlns:a16="http://schemas.microsoft.com/office/drawing/2014/main" id="{1210F9E9-5846-4035-8810-FA0581426074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2" name="Author | Department">
            <a:extLst>
              <a:ext uri="{FF2B5EF4-FFF2-40B4-BE49-F238E27FC236}">
                <a16:creationId xmlns:a16="http://schemas.microsoft.com/office/drawing/2014/main" id="{5417FF0B-F547-4C43-B54A-7ADD41E42D67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 err="1"/>
              <a:t>Sustainable</a:t>
            </a:r>
            <a:r>
              <a:rPr lang="de-DE" sz="1000" b="0" noProof="0"/>
              <a:t> Energy Systems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2C2A9F8B-1B36-4423-B30B-BBC716DD785F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B1947656-4EDB-46AE-8608-457C73D8DEAC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April 2023</a:t>
            </a:r>
          </a:p>
        </p:txBody>
      </p:sp>
      <p:sp>
        <p:nvSpPr>
          <p:cNvPr id="16" name="License statement">
            <a:extLst>
              <a:ext uri="{FF2B5EF4-FFF2-40B4-BE49-F238E27FC236}">
                <a16:creationId xmlns:a16="http://schemas.microsoft.com/office/drawing/2014/main" id="{C8285B2F-9D6C-4EA3-BA7D-AD00E46BCA7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1580109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2C9E9FA-008C-4AE2-BABB-05AFA1D618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66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2C9E9FA-008C-4AE2-BABB-05AFA1D61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4737C4B-AABA-422B-9025-4CACF86FCA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82443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5319EC-0E3C-4C3D-B4D0-77CE85D1E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057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5319EC-0E3C-4C3D-B4D0-77CE85D1E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C162663C-1FCB-4D68-9678-FE9F46CAF5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50841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51F7036-99DB-456A-BCA9-AD5EA52FA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07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51F7036-99DB-456A-BCA9-AD5EA52FA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9E92234-2C2D-4A8C-8DDC-DF39D418CE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27711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3F3C39E-EAB9-4277-9880-26B1679F8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867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3F3C39E-EAB9-4277-9880-26B1679F8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265806D-81B5-40C4-8F18-B766557796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7983358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BE35E50-ED8D-4CF6-807A-6D0A0CA59C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09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BE35E50-ED8D-4CF6-807A-6D0A0CA59C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0198866-A7B3-4F8B-B7C1-0C9B5DBB0E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0184437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C8990EA-650E-4FB2-B028-F96C6C5947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2519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C8990EA-650E-4FB2-B028-F96C6C5947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AFE5481-594B-4AD7-91C3-0D17B08C0F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354360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DD07E4E-6412-4691-BD31-17C4B73E9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680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DD07E4E-6412-4691-BD31-17C4B73E9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9DF38E6-1914-4814-B151-A081D9C6FA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0391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D837910-3CA6-46D5-95D5-B9C886B2A0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82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D837910-3CA6-46D5-95D5-B9C886B2A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3D75A35-FC02-4287-9024-A440478A7F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47512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1E24D5C-5F47-45F0-B2A8-3DBC402275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562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1E24D5C-5F47-45F0-B2A8-3DBC40227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D2432A5-AF39-4ADD-ADFA-C57B82CD59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334699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064FF4-8A5A-44DB-8995-767AE5F50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98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064FF4-8A5A-44DB-8995-767AE5F50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832F809-FCA9-43AA-BE83-3004E5E9A5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anuary 2021</a:t>
            </a:r>
          </a:p>
        </p:txBody>
      </p:sp>
    </p:spTree>
    <p:extLst>
      <p:ext uri="{BB962C8B-B14F-4D97-AF65-F5344CB8AC3E}">
        <p14:creationId xmlns:p14="http://schemas.microsoft.com/office/powerpoint/2010/main" val="3291004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91949920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45FB2BD-1BB0-4EAB-A075-69F48C4A6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315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45FB2BD-1BB0-4EAB-A075-69F48C4A6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12598B-465A-4A29-9D19-04779F32D6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noProof="0">
                <a:solidFill>
                  <a:schemeClr val="tx1"/>
                </a:solidFill>
              </a:rPr>
              <a:t>Erik Zindel | SE GP G S DES P&amp;M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October 2021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9" name="License statement">
            <a:extLst>
              <a:ext uri="{FF2B5EF4-FFF2-40B4-BE49-F238E27FC236}">
                <a16:creationId xmlns:a16="http://schemas.microsoft.com/office/drawing/2014/main" id="{F7180AC6-B789-4E8E-A386-018ABF4ECC8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3824099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CB2AF77-9AB8-48F9-90DB-21E5CDE73B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657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CB2AF77-9AB8-48F9-90DB-21E5CDE73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276F369-E7DF-4FD4-818C-2E2879107D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CA3F32E1-BC1C-475E-99E6-0E8AF47DA2D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39F2375B-D22F-4C21-B117-6F14EB872B3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DCCDEAC1-13C2-4322-816D-0489681B6D17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3434152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4FBEE9-1E17-4353-B3DD-D5C811B9B3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601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4FBEE9-1E17-4353-B3DD-D5C811B9B3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04C767D-D653-4353-A42E-1F0F5F89881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97" t="-4" r="1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Erik Zindel | SE GP G S DES P&amp;M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February 2021</a:t>
            </a:r>
          </a:p>
        </p:txBody>
      </p:sp>
    </p:spTree>
    <p:extLst>
      <p:ext uri="{BB962C8B-B14F-4D97-AF65-F5344CB8AC3E}">
        <p14:creationId xmlns:p14="http://schemas.microsoft.com/office/powerpoint/2010/main" val="3704902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5393901-6B63-4189-B919-BEBCF4AE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0975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5393901-6B63-4189-B919-BEBCF4AE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1AA3B1-C61D-4A54-B2D4-C2276DBE2A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SE RD PD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2"/>
                </a:solidFill>
              </a:rPr>
              <a:t>‹Nr.›</a:t>
            </a:fld>
            <a:endParaRPr lang="en-US" sz="1000" b="1" noProof="0">
              <a:solidFill>
                <a:schemeClr val="bg2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651833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0711DEE-5D21-4ACD-87AF-7149104C9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050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0711DEE-5D21-4ACD-87AF-7149104C9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1862A23-2267-4BB7-9213-EF2E139290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049" t="-4" r="1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292000" y="6166800"/>
            <a:ext cx="900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475564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36479C-0872-4EB2-BF6E-F149CA0B9D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868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336479C-0872-4EB2-BF6E-F149CA0B9D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1B0BCBB-4C6A-4797-85E0-5A5F1273AE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Erik Zindel | SE GP G S DES P&amp;M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October 2021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E911D44-772B-45C9-BB26-5F942ED3B1F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13" name="License statement">
            <a:extLst>
              <a:ext uri="{FF2B5EF4-FFF2-40B4-BE49-F238E27FC236}">
                <a16:creationId xmlns:a16="http://schemas.microsoft.com/office/drawing/2014/main" id="{0B8BA09B-9C1C-453C-B970-3DFEAA66B1C7}"/>
              </a:ext>
            </a:extLst>
          </p:cNvPr>
          <p:cNvSpPr txBox="1"/>
          <p:nvPr userDrawn="1"/>
        </p:nvSpPr>
        <p:spPr>
          <a:xfrm>
            <a:off x="4508352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3626068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CC916F-5EE7-4326-8435-72D55C19F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377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CC916F-5EE7-4326-8435-72D55C19F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3E3624C-6A1A-4B0F-92E8-D96D24F4CA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56"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3398993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99FCCD-0D6F-409C-B9BE-759AD30FD7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69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99FCCD-0D6F-409C-B9BE-759AD30F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">
            <a:hlinkClick r:id="rId5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4068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1AEE56A-3C0D-4E51-BBA0-52FF0668A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659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1AEE56A-3C0D-4E51-BBA0-52FF0668A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74DBC81-791D-46BC-AE3D-BB149CD66C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24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3D940F6-7576-4FFF-914A-C9C0B7DB5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3015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3D940F6-7576-4FFF-914A-C9C0B7DB5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967EE96-DA83-4EEB-9C0E-37E05A92BD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5615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317609059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7EBD9E-E5FC-41E2-B17A-B6E03803EF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846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7EBD9E-E5FC-41E2-B17A-B6E03803E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860BDF3-D1CD-41C1-8564-53E90CD816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0475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79E6CA9-C348-48A4-870E-057D505509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34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79E6CA9-C348-48A4-870E-057D50550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96A8644-DF34-4CF8-8CD1-7D92A8B027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824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B8B16AC-E75C-4824-8E17-D97CBC9DBA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633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B8B16AC-E75C-4824-8E17-D97CBC9DB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3E00573-4591-4D2F-8646-161D24192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43B07ABE-0FDD-4360-94CB-BE49F6F0B457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887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C2F9FC0-F0BD-4D58-BD74-9730786623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18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C2F9FC0-F0BD-4D58-BD74-973078662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EDB91F4-858D-4520-882F-FDA6A764D1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611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05DB2B3-3C23-4C21-B206-C676B174D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5259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05DB2B3-3C23-4C21-B206-C676B174DC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086556A8-4D3F-444E-8170-433C2F6B3F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709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8898564-5372-42C7-A003-14BB20366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251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8898564-5372-42C7-A003-14BB20366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5F13744-B4F5-4AD1-AE70-09603F505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722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DE99910-BF73-415F-96D4-A0A94244E0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66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DE99910-BF73-415F-96D4-A0A94244E0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4D7C200-67A1-4E25-8420-9F3A3DDA4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17B8C47-BB23-45EB-8E3E-893E65A86A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551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17B8C47-BB23-45EB-8E3E-893E65A86A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E2411BA-AEBC-4AE9-AC91-F89FA2EBF9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6889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799816F-5BE1-4934-AA04-B975021904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265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799816F-5BE1-4934-AA04-B97502190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719D53F-088B-4F1E-A0F1-6BA0FF6B1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1" name="Author | Department">
            <a:extLst>
              <a:ext uri="{FF2B5EF4-FFF2-40B4-BE49-F238E27FC236}">
                <a16:creationId xmlns:a16="http://schemas.microsoft.com/office/drawing/2014/main" id="{D68DCDC5-4F2B-44B6-8F0F-820176DFF1B3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noProof="0">
                <a:solidFill>
                  <a:schemeClr val="tx1"/>
                </a:solidFill>
              </a:rPr>
              <a:t>Erik Zindel | SE GP G S DES P&amp;M</a:t>
            </a:r>
          </a:p>
        </p:txBody>
      </p:sp>
      <p:sp>
        <p:nvSpPr>
          <p:cNvPr id="22" name="Copyright">
            <a:extLst>
              <a:ext uri="{FF2B5EF4-FFF2-40B4-BE49-F238E27FC236}">
                <a16:creationId xmlns:a16="http://schemas.microsoft.com/office/drawing/2014/main" id="{7F37D979-5873-43CB-B2A0-7F29413E1A8E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23" name="Page">
            <a:extLst>
              <a:ext uri="{FF2B5EF4-FFF2-40B4-BE49-F238E27FC236}">
                <a16:creationId xmlns:a16="http://schemas.microsoft.com/office/drawing/2014/main" id="{03A6209B-0B23-4B14-8B9F-CD213A6E096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October 2021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516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031983-6D2B-4B4E-BF5C-D2B91611D4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188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031983-6D2B-4B4E-BF5C-D2B91611D4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8797334-009D-4D1E-B82D-6176921B0D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26DFA7DF-409A-4EF9-98B8-082D9F0DFFA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FBB07F48-7C23-4EE9-98FE-9F1E3B2F0CF9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729C0801-E71C-4366-8677-B076F4D6C490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4" name="License statement">
            <a:extLst>
              <a:ext uri="{FF2B5EF4-FFF2-40B4-BE49-F238E27FC236}">
                <a16:creationId xmlns:a16="http://schemas.microsoft.com/office/drawing/2014/main" id="{B7CADBCA-4DE1-404E-BF7C-ADF2A140AC0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487C015F-913C-48DD-99E5-F1AEE0B2AC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8027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0126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182FB64-5E49-4ADB-9771-1EEA9FFAA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7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182FB64-5E49-4ADB-9771-1EEA9FFAA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56C55CC-F3CB-4496-A13E-5106F4782B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6" name="Author | Department">
            <a:extLst>
              <a:ext uri="{FF2B5EF4-FFF2-40B4-BE49-F238E27FC236}">
                <a16:creationId xmlns:a16="http://schemas.microsoft.com/office/drawing/2014/main" id="{F1D626C4-116E-471D-A183-678A72706E84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8B59CFA-AFE0-4473-A60A-D84A1A90AE4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0" name="Page">
            <a:extLst>
              <a:ext uri="{FF2B5EF4-FFF2-40B4-BE49-F238E27FC236}">
                <a16:creationId xmlns:a16="http://schemas.microsoft.com/office/drawing/2014/main" id="{EFC6F67A-D89D-43AA-A5C1-18FB7E52FD1F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1385707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7CACEC0-618F-4013-884E-3896637164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739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7CACEC0-618F-4013-884E-389663716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34A6196-3150-4786-A757-54E8535734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54898170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F6A657-5800-4885-9F74-C0E4322FF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6726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F6A657-5800-4885-9F74-C0E4322FF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1DB85B3-B84A-4DB2-BBAC-DD9C8F4513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190702032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B458020-C6E2-4D54-8253-76DAD90CD6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305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B458020-C6E2-4D54-8253-76DAD90CD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6A1C9B2-7B33-4F74-9EF5-6789E7F5C8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31619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09BB46E-6C97-4933-8BED-804DED6D4B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729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09BB46E-6C97-4933-8BED-804DED6D4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F90FAFE-C058-40CA-91C5-91C8450348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654767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600A9B-5751-4C51-86AF-374F9CCC7B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0988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600A9B-5751-4C51-86AF-374F9CCC7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C5BD477-B4C5-4BB2-9BF3-78053FE42C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746582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FD1140-BA03-48EC-8460-F26B7051BA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538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FD1140-BA03-48EC-8460-F26B7051BA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047BFB1-86EA-44B5-805B-FC9CAE9F19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02877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6464C85-9118-48DE-8F09-5B22CA9E8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683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6464C85-9118-48DE-8F09-5B22CA9E81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CB5F1B2-829E-400A-A45E-445E39FD39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45433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7FC5810-5261-4E00-BDC6-EB039CDFB1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7FC5810-5261-4E00-BDC6-EB039CDFB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71DA5D2-7D33-4523-B290-078428DD07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</a:p>
        </p:txBody>
      </p:sp>
    </p:spTree>
    <p:extLst>
      <p:ext uri="{BB962C8B-B14F-4D97-AF65-F5344CB8AC3E}">
        <p14:creationId xmlns:p14="http://schemas.microsoft.com/office/powerpoint/2010/main" val="2562371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6FE63F7-9535-4D8D-AA5E-9CBBDD0EA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028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6FE63F7-9535-4D8D-AA5E-9CBBDD0EA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5260230-EA7C-4CDF-B874-122A3660F4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81149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19051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2C9E9FA-008C-4AE2-BABB-05AFA1D618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66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2C9E9FA-008C-4AE2-BABB-05AFA1D61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4737C4B-AABA-422B-9025-4CACF86FCA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920528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5319EC-0E3C-4C3D-B4D0-77CE85D1E3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057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5319EC-0E3C-4C3D-B4D0-77CE85D1E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C162663C-1FCB-4D68-9678-FE9F46CAF5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24588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51F7036-99DB-456A-BCA9-AD5EA52FA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07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51F7036-99DB-456A-BCA9-AD5EA52FA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9E92234-2C2D-4A8C-8DDC-DF39D418CE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318458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3F3C39E-EAB9-4277-9880-26B1679F8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867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3F3C39E-EAB9-4277-9880-26B1679F8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265806D-81B5-40C4-8F18-B766557796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5434233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BE35E50-ED8D-4CF6-807A-6D0A0CA59C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09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BE35E50-ED8D-4CF6-807A-6D0A0CA59C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0198866-A7B3-4F8B-B7C1-0C9B5DBB0E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3240242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C8990EA-650E-4FB2-B028-F96C6C5947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2519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C8990EA-650E-4FB2-B028-F96C6C5947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AFE5481-594B-4AD7-91C3-0D17B08C0F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017857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DD07E4E-6412-4691-BD31-17C4B73E9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680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DD07E4E-6412-4691-BD31-17C4B73E9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9DF38E6-1914-4814-B151-A081D9C6FA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718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D837910-3CA6-46D5-95D5-B9C886B2A0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82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D837910-3CA6-46D5-95D5-B9C886B2A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3D75A35-FC02-4287-9024-A440478A7F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80488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1E24D5C-5F47-45F0-B2A8-3DBC402275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562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1E24D5C-5F47-45F0-B2A8-3DBC40227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D2432A5-AF39-4ADD-ADFA-C57B82CD59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626567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064FF4-8A5A-44DB-8995-767AE5F509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98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064FF4-8A5A-44DB-8995-767AE5F50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832F809-FCA9-43AA-BE83-3004E5E9A5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anuary 2021</a:t>
            </a:r>
          </a:p>
        </p:txBody>
      </p:sp>
    </p:spTree>
    <p:extLst>
      <p:ext uri="{BB962C8B-B14F-4D97-AF65-F5344CB8AC3E}">
        <p14:creationId xmlns:p14="http://schemas.microsoft.com/office/powerpoint/2010/main" val="4009559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63363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45FB2BD-1BB0-4EAB-A075-69F48C4A6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315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45FB2BD-1BB0-4EAB-A075-69F48C4A6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12598B-465A-4A29-9D19-04779F32D6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noProof="0">
                <a:solidFill>
                  <a:schemeClr val="tx1"/>
                </a:solidFill>
              </a:rPr>
              <a:t>Erik Zindel | SE GP G S DES P&amp;M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October 2021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9" name="License statement">
            <a:extLst>
              <a:ext uri="{FF2B5EF4-FFF2-40B4-BE49-F238E27FC236}">
                <a16:creationId xmlns:a16="http://schemas.microsoft.com/office/drawing/2014/main" id="{F7180AC6-B789-4E8E-A386-018ABF4ECC8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312251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CB2AF77-9AB8-48F9-90DB-21E5CDE73B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657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CB2AF77-9AB8-48F9-90DB-21E5CDE73B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276F369-E7DF-4FD4-818C-2E2879107D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CA3F32E1-BC1C-475E-99E6-0E8AF47DA2D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39F2375B-D22F-4C21-B117-6F14EB872B3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DCCDEAC1-13C2-4322-816D-0489681B6D17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3250669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4FBEE9-1E17-4353-B3DD-D5C811B9B3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601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4FBEE9-1E17-4353-B3DD-D5C811B9B3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04C767D-D653-4353-A42E-1F0F5F89881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97" t="-4" r="1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Erik Zindel | SE GP G S DES P&amp;M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February 2021</a:t>
            </a:r>
          </a:p>
        </p:txBody>
      </p:sp>
    </p:spTree>
    <p:extLst>
      <p:ext uri="{BB962C8B-B14F-4D97-AF65-F5344CB8AC3E}">
        <p14:creationId xmlns:p14="http://schemas.microsoft.com/office/powerpoint/2010/main" val="2430209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5393901-6B63-4189-B919-BEBCF4AE23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0975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5393901-6B63-4189-B919-BEBCF4AE2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A1AA3B1-C61D-4A54-B2D4-C2276DBE2A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SE RD PD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2"/>
                </a:solidFill>
              </a:rPr>
              <a:t>‹Nr.›</a:t>
            </a:fld>
            <a:endParaRPr lang="en-US" sz="1000" b="1" noProof="0">
              <a:solidFill>
                <a:schemeClr val="bg2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41156365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0711DEE-5D21-4ACD-87AF-7149104C9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050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0711DEE-5D21-4ACD-87AF-7149104C9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1862A23-2267-4BB7-9213-EF2E139290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049" t="-4" r="1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292000" y="6166800"/>
            <a:ext cx="900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2976001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36479C-0872-4EB2-BF6E-F149CA0B9D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868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336479C-0872-4EB2-BF6E-F149CA0B9D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1B0BCBB-4C6A-4797-85E0-5A5F1273AE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Erik Zindel | SE GP G S DES P&amp;M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October 2021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AE911D44-772B-45C9-BB26-5F942ED3B1F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13" name="License statement">
            <a:extLst>
              <a:ext uri="{FF2B5EF4-FFF2-40B4-BE49-F238E27FC236}">
                <a16:creationId xmlns:a16="http://schemas.microsoft.com/office/drawing/2014/main" id="{0B8BA09B-9C1C-453C-B970-3DFEAA66B1C7}"/>
              </a:ext>
            </a:extLst>
          </p:cNvPr>
          <p:cNvSpPr txBox="1"/>
          <p:nvPr userDrawn="1"/>
        </p:nvSpPr>
        <p:spPr>
          <a:xfrm>
            <a:off x="4508352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3130959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CC916F-5EE7-4326-8435-72D55C19F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377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CC916F-5EE7-4326-8435-72D55C19F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3E3624C-6A1A-4B0F-92E8-D96D24F4CA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56"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1663860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99FCCD-0D6F-409C-B9BE-759AD30FD7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69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99FCCD-0D6F-409C-B9BE-759AD30F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">
            <a:hlinkClick r:id="rId5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51248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39EB144E-AE52-E004-F288-199793E211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July 2022</a:t>
            </a:r>
          </a:p>
        </p:txBody>
      </p:sp>
    </p:spTree>
    <p:extLst>
      <p:ext uri="{BB962C8B-B14F-4D97-AF65-F5344CB8AC3E}">
        <p14:creationId xmlns:p14="http://schemas.microsoft.com/office/powerpoint/2010/main" val="2501751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348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95391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960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121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5186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43B07ABE-0FDD-4360-94CB-BE49F6F0B457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307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16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51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336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502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93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1" name="Author | Department">
            <a:extLst>
              <a:ext uri="{FF2B5EF4-FFF2-40B4-BE49-F238E27FC236}">
                <a16:creationId xmlns:a16="http://schemas.microsoft.com/office/drawing/2014/main" id="{D68DCDC5-4F2B-44B6-8F0F-820176DFF1B3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2" name="Copyright">
            <a:extLst>
              <a:ext uri="{FF2B5EF4-FFF2-40B4-BE49-F238E27FC236}">
                <a16:creationId xmlns:a16="http://schemas.microsoft.com/office/drawing/2014/main" id="{7F37D979-5873-43CB-B2A0-7F29413E1A8E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3" name="Page">
            <a:extLst>
              <a:ext uri="{FF2B5EF4-FFF2-40B4-BE49-F238E27FC236}">
                <a16:creationId xmlns:a16="http://schemas.microsoft.com/office/drawing/2014/main" id="{03A6209B-0B23-4B14-8B9F-CD213A6E096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389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68141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26DFA7DF-409A-4EF9-98B8-082D9F0DFFA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FBB07F48-7C23-4EE9-98FE-9F1E3B2F0CF9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729C0801-E71C-4366-8677-B076F4D6C490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522559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able</a:t>
            </a:r>
          </a:p>
        </p:txBody>
      </p:sp>
      <p:sp>
        <p:nvSpPr>
          <p:cNvPr id="6" name="Author | Department">
            <a:extLst>
              <a:ext uri="{FF2B5EF4-FFF2-40B4-BE49-F238E27FC236}">
                <a16:creationId xmlns:a16="http://schemas.microsoft.com/office/drawing/2014/main" id="{F1D626C4-116E-471D-A183-678A72706E84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8B59CFA-AFE0-4473-A60A-D84A1A90AE4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0" name="Page">
            <a:extLst>
              <a:ext uri="{FF2B5EF4-FFF2-40B4-BE49-F238E27FC236}">
                <a16:creationId xmlns:a16="http://schemas.microsoft.com/office/drawing/2014/main" id="{EFC6F67A-D89D-43AA-A5C1-18FB7E52FD1F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1904369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12283181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202913731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120345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248572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29690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473049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779541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949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193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016611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774482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License statement">
            <a:extLst>
              <a:ext uri="{FF2B5EF4-FFF2-40B4-BE49-F238E27FC236}">
                <a16:creationId xmlns:a16="http://schemas.microsoft.com/office/drawing/2014/main" id="{8A8BFD76-D6D8-4CF7-9953-B1C9C522963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81981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05524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2941109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8753471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788450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1603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4593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10824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88422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112218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9" name="License statement">
            <a:extLst>
              <a:ext uri="{FF2B5EF4-FFF2-40B4-BE49-F238E27FC236}">
                <a16:creationId xmlns:a16="http://schemas.microsoft.com/office/drawing/2014/main" id="{F7180AC6-B789-4E8E-A386-018ABF4ECC8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1219334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CA3F32E1-BC1C-475E-99E6-0E8AF47DA2D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39F2375B-D22F-4C21-B117-6F14EB872B3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DCCDEAC1-13C2-4322-816D-0489681B6D17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72475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97" t="-4" r="1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8572079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39EB144E-AE52-E004-F288-199793E21158}"/>
              </a:ext>
            </a:extLst>
          </p:cNvPr>
          <p:cNvSpPr/>
          <p:nvPr userDrawn="1"/>
        </p:nvSpPr>
        <p:spPr>
          <a:xfrm>
            <a:off x="6242050" y="0"/>
            <a:ext cx="5949950" cy="68575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34950313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39EB144E-AE52-E004-F288-199793E211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Sustainable Energy Systems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Unrestricted  use © Siemens Energy, 2023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April 2023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2E110C85-1C18-4734-ABE4-E75D6EBB8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066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2"/>
                </a:solidFill>
              </a:rPr>
              <a:t>‹Nr.›</a:t>
            </a:fld>
            <a:endParaRPr lang="en-US" sz="1000" b="1" noProof="0">
              <a:solidFill>
                <a:schemeClr val="bg2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30553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049" t="-4" r="1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292000" y="6166800"/>
            <a:ext cx="900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602659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878566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56"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233039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1426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092019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6914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B458020-C6E2-4D54-8253-76DAD90CD6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B458020-C6E2-4D54-8253-76DAD90CD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6A1C9B2-7B33-4F74-9EF5-6789E7F5C8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801265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Restricted © Siemens Energy, </a:t>
            </a:r>
            <a:fld id="{21128D27-71DD-49BE-9C85-9469F5E0A22E}" type="datetimeyyyy">
              <a:rPr lang="en-US" sz="1000" b="0" noProof="0" smtClean="0">
                <a:solidFill>
                  <a:schemeClr val="tx1"/>
                </a:solidFill>
              </a:rPr>
              <a:t>2023</a:t>
            </a:fld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359290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01265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934815-BD84-497F-A42F-97846583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arch 2023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B6DF6-ACA1-4D6E-B0E4-16B0B4F50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4328D13-FDD3-49A4-46EA-F64182A5897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242400" y="6526800"/>
            <a:ext cx="5950800" cy="331200"/>
          </a:xfrm>
        </p:spPr>
        <p:txBody>
          <a:bodyPr/>
          <a:lstStyle/>
          <a:p>
            <a:r>
              <a:rPr lang="en-US"/>
              <a:t>© Siemens Energy, 2023</a:t>
            </a:r>
          </a:p>
        </p:txBody>
      </p:sp>
    </p:spTree>
    <p:extLst>
      <p:ext uri="{BB962C8B-B14F-4D97-AF65-F5344CB8AC3E}">
        <p14:creationId xmlns:p14="http://schemas.microsoft.com/office/powerpoint/2010/main" val="1359290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License statement">
            <a:extLst>
              <a:ext uri="{FF2B5EF4-FFF2-40B4-BE49-F238E27FC236}">
                <a16:creationId xmlns:a16="http://schemas.microsoft.com/office/drawing/2014/main" id="{8A8BFD76-D6D8-4CF7-9953-B1C9C522963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9696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45272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011631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49540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3565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0484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9049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8334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Page">
            <a:extLst>
              <a:ext uri="{FF2B5EF4-FFF2-40B4-BE49-F238E27FC236}">
                <a16:creationId xmlns:a16="http://schemas.microsoft.com/office/drawing/2014/main" id="{6F4E4D7B-79C8-4E35-957F-CD17839BFC49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9" name="Author | Department">
            <a:extLst>
              <a:ext uri="{FF2B5EF4-FFF2-40B4-BE49-F238E27FC236}">
                <a16:creationId xmlns:a16="http://schemas.microsoft.com/office/drawing/2014/main" id="{4A4D1626-265C-4764-A8FC-E93B0D05D376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 err="1"/>
              <a:t>Sustainable</a:t>
            </a:r>
            <a:r>
              <a:rPr lang="de-DE" sz="1000" b="0" noProof="0"/>
              <a:t> Energy Systems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A88D9DE9-1B6F-4C43-91D3-5CD4DAB4446B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733EDDA9-8EA8-4BCA-935B-54048871996A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April 2023</a:t>
            </a:r>
          </a:p>
        </p:txBody>
      </p:sp>
      <p:sp>
        <p:nvSpPr>
          <p:cNvPr id="13" name="License statement">
            <a:extLst>
              <a:ext uri="{FF2B5EF4-FFF2-40B4-BE49-F238E27FC236}">
                <a16:creationId xmlns:a16="http://schemas.microsoft.com/office/drawing/2014/main" id="{14753AFE-6E87-4915-A48A-D5C67232E8C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1359290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841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1" name="Page">
            <a:extLst>
              <a:ext uri="{FF2B5EF4-FFF2-40B4-BE49-F238E27FC236}">
                <a16:creationId xmlns:a16="http://schemas.microsoft.com/office/drawing/2014/main" id="{9245C5F2-3890-4A61-85C7-FF8B1E68B66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2" name="Author | Department">
            <a:extLst>
              <a:ext uri="{FF2B5EF4-FFF2-40B4-BE49-F238E27FC236}">
                <a16:creationId xmlns:a16="http://schemas.microsoft.com/office/drawing/2014/main" id="{FBC21272-2E32-41D3-8DB0-CF606D0D23D5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 err="1"/>
              <a:t>Sustainable</a:t>
            </a:r>
            <a:r>
              <a:rPr lang="de-DE" sz="1000" b="0" noProof="0"/>
              <a:t> Energy Systems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9110DE88-3858-4C6A-A19A-7AADA52A4AFA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D15339B3-9DD6-41E7-BF96-594BDE98A08D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Ma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5536ACA9-223B-4274-81D8-E67B1A8BBD0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333590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Page">
            <a:extLst>
              <a:ext uri="{FF2B5EF4-FFF2-40B4-BE49-F238E27FC236}">
                <a16:creationId xmlns:a16="http://schemas.microsoft.com/office/drawing/2014/main" id="{4B6E36FD-789D-4A0F-830D-08B710ED51B7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9" name="Author | Department">
            <a:extLst>
              <a:ext uri="{FF2B5EF4-FFF2-40B4-BE49-F238E27FC236}">
                <a16:creationId xmlns:a16="http://schemas.microsoft.com/office/drawing/2014/main" id="{05E38035-6669-4273-AB62-4D4E00B59851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/>
              <a:t>New Energy Business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81ADA953-A944-4586-92E9-A530AA502175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900EC468-32A2-44BE-96FC-38C3394BF4FA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May 2023</a:t>
            </a:r>
          </a:p>
        </p:txBody>
      </p:sp>
      <p:sp>
        <p:nvSpPr>
          <p:cNvPr id="13" name="License statement">
            <a:extLst>
              <a:ext uri="{FF2B5EF4-FFF2-40B4-BE49-F238E27FC236}">
                <a16:creationId xmlns:a16="http://schemas.microsoft.com/office/drawing/2014/main" id="{B7CED8F6-BB45-47EC-94B6-34FC6962A7B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1936371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age">
            <a:extLst>
              <a:ext uri="{FF2B5EF4-FFF2-40B4-BE49-F238E27FC236}">
                <a16:creationId xmlns:a16="http://schemas.microsoft.com/office/drawing/2014/main" id="{4965ED7E-12FB-4C1F-BE39-C69E1BFEBAB7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2" name="Author | Department">
            <a:extLst>
              <a:ext uri="{FF2B5EF4-FFF2-40B4-BE49-F238E27FC236}">
                <a16:creationId xmlns:a16="http://schemas.microsoft.com/office/drawing/2014/main" id="{82AC0D3A-6AFB-4819-9267-F15B18B394D1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 err="1">
                <a:solidFill>
                  <a:schemeClr val="bg1"/>
                </a:solidFill>
              </a:rPr>
              <a:t>Sustainable</a:t>
            </a:r>
            <a:r>
              <a:rPr lang="de-DE" sz="1000" b="0" noProof="0">
                <a:solidFill>
                  <a:schemeClr val="bg1"/>
                </a:solidFill>
              </a:rPr>
              <a:t> Energy Systems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458972C4-3022-429A-8DAB-7CC7C02436C5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bg1"/>
                </a:solidFill>
              </a:rPr>
              <a:t>Unrestricted</a:t>
            </a:r>
            <a:r>
              <a:rPr lang="de-DE" sz="1000" b="0" noProof="0">
                <a:solidFill>
                  <a:schemeClr val="bg1"/>
                </a:solidFill>
              </a:rPr>
              <a:t> </a:t>
            </a:r>
            <a:r>
              <a:rPr lang="de-DE" sz="1000" b="0" noProof="0" err="1">
                <a:solidFill>
                  <a:schemeClr val="bg1"/>
                </a:solidFill>
              </a:rPr>
              <a:t>use</a:t>
            </a:r>
            <a:r>
              <a:rPr lang="de-DE" sz="1000" b="0" noProof="0">
                <a:solidFill>
                  <a:schemeClr val="bg1"/>
                </a:solidFill>
              </a:rPr>
              <a:t> © Siemens Energy, 2023</a:t>
            </a:r>
            <a:endParaRPr lang="en-US" sz="1000" b="0" noProof="0">
              <a:solidFill>
                <a:schemeClr val="bg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CDF11FF7-3657-4591-BE50-74683C0E6F43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May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B8A2CDE-62D0-4AB6-A6F3-E8728DA5C4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2269700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 userDrawn="1">
          <p15:clr>
            <a:srgbClr val="009999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age">
            <a:extLst>
              <a:ext uri="{FF2B5EF4-FFF2-40B4-BE49-F238E27FC236}">
                <a16:creationId xmlns:a16="http://schemas.microsoft.com/office/drawing/2014/main" id="{F9ABFA15-0AEE-49A3-B4F8-9951B4863BD4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2" name="Author | Department">
            <a:extLst>
              <a:ext uri="{FF2B5EF4-FFF2-40B4-BE49-F238E27FC236}">
                <a16:creationId xmlns:a16="http://schemas.microsoft.com/office/drawing/2014/main" id="{9F849B95-8AF7-458B-AE39-6A060F9E3905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>
                <a:solidFill>
                  <a:schemeClr val="bg1"/>
                </a:solidFill>
              </a:rPr>
              <a:t>New Energy Business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D1FE6E80-9B5D-4A3B-BDC2-F8E604648EAE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bg1"/>
                </a:solidFill>
              </a:rPr>
              <a:t>Unrestricted</a:t>
            </a:r>
            <a:r>
              <a:rPr lang="de-DE" sz="1000" b="0" noProof="0">
                <a:solidFill>
                  <a:schemeClr val="bg1"/>
                </a:solidFill>
              </a:rPr>
              <a:t> </a:t>
            </a:r>
            <a:r>
              <a:rPr lang="de-DE" sz="1000" b="0" noProof="0" err="1">
                <a:solidFill>
                  <a:schemeClr val="bg1"/>
                </a:solidFill>
              </a:rPr>
              <a:t>use</a:t>
            </a:r>
            <a:r>
              <a:rPr lang="de-DE" sz="1000" b="0" noProof="0">
                <a:solidFill>
                  <a:schemeClr val="bg1"/>
                </a:solidFill>
              </a:rPr>
              <a:t> © Siemens Energy, 2023</a:t>
            </a:r>
            <a:endParaRPr lang="en-US" sz="1000" b="0" noProof="0">
              <a:solidFill>
                <a:schemeClr val="bg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7163C122-5290-461E-B25C-CB170991EA7F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April 2023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D1182403-F2D4-4B1F-B44B-B53945501B75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3063452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 userDrawn="1">
          <p15:clr>
            <a:srgbClr val="009999"/>
          </p15:clr>
        </p15:guide>
        <p15:guide id="4" pos="3445" userDrawn="1">
          <p15:clr>
            <a:srgbClr val="009999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age">
            <a:extLst>
              <a:ext uri="{FF2B5EF4-FFF2-40B4-BE49-F238E27FC236}">
                <a16:creationId xmlns:a16="http://schemas.microsoft.com/office/drawing/2014/main" id="{A43115F9-D758-463A-9737-258D1BD5FF1C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2" name="Author | Department">
            <a:extLst>
              <a:ext uri="{FF2B5EF4-FFF2-40B4-BE49-F238E27FC236}">
                <a16:creationId xmlns:a16="http://schemas.microsoft.com/office/drawing/2014/main" id="{76A8D2FE-BA1D-4859-974B-3CE593356603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>
                <a:solidFill>
                  <a:schemeClr val="tx1"/>
                </a:solidFill>
              </a:rPr>
              <a:t>New Energy Business</a:t>
            </a: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B62F83BA-3A3C-4C97-9E3D-2AD45D023693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April 2023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2711F229-D1D7-4539-BEDE-9CCD18EF1B73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039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 userDrawn="1">
          <p15:clr>
            <a:srgbClr val="009999"/>
          </p15:clr>
        </p15:guide>
        <p15:guide id="3" pos="3057" userDrawn="1">
          <p15:clr>
            <a:srgbClr val="009999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Sustainable Energy Systems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bg1"/>
                </a:solidFill>
              </a:rPr>
              <a:t>May 2023</a:t>
            </a:r>
          </a:p>
          <a:p>
            <a:pPr algn="l"/>
            <a:endParaRPr lang="en-US" sz="1000" b="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9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 userDrawn="1">
          <p15:clr>
            <a:srgbClr val="009999"/>
          </p15:clr>
        </p15:guide>
        <p15:guide id="3" pos="3058" userDrawn="1">
          <p15:clr>
            <a:srgbClr val="009999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1414892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age">
            <a:extLst>
              <a:ext uri="{FF2B5EF4-FFF2-40B4-BE49-F238E27FC236}">
                <a16:creationId xmlns:a16="http://schemas.microsoft.com/office/drawing/2014/main" id="{1C1CD5B7-5AAF-4343-81C3-8F082700E286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2" name="Author | Department">
            <a:extLst>
              <a:ext uri="{FF2B5EF4-FFF2-40B4-BE49-F238E27FC236}">
                <a16:creationId xmlns:a16="http://schemas.microsoft.com/office/drawing/2014/main" id="{0875978A-7319-4CB6-80A8-C9AB39F3E7EF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 err="1"/>
              <a:t>Sustainable</a:t>
            </a:r>
            <a:r>
              <a:rPr lang="de-DE" sz="1000" b="0" noProof="0"/>
              <a:t> Energy Systems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69E6FBEA-922C-4F9F-BFE1-26DBD94724BD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bg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4E196A50-B024-42C5-A644-0D1A32051620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April 2023</a:t>
            </a:r>
          </a:p>
        </p:txBody>
      </p:sp>
      <p:sp>
        <p:nvSpPr>
          <p:cNvPr id="21" name="License statement">
            <a:extLst>
              <a:ext uri="{FF2B5EF4-FFF2-40B4-BE49-F238E27FC236}">
                <a16:creationId xmlns:a16="http://schemas.microsoft.com/office/drawing/2014/main" id="{CD798A3B-5740-4626-A1B2-07BE5C50CAF9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2972842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2695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1E06695-9B17-4AED-9B3F-2E479FA49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256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1E06695-9B17-4AED-9B3F-2E479FA499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9322" t="21730" r="39007" b="36603"/>
          <a:stretch/>
        </p:blipFill>
        <p:spPr bwMode="hidden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© Siemens Energy, 2023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574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FB2467-69B8-4BA3-8664-0B6EC57EA1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273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FB2467-69B8-4BA3-8664-0B6EC57EA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7845" t="23917" r="40484" b="34416"/>
          <a:stretch/>
        </p:blipFill>
        <p:spPr bwMode="hidden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 rtl="0"/>
            <a:r>
              <a:rPr lang="en-US" sz="1000" b="0" noProof="0"/>
              <a:t>© Siemens Energy, 2022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 rtl="0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841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0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652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E4B6E0D-FF5A-41B1-A3F0-3B914D7F6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382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E4B6E0D-FF5A-41B1-A3F0-3B914D7F6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0183" t="26979" r="38146" b="31354"/>
          <a:stretch/>
        </p:blipFill>
        <p:spPr bwMode="hidden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5902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3E578ED-231A-4F4D-BC19-3A70D73D1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789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3E578ED-231A-4F4D-BC19-3A70D73D14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675" t="21705" r="36127" b="36101"/>
          <a:stretch/>
        </p:blipFill>
        <p:spPr bwMode="hidden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224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0CF4DA9-F1A6-458E-91A3-580408782F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204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0CF4DA9-F1A6-458E-91A3-580408782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43B07ABE-0FDD-4360-94CB-BE49F6F0B457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03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C693648-A357-4803-88A0-DA133F8B01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811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C693648-A357-4803-88A0-DA133F8B0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9322" t="21730" r="39007" b="36603"/>
          <a:stretch/>
        </p:blipFill>
        <p:spPr bwMode="hidden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February 2022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897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6EC06A2-3233-4516-94DA-F6CCC58BDB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851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6EC06A2-3233-4516-94DA-F6CCC58BD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7845" t="23917" r="40484" b="34416"/>
          <a:stretch/>
        </p:blipFill>
        <p:spPr bwMode="hidden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February 2022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257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8BF1FAB-9B40-4F9C-B10C-2547774B4D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3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8BF1FAB-9B40-4F9C-B10C-2547774B4D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0183" t="26979" r="38146" b="31354"/>
          <a:stretch/>
        </p:blipFill>
        <p:spPr bwMode="hidden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February 2022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9008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7F09848-A834-41B6-912A-54B87148E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3423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7F09848-A834-41B6-912A-54B87148E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675" t="21705" r="36127" b="36101"/>
          <a:stretch/>
        </p:blipFill>
        <p:spPr bwMode="hidden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February 2022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887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ADFB39D-695C-4EB7-B053-F7E9580A96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1689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ADFB39D-695C-4EB7-B053-F7E9580A9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371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29FDCE2-24A7-4B67-82F8-89835FB8A0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99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29FDCE2-24A7-4B67-82F8-89835FB8A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1" name="Author | Department">
            <a:extLst>
              <a:ext uri="{FF2B5EF4-FFF2-40B4-BE49-F238E27FC236}">
                <a16:creationId xmlns:a16="http://schemas.microsoft.com/office/drawing/2014/main" id="{D68DCDC5-4F2B-44B6-8F0F-820176DFF1B3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y Presentation</a:t>
            </a:r>
          </a:p>
        </p:txBody>
      </p:sp>
      <p:sp>
        <p:nvSpPr>
          <p:cNvPr id="22" name="Copyright">
            <a:extLst>
              <a:ext uri="{FF2B5EF4-FFF2-40B4-BE49-F238E27FC236}">
                <a16:creationId xmlns:a16="http://schemas.microsoft.com/office/drawing/2014/main" id="{7F37D979-5873-43CB-B2A0-7F29413E1A8E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23" name="Page">
            <a:extLst>
              <a:ext uri="{FF2B5EF4-FFF2-40B4-BE49-F238E27FC236}">
                <a16:creationId xmlns:a16="http://schemas.microsoft.com/office/drawing/2014/main" id="{03A6209B-0B23-4B14-8B9F-CD213A6E096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March 2022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072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4998C24-B238-4C22-BE3C-FABE106081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14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4998C24-B238-4C22-BE3C-FABE106081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hidden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vert="horz"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26DFA7DF-409A-4EF9-98B8-082D9F0DFFA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FBB07F48-7C23-4EE9-98FE-9F1E3B2F0CF9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729C0801-E71C-4366-8677-B076F4D6C490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February 2022</a:t>
            </a:r>
          </a:p>
        </p:txBody>
      </p:sp>
    </p:spTree>
    <p:extLst>
      <p:ext uri="{BB962C8B-B14F-4D97-AF65-F5344CB8AC3E}">
        <p14:creationId xmlns:p14="http://schemas.microsoft.com/office/powerpoint/2010/main" val="1828358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7297E423-F13A-44D1-9C26-7FF23648A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6569" y="0"/>
            <a:ext cx="8575431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22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CF28B58-51C6-4C8E-B324-5B111ABE5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8132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CF28B58-51C6-4C8E-B324-5B111ABE5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6123" t="21730" r="42206" b="36603"/>
          <a:stretch/>
        </p:blipFill>
        <p:spPr bwMode="hidden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6" name="Author | Department">
            <a:extLst>
              <a:ext uri="{FF2B5EF4-FFF2-40B4-BE49-F238E27FC236}">
                <a16:creationId xmlns:a16="http://schemas.microsoft.com/office/drawing/2014/main" id="{F1D626C4-116E-471D-A183-678A72706E84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8B59CFA-AFE0-4473-A60A-D84A1A90AE4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10" name="Page">
            <a:extLst>
              <a:ext uri="{FF2B5EF4-FFF2-40B4-BE49-F238E27FC236}">
                <a16:creationId xmlns:a16="http://schemas.microsoft.com/office/drawing/2014/main" id="{EFC6F67A-D89D-43AA-A5C1-18FB7E52FD1F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February 2022</a:t>
            </a:r>
          </a:p>
        </p:txBody>
      </p:sp>
    </p:spTree>
    <p:extLst>
      <p:ext uri="{BB962C8B-B14F-4D97-AF65-F5344CB8AC3E}">
        <p14:creationId xmlns:p14="http://schemas.microsoft.com/office/powerpoint/2010/main" val="5291591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45693F5-B988-4804-9A78-C3A482B68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0204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45693F5-B988-4804-9A78-C3A482B68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14146799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C1DEE16-8738-49E9-A19C-121C82CB4E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424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C1DEE16-8738-49E9-A19C-121C82CB4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42194672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BE4EFB0-78CC-4F0A-BABC-EBDD63EC7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601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BE4EFB0-78CC-4F0A-BABC-EBDD63EC7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6655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3B27DAF-D57E-47FB-BAD3-973B88CDA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553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3B27DAF-D57E-47FB-BAD3-973B88CDA1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 bwMode="ltGray"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6802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2165E60-52FD-4EF8-818E-398A86BE6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79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2165E60-52FD-4EF8-818E-398A86BE6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4538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0C3F27E-6DC1-43D0-B019-87BC01A7A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914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0C3F27E-6DC1-43D0-B019-87BC01A7A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4499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270D9F7-D296-4E08-8086-8BE985273B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961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270D9F7-D296-4E08-8086-8BE985273B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749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6063FE8-8F6B-40F5-95A5-A9FFF40FE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029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6063FE8-8F6B-40F5-95A5-A9FFF40FE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vert="horz"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</a:p>
        </p:txBody>
      </p:sp>
    </p:spTree>
    <p:extLst>
      <p:ext uri="{BB962C8B-B14F-4D97-AF65-F5344CB8AC3E}">
        <p14:creationId xmlns:p14="http://schemas.microsoft.com/office/powerpoint/2010/main" val="835068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778FB16-37C1-46D7-8033-8B1AF748B4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7744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778FB16-37C1-46D7-8033-8B1AF748B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18391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43B07ABE-0FDD-4360-94CB-BE49F6F0B457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dirty="0" err="1">
                <a:solidFill>
                  <a:schemeClr val="tx1"/>
                </a:solidFill>
              </a:rPr>
              <a:t>Unrestricted</a:t>
            </a:r>
            <a:r>
              <a:rPr lang="de-DE" sz="1000" b="0" noProof="0" dirty="0">
                <a:solidFill>
                  <a:schemeClr val="tx1"/>
                </a:solidFill>
              </a:rPr>
              <a:t> </a:t>
            </a:r>
            <a:r>
              <a:rPr lang="de-DE" sz="1000" b="0" noProof="0" dirty="0" err="1">
                <a:solidFill>
                  <a:schemeClr val="tx1"/>
                </a:solidFill>
              </a:rPr>
              <a:t>use</a:t>
            </a:r>
            <a:r>
              <a:rPr lang="de-DE" sz="1000" b="0" noProof="0" dirty="0">
                <a:solidFill>
                  <a:schemeClr val="tx1"/>
                </a:solidFill>
              </a:rPr>
              <a:t> © Siemens Energy, 2023</a:t>
            </a:r>
            <a:endParaRPr lang="en-US" sz="1000" b="0" noProof="0" dirty="0">
              <a:solidFill>
                <a:schemeClr val="tx1"/>
              </a:solidFill>
            </a:endParaRP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381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E7EFBF9-5262-491C-A4AD-B5D0C9752B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060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E7EFBF9-5262-491C-A4AD-B5D0C9752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27228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951AD9F-E8C5-4ED6-9FCF-6B84C5C29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523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951AD9F-E8C5-4ED6-9FCF-6B84C5C29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License statement">
            <a:extLst>
              <a:ext uri="{FF2B5EF4-FFF2-40B4-BE49-F238E27FC236}">
                <a16:creationId xmlns:a16="http://schemas.microsoft.com/office/drawing/2014/main" id="{8A8BFD76-D6D8-4CF7-9953-B1C9C522963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06849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69A94E7-C3B9-48CC-88E8-CA69C7E9D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020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69A94E7-C3B9-48CC-88E8-CA69C7E9D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48877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CDECB8C-6D1B-41C8-8134-9E397B3D66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85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CDECB8C-6D1B-41C8-8134-9E397B3D6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80290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F1EFF4C-548D-4277-9E95-7214CDCB3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927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F1EFF4C-548D-4277-9E95-7214CDCB3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White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048430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D9555A6-B725-4F8C-A408-50EB6E01C0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033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D9555A6-B725-4F8C-A408-50EB6E01C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99181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805F155-75CE-4323-A446-10FCD50CDE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93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805F155-75CE-4323-A446-10FCD50CDE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7760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3D8FB7A-43D1-46F1-BFA6-36CE28218E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641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3D8FB7A-43D1-46F1-BFA6-36CE28218E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36426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5110992-767A-4639-B463-4C39BB801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396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5110992-767A-4639-B463-4C39BB801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16019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DE3BCF-CEFE-4F71-8134-71062D805D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6105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DE3BCF-CEFE-4F71-8134-71062D805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 rtl="0"/>
            <a:r>
              <a:rPr lang="en-US" sz="1000" b="0" noProof="0"/>
              <a:t>© Siemens Energy, 2022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 rtl="0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pPr algn="r" rtl="0"/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 rtl="0"/>
            <a:r>
              <a:rPr lang="en-US" sz="1000" b="0" noProof="0"/>
              <a:t>March 2022</a:t>
            </a:r>
          </a:p>
        </p:txBody>
      </p:sp>
      <p:sp>
        <p:nvSpPr>
          <p:cNvPr id="8" name="Author | Department">
            <a:extLst>
              <a:ext uri="{FF2B5EF4-FFF2-40B4-BE49-F238E27FC236}">
                <a16:creationId xmlns:a16="http://schemas.microsoft.com/office/drawing/2014/main" id="{65C570D4-C76C-47DA-B696-C56A703B659A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 rtl="0"/>
            <a:r>
              <a:rPr lang="en-US" sz="1000" b="0" noProof="0"/>
              <a:t>Company Presentation</a:t>
            </a:r>
          </a:p>
        </p:txBody>
      </p:sp>
    </p:spTree>
    <p:extLst>
      <p:ext uri="{BB962C8B-B14F-4D97-AF65-F5344CB8AC3E}">
        <p14:creationId xmlns:p14="http://schemas.microsoft.com/office/powerpoint/2010/main" val="10654819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235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5E0A307-02C8-4A21-9E8C-175FE57DC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866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5E0A307-02C8-4A21-9E8C-175FE57DC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hidden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March 2022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9" name="License statement">
            <a:extLst>
              <a:ext uri="{FF2B5EF4-FFF2-40B4-BE49-F238E27FC236}">
                <a16:creationId xmlns:a16="http://schemas.microsoft.com/office/drawing/2014/main" id="{F7180AC6-B789-4E8E-A386-018ABF4ECC8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4169478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10F6A29-CD67-4D5F-B22C-36ABB9251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8035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10F6A29-CD67-4D5F-B22C-36ABB9251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hidden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CA3F32E1-BC1C-475E-99E6-0E8AF47DA2D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39F2375B-D22F-4C21-B117-6F14EB872B3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DCCDEAC1-13C2-4322-816D-0489681B6D17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February 2022</a:t>
            </a:r>
          </a:p>
        </p:txBody>
      </p:sp>
    </p:spTree>
    <p:extLst>
      <p:ext uri="{BB962C8B-B14F-4D97-AF65-F5344CB8AC3E}">
        <p14:creationId xmlns:p14="http://schemas.microsoft.com/office/powerpoint/2010/main" val="3114727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EFEF517-CA4B-4648-AB55-21A5FEBBC9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5986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EFEF517-CA4B-4648-AB55-21A5FEBBC9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97" t="-4" r="1" b="-1"/>
          <a:stretch/>
        </p:blipFill>
        <p:spPr bwMode="grayWhite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Companies Presentation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© Siemens Energy, 2022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Nr.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February 2022</a:t>
            </a:r>
          </a:p>
        </p:txBody>
      </p:sp>
    </p:spTree>
    <p:extLst>
      <p:ext uri="{BB962C8B-B14F-4D97-AF65-F5344CB8AC3E}">
        <p14:creationId xmlns:p14="http://schemas.microsoft.com/office/powerpoint/2010/main" val="3294122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DE40F70-9B52-4C30-A191-D24523B14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5358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DE40F70-9B52-4C30-A191-D24523B14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grayWhite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Companies Presentation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2"/>
                </a:solidFill>
              </a:rPr>
              <a:t>© Siemens Energy, 2022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2"/>
                </a:solidFill>
              </a:rPr>
              <a:t>‹Nr.›</a:t>
            </a:fld>
            <a:endParaRPr lang="en-US" sz="1000" b="1" noProof="0">
              <a:solidFill>
                <a:schemeClr val="bg2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February 2022</a:t>
            </a:r>
          </a:p>
        </p:txBody>
      </p:sp>
    </p:spTree>
    <p:extLst>
      <p:ext uri="{BB962C8B-B14F-4D97-AF65-F5344CB8AC3E}">
        <p14:creationId xmlns:p14="http://schemas.microsoft.com/office/powerpoint/2010/main" val="15990424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8A5E9EC-5817-4D7D-A628-0A2673C630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62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8A5E9EC-5817-4D7D-A628-0A2673C63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049" t="-4" r="1" b="-1"/>
          <a:stretch/>
        </p:blipFill>
        <p:spPr bwMode="grayWhite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292000" y="6166800"/>
            <a:ext cx="900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February 2022</a:t>
            </a:r>
          </a:p>
        </p:txBody>
      </p:sp>
    </p:spTree>
    <p:extLst>
      <p:ext uri="{BB962C8B-B14F-4D97-AF65-F5344CB8AC3E}">
        <p14:creationId xmlns:p14="http://schemas.microsoft.com/office/powerpoint/2010/main" val="1936072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064FF3-29B4-4264-8533-D0B3B4D30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0747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064FF3-29B4-4264-8533-D0B3B4D30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grayWhite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February 2022</a:t>
            </a:r>
          </a:p>
        </p:txBody>
      </p:sp>
    </p:spTree>
    <p:extLst>
      <p:ext uri="{BB962C8B-B14F-4D97-AF65-F5344CB8AC3E}">
        <p14:creationId xmlns:p14="http://schemas.microsoft.com/office/powerpoint/2010/main" val="2183174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D78C86C-0F01-433E-BF91-EE77F24238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8659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D78C86C-0F01-433E-BF91-EE77F24238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56"/>
          <a:stretch/>
        </p:blipFill>
        <p:spPr bwMode="grayWhite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Mastertitel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Companies Presentation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© Siemens Energy, 2022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February 2022</a:t>
            </a:r>
          </a:p>
        </p:txBody>
      </p:sp>
    </p:spTree>
    <p:extLst>
      <p:ext uri="{BB962C8B-B14F-4D97-AF65-F5344CB8AC3E}">
        <p14:creationId xmlns:p14="http://schemas.microsoft.com/office/powerpoint/2010/main" val="1252650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CB233BF-8C79-42EB-AD86-6872FBDFE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CB233BF-8C79-42EB-AD86-6872FBDFE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8207375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7809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1AEE56A-3C0D-4E51-BBA0-52FF0668A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659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1AEE56A-3C0D-4E51-BBA0-52FF0668A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74DBC81-791D-46BC-AE3D-BB149CD66C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6965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3D940F6-7576-4FFF-914A-C9C0B7DB5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3015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3D940F6-7576-4FFF-914A-C9C0B7DB5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967EE96-DA83-4EEB-9C0E-37E05A92BD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6430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12" name="Page">
            <a:extLst>
              <a:ext uri="{FF2B5EF4-FFF2-40B4-BE49-F238E27FC236}">
                <a16:creationId xmlns:a16="http://schemas.microsoft.com/office/drawing/2014/main" id="{E9F241A7-FAFB-44B7-A8F1-6DE12FDFEC90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B885EC39-3AF8-4086-B976-64F1A13DDACD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/>
              <a:t>New Energy Business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F7006658-54F1-46FD-98AB-CB3A69011A14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1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18" name="Date">
            <a:extLst>
              <a:ext uri="{FF2B5EF4-FFF2-40B4-BE49-F238E27FC236}">
                <a16:creationId xmlns:a16="http://schemas.microsoft.com/office/drawing/2014/main" id="{021D529B-F2B1-46BB-98E3-6B30AE9F5CC5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October 2021</a:t>
            </a:r>
          </a:p>
        </p:txBody>
      </p:sp>
    </p:spTree>
    <p:extLst>
      <p:ext uri="{BB962C8B-B14F-4D97-AF65-F5344CB8AC3E}">
        <p14:creationId xmlns:p14="http://schemas.microsoft.com/office/powerpoint/2010/main" val="3003816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7EBD9E-E5FC-41E2-B17A-B6E03803EF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846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7EBD9E-E5FC-41E2-B17A-B6E03803E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860BDF3-D1CD-41C1-8564-53E90CD816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0826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79E6CA9-C348-48A4-870E-057D505509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34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79E6CA9-C348-48A4-870E-057D50550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96A8644-DF34-4CF8-8CD1-7D92A8B027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051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B8B16AC-E75C-4824-8E17-D97CBC9DBA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633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B8B16AC-E75C-4824-8E17-D97CBC9DB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3E00573-4591-4D2F-8646-161D24192F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43B07ABE-0FDD-4360-94CB-BE49F6F0B457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521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C2F9FC0-F0BD-4D58-BD74-9730786623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18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C2F9FC0-F0BD-4D58-BD74-973078662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EDB91F4-858D-4520-882F-FDA6A764D1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374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05DB2B3-3C23-4C21-B206-C676B174D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5259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05DB2B3-3C23-4C21-B206-C676B174DC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086556A8-4D3F-444E-8170-433C2F6B3F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35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8898564-5372-42C7-A003-14BB203669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251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8898564-5372-42C7-A003-14BB20366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5F13744-B4F5-4AD1-AE70-09603F505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806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DE99910-BF73-415F-96D4-A0A94244E0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66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DE99910-BF73-415F-96D4-A0A94244E0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4D7C200-67A1-4E25-8420-9F3A3DDA4A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059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17B8C47-BB23-45EB-8E3E-893E65A86A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551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17B8C47-BB23-45EB-8E3E-893E65A86A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E2411BA-AEBC-4AE9-AC91-F89FA2EBF9B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088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799816F-5BE1-4934-AA04-B975021904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265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799816F-5BE1-4934-AA04-B97502190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719D53F-088B-4F1E-A0F1-6BA0FF6B1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21" name="Author | Department">
            <a:extLst>
              <a:ext uri="{FF2B5EF4-FFF2-40B4-BE49-F238E27FC236}">
                <a16:creationId xmlns:a16="http://schemas.microsoft.com/office/drawing/2014/main" id="{D68DCDC5-4F2B-44B6-8F0F-820176DFF1B3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noProof="0">
                <a:solidFill>
                  <a:schemeClr val="tx1"/>
                </a:solidFill>
              </a:rPr>
              <a:t>Erik Zindel | SE GP G S DES P&amp;M</a:t>
            </a:r>
          </a:p>
        </p:txBody>
      </p:sp>
      <p:sp>
        <p:nvSpPr>
          <p:cNvPr id="22" name="Copyright">
            <a:extLst>
              <a:ext uri="{FF2B5EF4-FFF2-40B4-BE49-F238E27FC236}">
                <a16:creationId xmlns:a16="http://schemas.microsoft.com/office/drawing/2014/main" id="{7F37D979-5873-43CB-B2A0-7F29413E1A8E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1</a:t>
            </a:r>
          </a:p>
        </p:txBody>
      </p:sp>
      <p:sp>
        <p:nvSpPr>
          <p:cNvPr id="23" name="Page">
            <a:extLst>
              <a:ext uri="{FF2B5EF4-FFF2-40B4-BE49-F238E27FC236}">
                <a16:creationId xmlns:a16="http://schemas.microsoft.com/office/drawing/2014/main" id="{03A6209B-0B23-4B14-8B9F-CD213A6E096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October 2021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307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031983-6D2B-4B4E-BF5C-D2B91611D4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188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031983-6D2B-4B4E-BF5C-D2B91611D4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8797334-009D-4D1E-B82D-6176921B0D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26DFA7DF-409A-4EF9-98B8-082D9F0DFFA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FBB07F48-7C23-4EE9-98FE-9F1E3B2F0CF9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729C0801-E71C-4366-8677-B076F4D6C490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4" name="License statement">
            <a:extLst>
              <a:ext uri="{FF2B5EF4-FFF2-40B4-BE49-F238E27FC236}">
                <a16:creationId xmlns:a16="http://schemas.microsoft.com/office/drawing/2014/main" id="{B7CADBCA-4DE1-404E-BF7C-ADF2A140AC0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487C015F-913C-48DD-99E5-F1AEE0B2AC9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658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9" name="Page">
            <a:extLst>
              <a:ext uri="{FF2B5EF4-FFF2-40B4-BE49-F238E27FC236}">
                <a16:creationId xmlns:a16="http://schemas.microsoft.com/office/drawing/2014/main" id="{446461A2-E3E2-4744-BC1E-9F8C66C0A0B1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Author | Department">
            <a:extLst>
              <a:ext uri="{FF2B5EF4-FFF2-40B4-BE49-F238E27FC236}">
                <a16:creationId xmlns:a16="http://schemas.microsoft.com/office/drawing/2014/main" id="{AAC08FE7-97E4-4CCD-B203-8BA3030FEF6E}"/>
              </a:ext>
            </a:extLst>
          </p:cNvPr>
          <p:cNvSpPr txBox="1"/>
          <p:nvPr userDrawn="1"/>
        </p:nvSpPr>
        <p:spPr>
          <a:xfrm>
            <a:off x="6242050" y="6167438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de-DE" sz="1000" b="0" noProof="0"/>
              <a:t>New Energy Business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0C76DCC9-B4C0-4B01-934E-9D47DED28529}"/>
              </a:ext>
            </a:extLst>
          </p:cNvPr>
          <p:cNvSpPr txBox="1"/>
          <p:nvPr userDrawn="1"/>
        </p:nvSpPr>
        <p:spPr>
          <a:xfrm>
            <a:off x="6242050" y="6527438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>
                <a:solidFill>
                  <a:schemeClr val="tx1"/>
                </a:solidFill>
              </a:rPr>
              <a:t>Unrestricted</a:t>
            </a:r>
            <a:r>
              <a:rPr lang="de-DE" sz="1000" b="0" noProof="0">
                <a:solidFill>
                  <a:schemeClr val="tx1"/>
                </a:solidFill>
              </a:rPr>
              <a:t> </a:t>
            </a:r>
            <a:r>
              <a:rPr lang="de-DE" sz="1000" b="0" noProof="0" err="1">
                <a:solidFill>
                  <a:schemeClr val="tx1"/>
                </a:solidFill>
              </a:rPr>
              <a:t>use</a:t>
            </a:r>
            <a:r>
              <a:rPr lang="de-DE" sz="1000" b="0" noProof="0">
                <a:solidFill>
                  <a:schemeClr val="tx1"/>
                </a:solidFill>
              </a:rPr>
              <a:t> © Siemens Energy, 2023</a:t>
            </a:r>
            <a:endParaRPr lang="en-US" sz="1000" b="0" noProof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02A47FA-F501-4B96-8CDD-EC5D945084B6}"/>
              </a:ext>
            </a:extLst>
          </p:cNvPr>
          <p:cNvSpPr txBox="1"/>
          <p:nvPr userDrawn="1"/>
        </p:nvSpPr>
        <p:spPr>
          <a:xfrm>
            <a:off x="-1" y="6527438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tx1"/>
                </a:solidFill>
              </a:rPr>
              <a:t>April 2023</a:t>
            </a:r>
          </a:p>
        </p:txBody>
      </p:sp>
      <p:sp>
        <p:nvSpPr>
          <p:cNvPr id="14" name="License statement">
            <a:extLst>
              <a:ext uri="{FF2B5EF4-FFF2-40B4-BE49-F238E27FC236}">
                <a16:creationId xmlns:a16="http://schemas.microsoft.com/office/drawing/2014/main" id="{F3A910C5-4EFE-443C-8146-F7992CBEDBF1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388101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182FB64-5E49-4ADB-9771-1EEA9FFAA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7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182FB64-5E49-4ADB-9771-1EEA9FFAA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56C55CC-F3CB-4496-A13E-5106F4782B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6" name="Author | Department">
            <a:extLst>
              <a:ext uri="{FF2B5EF4-FFF2-40B4-BE49-F238E27FC236}">
                <a16:creationId xmlns:a16="http://schemas.microsoft.com/office/drawing/2014/main" id="{F1D626C4-116E-471D-A183-678A72706E84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8B59CFA-AFE0-4473-A60A-D84A1A90AE4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0" name="Page">
            <a:extLst>
              <a:ext uri="{FF2B5EF4-FFF2-40B4-BE49-F238E27FC236}">
                <a16:creationId xmlns:a16="http://schemas.microsoft.com/office/drawing/2014/main" id="{EFC6F67A-D89D-43AA-A5C1-18FB7E52FD1F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Nr.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</p:spTree>
    <p:extLst>
      <p:ext uri="{BB962C8B-B14F-4D97-AF65-F5344CB8AC3E}">
        <p14:creationId xmlns:p14="http://schemas.microsoft.com/office/powerpoint/2010/main" val="36546960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7CACEC0-618F-4013-884E-3896637164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739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7CACEC0-618F-4013-884E-389663716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34A6196-3150-4786-A757-54E8535734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295728281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F6A657-5800-4885-9F74-C0E4322FF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6726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F6A657-5800-4885-9F74-C0E4322FF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1DB85B3-B84A-4DB2-BBAC-DD9C8F4513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23029798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B458020-C6E2-4D54-8253-76DAD90CD6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305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B458020-C6E2-4D54-8253-76DAD90CD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6A1C9B2-7B33-4F74-9EF5-6789E7F5C8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105312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09BB46E-6C97-4933-8BED-804DED6D4B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729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09BB46E-6C97-4933-8BED-804DED6D4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0F90FAFE-C058-40CA-91C5-91C8450348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960118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8600A9B-5751-4C51-86AF-374F9CCC7B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0988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8600A9B-5751-4C51-86AF-374F9CCC7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C5BD477-B4C5-4BB2-9BF3-78053FE42C8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378085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5FD1140-BA03-48EC-8460-F26B7051BA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538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5FD1140-BA03-48EC-8460-F26B7051BA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047BFB1-86EA-44B5-805B-FC9CAE9F19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30396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6464C85-9118-48DE-8F09-5B22CA9E8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683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6464C85-9118-48DE-8F09-5B22CA9E81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CB5F1B2-829E-400A-A45E-445E39FD39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2284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7FC5810-5261-4E00-BDC6-EB039CDFB1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446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7FC5810-5261-4E00-BDC6-EB039CDFB1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71DA5D2-7D33-4523-B290-078428DD07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</a:p>
        </p:txBody>
      </p:sp>
    </p:spTree>
    <p:extLst>
      <p:ext uri="{BB962C8B-B14F-4D97-AF65-F5344CB8AC3E}">
        <p14:creationId xmlns:p14="http://schemas.microsoft.com/office/powerpoint/2010/main" val="482823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6FE63F7-9535-4D8D-AA5E-9CBBDD0EA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028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6FE63F7-9535-4D8D-AA5E-9CBBDD0EA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5260230-EA7C-4CDF-B874-122A3660F4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4746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slideLayout" Target="../slideLayouts/slideLayout77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43" Type="http://schemas.openxmlformats.org/officeDocument/2006/relationships/oleObject" Target="../embeddings/oleObject2.bin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slideLayout" Target="../slideLayouts/slideLayout7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42" Type="http://schemas.openxmlformats.org/officeDocument/2006/relationships/tags" Target="../tags/tag44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40" Type="http://schemas.openxmlformats.org/officeDocument/2006/relationships/slideLayout" Target="../slideLayouts/slideLayout117.xml"/><Relationship Id="rId45" Type="http://schemas.openxmlformats.org/officeDocument/2006/relationships/image" Target="../media/image18.emf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4" Type="http://schemas.openxmlformats.org/officeDocument/2006/relationships/oleObject" Target="../embeddings/oleObject43.bin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Relationship Id="rId43" Type="http://schemas.openxmlformats.org/officeDocument/2006/relationships/tags" Target="../tags/tag45.xml"/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slideLayout" Target="../slideLayouts/slideLayout115.xml"/><Relationship Id="rId46" Type="http://schemas.openxmlformats.org/officeDocument/2006/relationships/image" Target="../media/image11.emf"/><Relationship Id="rId20" Type="http://schemas.openxmlformats.org/officeDocument/2006/relationships/slideLayout" Target="../slideLayouts/slideLayout97.xml"/><Relationship Id="rId4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43.xml"/><Relationship Id="rId39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38.xml"/><Relationship Id="rId34" Type="http://schemas.openxmlformats.org/officeDocument/2006/relationships/slideLayout" Target="../slideLayouts/slideLayout151.xml"/><Relationship Id="rId42" Type="http://schemas.openxmlformats.org/officeDocument/2006/relationships/tags" Target="../tags/tag125.xml"/><Relationship Id="rId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9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32" Type="http://schemas.openxmlformats.org/officeDocument/2006/relationships/slideLayout" Target="../slideLayouts/slideLayout149.xml"/><Relationship Id="rId37" Type="http://schemas.openxmlformats.org/officeDocument/2006/relationships/slideLayout" Target="../slideLayouts/slideLayout154.xml"/><Relationship Id="rId40" Type="http://schemas.openxmlformats.org/officeDocument/2006/relationships/slideLayout" Target="../slideLayouts/slideLayout157.xml"/><Relationship Id="rId45" Type="http://schemas.openxmlformats.org/officeDocument/2006/relationships/image" Target="../media/image18.emf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slideLayout" Target="../slideLayouts/slideLayout145.xml"/><Relationship Id="rId36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31" Type="http://schemas.openxmlformats.org/officeDocument/2006/relationships/slideLayout" Target="../slideLayouts/slideLayout148.xml"/><Relationship Id="rId44" Type="http://schemas.openxmlformats.org/officeDocument/2006/relationships/oleObject" Target="../embeddings/oleObject84.bin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slideLayout" Target="../slideLayouts/slideLayout144.xml"/><Relationship Id="rId30" Type="http://schemas.openxmlformats.org/officeDocument/2006/relationships/slideLayout" Target="../slideLayouts/slideLayout147.xml"/><Relationship Id="rId35" Type="http://schemas.openxmlformats.org/officeDocument/2006/relationships/slideLayout" Target="../slideLayouts/slideLayout152.xml"/><Relationship Id="rId43" Type="http://schemas.openxmlformats.org/officeDocument/2006/relationships/tags" Target="../tags/tag126.xml"/><Relationship Id="rId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33" Type="http://schemas.openxmlformats.org/officeDocument/2006/relationships/slideLayout" Target="../slideLayouts/slideLayout150.xml"/><Relationship Id="rId38" Type="http://schemas.openxmlformats.org/officeDocument/2006/relationships/slideLayout" Target="../slideLayouts/slideLayout155.xml"/><Relationship Id="rId46" Type="http://schemas.openxmlformats.org/officeDocument/2006/relationships/image" Target="../media/image11.emf"/><Relationship Id="rId20" Type="http://schemas.openxmlformats.org/officeDocument/2006/relationships/slideLayout" Target="../slideLayouts/slideLayout137.xml"/><Relationship Id="rId4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0.xml"/><Relationship Id="rId18" Type="http://schemas.openxmlformats.org/officeDocument/2006/relationships/slideLayout" Target="../slideLayouts/slideLayout175.xml"/><Relationship Id="rId26" Type="http://schemas.openxmlformats.org/officeDocument/2006/relationships/slideLayout" Target="../slideLayouts/slideLayout183.xml"/><Relationship Id="rId39" Type="http://schemas.openxmlformats.org/officeDocument/2006/relationships/slideLayout" Target="../slideLayouts/slideLayout196.xml"/><Relationship Id="rId21" Type="http://schemas.openxmlformats.org/officeDocument/2006/relationships/slideLayout" Target="../slideLayouts/slideLayout178.xml"/><Relationship Id="rId34" Type="http://schemas.openxmlformats.org/officeDocument/2006/relationships/slideLayout" Target="../slideLayouts/slideLayout191.xml"/><Relationship Id="rId42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73.xml"/><Relationship Id="rId20" Type="http://schemas.openxmlformats.org/officeDocument/2006/relationships/slideLayout" Target="../slideLayouts/slideLayout177.xml"/><Relationship Id="rId29" Type="http://schemas.openxmlformats.org/officeDocument/2006/relationships/slideLayout" Target="../slideLayouts/slideLayout186.xml"/><Relationship Id="rId41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24" Type="http://schemas.openxmlformats.org/officeDocument/2006/relationships/slideLayout" Target="../slideLayouts/slideLayout181.xml"/><Relationship Id="rId32" Type="http://schemas.openxmlformats.org/officeDocument/2006/relationships/slideLayout" Target="../slideLayouts/slideLayout189.xml"/><Relationship Id="rId37" Type="http://schemas.openxmlformats.org/officeDocument/2006/relationships/slideLayout" Target="../slideLayouts/slideLayout194.xml"/><Relationship Id="rId40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62.xml"/><Relationship Id="rId15" Type="http://schemas.openxmlformats.org/officeDocument/2006/relationships/slideLayout" Target="../slideLayouts/slideLayout172.xml"/><Relationship Id="rId23" Type="http://schemas.openxmlformats.org/officeDocument/2006/relationships/slideLayout" Target="../slideLayouts/slideLayout180.xml"/><Relationship Id="rId28" Type="http://schemas.openxmlformats.org/officeDocument/2006/relationships/slideLayout" Target="../slideLayouts/slideLayout185.xml"/><Relationship Id="rId36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67.xml"/><Relationship Id="rId19" Type="http://schemas.openxmlformats.org/officeDocument/2006/relationships/slideLayout" Target="../slideLayouts/slideLayout176.xml"/><Relationship Id="rId31" Type="http://schemas.openxmlformats.org/officeDocument/2006/relationships/slideLayout" Target="../slideLayouts/slideLayout188.xml"/><Relationship Id="rId44" Type="http://schemas.openxmlformats.org/officeDocument/2006/relationships/theme" Target="../theme/theme5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slideLayout" Target="../slideLayouts/slideLayout171.xml"/><Relationship Id="rId22" Type="http://schemas.openxmlformats.org/officeDocument/2006/relationships/slideLayout" Target="../slideLayouts/slideLayout179.xml"/><Relationship Id="rId27" Type="http://schemas.openxmlformats.org/officeDocument/2006/relationships/slideLayout" Target="../slideLayouts/slideLayout184.xml"/><Relationship Id="rId30" Type="http://schemas.openxmlformats.org/officeDocument/2006/relationships/slideLayout" Target="../slideLayouts/slideLayout187.xml"/><Relationship Id="rId35" Type="http://schemas.openxmlformats.org/officeDocument/2006/relationships/slideLayout" Target="../slideLayouts/slideLayout192.xml"/><Relationship Id="rId43" Type="http://schemas.openxmlformats.org/officeDocument/2006/relationships/slideLayout" Target="../slideLayouts/slideLayout200.xml"/><Relationship Id="rId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9.xml"/><Relationship Id="rId17" Type="http://schemas.openxmlformats.org/officeDocument/2006/relationships/slideLayout" Target="../slideLayouts/slideLayout174.xml"/><Relationship Id="rId25" Type="http://schemas.openxmlformats.org/officeDocument/2006/relationships/slideLayout" Target="../slideLayouts/slideLayout182.xml"/><Relationship Id="rId33" Type="http://schemas.openxmlformats.org/officeDocument/2006/relationships/slideLayout" Target="../slideLayouts/slideLayout190.xml"/><Relationship Id="rId38" Type="http://schemas.openxmlformats.org/officeDocument/2006/relationships/slideLayout" Target="../slideLayouts/slideLayout19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1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01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25.bin"/><Relationship Id="rId4" Type="http://schemas.openxmlformats.org/officeDocument/2006/relationships/tags" Target="../tags/tag207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0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F1CE39-84B2-4661-8648-6B682C8E16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17590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0" imgW="306" imgH="306" progId="TCLayout.ActiveDocument.1">
                  <p:embed/>
                </p:oleObj>
              </mc:Choice>
              <mc:Fallback>
                <p:oleObj name="think-cell Folie" r:id="rId40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F1CE39-84B2-4661-8648-6B682C8E16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Sustainable Energy Systems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/>
              <a:t>Unrestricted</a:t>
            </a:r>
            <a:r>
              <a:rPr lang="de-DE" sz="1000" b="0" noProof="0"/>
              <a:t> </a:t>
            </a:r>
            <a:r>
              <a:rPr lang="de-DE" sz="1000" b="0" noProof="0" err="1"/>
              <a:t>use</a:t>
            </a:r>
            <a:r>
              <a:rPr lang="de-DE" sz="1000" b="0" noProof="0"/>
              <a:t> © Siemens Energy, 2023</a:t>
            </a:r>
            <a:endParaRPr lang="en-US" sz="1000" b="0" noProof="0"/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Nr.›</a:t>
            </a:fld>
            <a:endParaRPr lang="en-US" sz="1000" b="1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/>
              <a:t>May 2023</a:t>
            </a:r>
          </a:p>
          <a:p>
            <a:pPr algn="l"/>
            <a:endParaRPr lang="en-US" sz="1000" b="0" noProof="0" dirty="0"/>
          </a:p>
        </p:txBody>
      </p:sp>
    </p:spTree>
    <p:extLst>
      <p:ext uri="{BB962C8B-B14F-4D97-AF65-F5344CB8AC3E}">
        <p14:creationId xmlns:p14="http://schemas.microsoft.com/office/powerpoint/2010/main" val="263697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880" r:id="rId2"/>
    <p:sldLayoutId id="2147483684" r:id="rId3"/>
    <p:sldLayoutId id="2147483686" r:id="rId4"/>
    <p:sldLayoutId id="2147483687" r:id="rId5"/>
    <p:sldLayoutId id="2147483649" r:id="rId6"/>
    <p:sldLayoutId id="2147483662" r:id="rId7"/>
    <p:sldLayoutId id="2147483681" r:id="rId8"/>
    <p:sldLayoutId id="2147483682" r:id="rId9"/>
    <p:sldLayoutId id="2147483663" r:id="rId10"/>
    <p:sldLayoutId id="2147483664" r:id="rId11"/>
    <p:sldLayoutId id="2147483683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88" r:id="rId18"/>
    <p:sldLayoutId id="2147483650" r:id="rId19"/>
    <p:sldLayoutId id="2147483671" r:id="rId20"/>
    <p:sldLayoutId id="2147483700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78" r:id="rId28"/>
    <p:sldLayoutId id="2147483670" r:id="rId29"/>
    <p:sldLayoutId id="2147483701" r:id="rId30"/>
    <p:sldLayoutId id="2147483680" r:id="rId31"/>
    <p:sldLayoutId id="2147483698" r:id="rId32"/>
    <p:sldLayoutId id="2147483699" r:id="rId33"/>
    <p:sldLayoutId id="2147483696" r:id="rId34"/>
    <p:sldLayoutId id="2147483697" r:id="rId35"/>
    <p:sldLayoutId id="2147483693" r:id="rId36"/>
    <p:sldLayoutId id="2147483679" r:id="rId3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 userDrawn="1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1" userDrawn="1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ACD1E3F-4A22-471F-83C3-D0A09D10D4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020077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3" imgW="306" imgH="306" progId="TCLayout.ActiveDocument.1">
                  <p:embed/>
                </p:oleObj>
              </mc:Choice>
              <mc:Fallback>
                <p:oleObj name="think-cell Folie" r:id="rId4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ACD1E3F-4A22-471F-83C3-D0A09D10D4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 err="1"/>
              <a:t>Master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err="1"/>
              <a:t>Mastertext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Sustainable Energy Systems</a:t>
            </a:r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Nr.›</a:t>
            </a:fld>
            <a:endParaRPr lang="en-US" sz="1000" b="1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April 2023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40048499-389C-4D09-AC9D-BFBEDC0F3576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/>
              <a:t>Unrestricted</a:t>
            </a:r>
            <a:r>
              <a:rPr lang="de-DE" sz="1000" b="0" noProof="0"/>
              <a:t> </a:t>
            </a:r>
            <a:r>
              <a:rPr lang="de-DE" sz="1000" b="0" noProof="0" err="1"/>
              <a:t>use</a:t>
            </a:r>
            <a:r>
              <a:rPr lang="de-DE" sz="1000" b="0" noProof="0"/>
              <a:t> © Siemens Energy, 2023</a:t>
            </a:r>
            <a:endParaRPr lang="en-US" sz="1000" b="0" noProof="0"/>
          </a:p>
        </p:txBody>
      </p:sp>
    </p:spTree>
    <p:extLst>
      <p:ext uri="{BB962C8B-B14F-4D97-AF65-F5344CB8AC3E}">
        <p14:creationId xmlns:p14="http://schemas.microsoft.com/office/powerpoint/2010/main" val="2488157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  <p:sldLayoutId id="2147483733" r:id="rId30"/>
    <p:sldLayoutId id="2147483734" r:id="rId31"/>
    <p:sldLayoutId id="2147483735" r:id="rId32"/>
    <p:sldLayoutId id="2147483736" r:id="rId33"/>
    <p:sldLayoutId id="2147483737" r:id="rId34"/>
    <p:sldLayoutId id="2147483738" r:id="rId35"/>
    <p:sldLayoutId id="2147483739" r:id="rId36"/>
    <p:sldLayoutId id="2147483740" r:id="rId37"/>
    <p:sldLayoutId id="2147483741" r:id="rId38"/>
    <p:sldLayoutId id="2147483742" r:id="rId39"/>
    <p:sldLayoutId id="2147483743" r:id="rId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BBBF8A4-5075-49BF-9A99-59B2D6D06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397266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4" imgW="344" imgH="345" progId="TCLayout.ActiveDocument.1">
                  <p:embed/>
                </p:oleObj>
              </mc:Choice>
              <mc:Fallback>
                <p:oleObj name="think-cell Folie" r:id="rId4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BBBF8A4-5075-49BF-9A99-59B2D6D06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283BF2-FA43-48EA-8E49-F3894AEEB4B8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Erik Zindel | SE GP G S DES P&amp;M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2</a:t>
            </a:r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Nr.›</a:t>
            </a:fld>
            <a:endParaRPr lang="en-US" sz="1000" b="1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ne 2022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C8929B68-D2C9-4AE6-816A-1AF3F0CC69D0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584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  <p:sldLayoutId id="2147483771" r:id="rId27"/>
    <p:sldLayoutId id="2147483772" r:id="rId28"/>
    <p:sldLayoutId id="2147483773" r:id="rId29"/>
    <p:sldLayoutId id="2147483774" r:id="rId30"/>
    <p:sldLayoutId id="2147483775" r:id="rId31"/>
    <p:sldLayoutId id="2147483776" r:id="rId32"/>
    <p:sldLayoutId id="2147483777" r:id="rId33"/>
    <p:sldLayoutId id="2147483778" r:id="rId34"/>
    <p:sldLayoutId id="2147483779" r:id="rId35"/>
    <p:sldLayoutId id="2147483780" r:id="rId36"/>
    <p:sldLayoutId id="2147483781" r:id="rId37"/>
    <p:sldLayoutId id="2147483782" r:id="rId38"/>
    <p:sldLayoutId id="2147483783" r:id="rId39"/>
    <p:sldLayoutId id="2147483784" r:id="rId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BBBF8A4-5075-49BF-9A99-59B2D6D06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397266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4" imgW="344" imgH="345" progId="TCLayout.ActiveDocument.1">
                  <p:embed/>
                </p:oleObj>
              </mc:Choice>
              <mc:Fallback>
                <p:oleObj name="think-cell Folie" r:id="rId4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BBBF8A4-5075-49BF-9A99-59B2D6D06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283BF2-FA43-48EA-8E49-F3894AEEB4B8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Erik Zindel | SE GP G S DES P&amp;M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2</a:t>
            </a:r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Nr.›</a:t>
            </a:fld>
            <a:endParaRPr lang="en-US" sz="1000" b="1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June 2022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C8929B68-D2C9-4AE6-816A-1AF3F0CC69D0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12" name="License statement">
            <a:extLst>
              <a:ext uri="{FF2B5EF4-FFF2-40B4-BE49-F238E27FC236}">
                <a16:creationId xmlns:a16="http://schemas.microsoft.com/office/drawing/2014/main" id="{7580578C-5E1C-4897-9A44-C5F5EC83336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143042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  <p:sldLayoutId id="2147483801" r:id="rId16"/>
    <p:sldLayoutId id="2147483802" r:id="rId17"/>
    <p:sldLayoutId id="2147483803" r:id="rId18"/>
    <p:sldLayoutId id="2147483804" r:id="rId19"/>
    <p:sldLayoutId id="2147483805" r:id="rId20"/>
    <p:sldLayoutId id="2147483806" r:id="rId21"/>
    <p:sldLayoutId id="2147483807" r:id="rId22"/>
    <p:sldLayoutId id="2147483808" r:id="rId23"/>
    <p:sldLayoutId id="2147483809" r:id="rId24"/>
    <p:sldLayoutId id="2147483810" r:id="rId25"/>
    <p:sldLayoutId id="2147483811" r:id="rId26"/>
    <p:sldLayoutId id="2147483812" r:id="rId27"/>
    <p:sldLayoutId id="2147483813" r:id="rId28"/>
    <p:sldLayoutId id="2147483814" r:id="rId29"/>
    <p:sldLayoutId id="2147483815" r:id="rId30"/>
    <p:sldLayoutId id="2147483816" r:id="rId31"/>
    <p:sldLayoutId id="2147483817" r:id="rId32"/>
    <p:sldLayoutId id="2147483818" r:id="rId33"/>
    <p:sldLayoutId id="2147483819" r:id="rId34"/>
    <p:sldLayoutId id="2147483820" r:id="rId35"/>
    <p:sldLayoutId id="2147483821" r:id="rId36"/>
    <p:sldLayoutId id="2147483822" r:id="rId37"/>
    <p:sldLayoutId id="2147483823" r:id="rId38"/>
    <p:sldLayoutId id="2147483824" r:id="rId39"/>
    <p:sldLayoutId id="2147483825" r:id="rId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Author | Department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2020</a:t>
            </a:r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Nr.›</a:t>
            </a:fld>
            <a:endParaRPr lang="en-US" sz="1000" b="1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049907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  <p:sldLayoutId id="2147483850" r:id="rId25"/>
    <p:sldLayoutId id="2147483851" r:id="rId26"/>
    <p:sldLayoutId id="2147483852" r:id="rId27"/>
    <p:sldLayoutId id="2147483853" r:id="rId28"/>
    <p:sldLayoutId id="2147483854" r:id="rId29"/>
    <p:sldLayoutId id="2147483855" r:id="rId30"/>
    <p:sldLayoutId id="2147483856" r:id="rId31"/>
    <p:sldLayoutId id="2147483857" r:id="rId32"/>
    <p:sldLayoutId id="2147483858" r:id="rId33"/>
    <p:sldLayoutId id="2147483859" r:id="rId34"/>
    <p:sldLayoutId id="2147483860" r:id="rId35"/>
    <p:sldLayoutId id="2147483861" r:id="rId36"/>
    <p:sldLayoutId id="2147483862" r:id="rId37"/>
    <p:sldLayoutId id="2147483863" r:id="rId38"/>
    <p:sldLayoutId id="2147483864" r:id="rId39"/>
    <p:sldLayoutId id="2147483865" r:id="rId40"/>
    <p:sldLayoutId id="2147483866" r:id="rId41"/>
    <p:sldLayoutId id="2147483867" r:id="rId42"/>
    <p:sldLayoutId id="2147483868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BBBF8A4-5075-49BF-9A99-59B2D6D06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BBBF8A4-5075-49BF-9A99-59B2D6D06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283BF2-FA43-48EA-8E49-F3894AEEB4B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Sustainable Energy Systems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Unrestricted © Siemens Energy, 2022</a:t>
            </a:r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Nr.›</a:t>
            </a:fld>
            <a:endParaRPr lang="en-US" sz="1000" b="1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October 2022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C8929B68-D2C9-4AE6-816A-1AF3F0CC69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sp>
        <p:nvSpPr>
          <p:cNvPr id="12" name="License statement">
            <a:extLst>
              <a:ext uri="{FF2B5EF4-FFF2-40B4-BE49-F238E27FC236}">
                <a16:creationId xmlns:a16="http://schemas.microsoft.com/office/drawing/2014/main" id="{7580578C-5E1C-4897-9A44-C5F5EC83336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263697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 userDrawn="1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Author | Department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Restricted © Siemens Energy, </a:t>
            </a:r>
            <a:fld id="{749A78E1-C00F-4D20-A7B8-B745A3643E3E}" type="datetimeyyyy">
              <a:rPr lang="en-US" sz="1000" b="0" noProof="0" smtClean="0"/>
              <a:t>2023</a:t>
            </a:fld>
            <a:endParaRPr lang="en-US" sz="1000" b="0" noProof="0"/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Nr.›</a:t>
            </a:fld>
            <a:endParaRPr lang="en-US" sz="1000" b="1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263697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 userDrawn="1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F1CE39-84B2-4661-8648-6B682C8E16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F1CE39-84B2-4661-8648-6B682C8E16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/>
              <a:t>Sustainable Energy Systems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de-DE" sz="1000" b="0" noProof="0" err="1"/>
              <a:t>Unrestricted</a:t>
            </a:r>
            <a:r>
              <a:rPr lang="de-DE" sz="1000" b="0" noProof="0"/>
              <a:t> </a:t>
            </a:r>
            <a:r>
              <a:rPr lang="de-DE" sz="1000" b="0" noProof="0" err="1"/>
              <a:t>use</a:t>
            </a:r>
            <a:r>
              <a:rPr lang="de-DE" sz="1000" b="0" noProof="0"/>
              <a:t> © Siemens Energy, 2023</a:t>
            </a:r>
            <a:endParaRPr lang="en-US" sz="1000" b="0" noProof="0"/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Nr.›</a:t>
            </a:fld>
            <a:endParaRPr lang="en-US" sz="1000" b="1" noProof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April 2023</a:t>
            </a:r>
          </a:p>
          <a:p>
            <a:pPr algn="l"/>
            <a:endParaRPr lang="en-US" sz="1000" b="0" noProof="0"/>
          </a:p>
        </p:txBody>
      </p:sp>
    </p:spTree>
    <p:extLst>
      <p:ext uri="{BB962C8B-B14F-4D97-AF65-F5344CB8AC3E}">
        <p14:creationId xmlns:p14="http://schemas.microsoft.com/office/powerpoint/2010/main" val="263697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 userDrawn="1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1" userDrawn="1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55CD21E-2738-4BEB-A40B-FFAC23449E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55CD21E-2738-4BEB-A40B-FFAC23449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Mastertitelformat bearbeiten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455CD075-4A70-4E32-A9A2-91B316A76D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526800"/>
            <a:ext cx="1692000" cy="331200"/>
          </a:xfrm>
          <a:prstGeom prst="rect">
            <a:avLst/>
          </a:prstGeom>
        </p:spPr>
        <p:txBody>
          <a:bodyPr vert="horz" lIns="626400" tIns="0" rIns="0" bIns="0" rtlCol="0" anchor="t" anchorCtr="0"/>
          <a:lstStyle>
            <a:lvl1pPr algn="l"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March 2023</a:t>
            </a:r>
            <a:endParaRPr lang="en-US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3A3DCAD1-02F3-4066-A56E-088FFE2186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vert="horz" lIns="0" tIns="0" rIns="835200" bIns="0" rtlCol="0" anchor="t"/>
          <a:lstStyle>
            <a:lvl1pPr algn="r">
              <a:defRPr lang="en-US"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© Siemens Energy, 2023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F18B48C-AD01-4D10-ADDC-CBE83D3C91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4000" y="6526800"/>
            <a:ext cx="828000" cy="331200"/>
          </a:xfrm>
          <a:prstGeom prst="rect">
            <a:avLst/>
          </a:prstGeom>
        </p:spPr>
        <p:txBody>
          <a:bodyPr vert="horz" lIns="0" tIns="0" rIns="482400" bIns="0" rtlCol="0" anchor="t" anchorCtr="0"/>
          <a:lstStyle>
            <a:lvl1pPr algn="r">
              <a:defRPr lang="en-US" sz="10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5B0116A-0D09-4E99-8C69-B4C15A5D8A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97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 userDrawn="1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04.xml"/><Relationship Id="rId1" Type="http://schemas.openxmlformats.org/officeDocument/2006/relationships/tags" Target="../tags/tag212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Relationship Id="rId9" Type="http://schemas.openxmlformats.org/officeDocument/2006/relationships/image" Target="../media/image2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15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Relationship Id="rId9" Type="http://schemas.openxmlformats.org/officeDocument/2006/relationships/image" Target="../media/image2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2.bin"/><Relationship Id="rId13" Type="http://schemas.openxmlformats.org/officeDocument/2006/relationships/image" Target="../media/image31.png"/><Relationship Id="rId3" Type="http://schemas.openxmlformats.org/officeDocument/2006/relationships/tags" Target="../tags/tag218.xml"/><Relationship Id="rId7" Type="http://schemas.openxmlformats.org/officeDocument/2006/relationships/image" Target="../media/image26.jpeg"/><Relationship Id="rId12" Type="http://schemas.openxmlformats.org/officeDocument/2006/relationships/image" Target="../media/image30.jpe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33.jpeg"/><Relationship Id="rId10" Type="http://schemas.openxmlformats.org/officeDocument/2006/relationships/image" Target="../media/image28.png"/><Relationship Id="rId4" Type="http://schemas.openxmlformats.org/officeDocument/2006/relationships/tags" Target="../tags/tag219.xml"/><Relationship Id="rId9" Type="http://schemas.openxmlformats.org/officeDocument/2006/relationships/image" Target="../media/image27.emf"/><Relationship Id="rId14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20.xml"/><Relationship Id="rId6" Type="http://schemas.openxmlformats.org/officeDocument/2006/relationships/image" Target="../media/image35.jpe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3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1.jpe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21.xml"/><Relationship Id="rId6" Type="http://schemas.openxmlformats.org/officeDocument/2006/relationships/image" Target="../media/image40.jpeg"/><Relationship Id="rId11" Type="http://schemas.openxmlformats.org/officeDocument/2006/relationships/image" Target="../media/image45.jpeg"/><Relationship Id="rId5" Type="http://schemas.openxmlformats.org/officeDocument/2006/relationships/image" Target="../media/image1.emf"/><Relationship Id="rId10" Type="http://schemas.openxmlformats.org/officeDocument/2006/relationships/image" Target="../media/image44.jpeg"/><Relationship Id="rId4" Type="http://schemas.openxmlformats.org/officeDocument/2006/relationships/oleObject" Target="../embeddings/oleObject134.bin"/><Relationship Id="rId9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22.xml"/><Relationship Id="rId6" Type="http://schemas.openxmlformats.org/officeDocument/2006/relationships/image" Target="../media/image47.jpeg"/><Relationship Id="rId5" Type="http://schemas.openxmlformats.org/officeDocument/2006/relationships/image" Target="../media/image46.emf"/><Relationship Id="rId4" Type="http://schemas.openxmlformats.org/officeDocument/2006/relationships/oleObject" Target="../embeddings/oleObject13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D825A8D-B90A-DC6C-753D-B3052E3A90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180" y="1767340"/>
            <a:ext cx="5614988" cy="3114000"/>
          </a:xfrm>
        </p:spPr>
        <p:txBody>
          <a:bodyPr/>
          <a:lstStyle/>
          <a:p>
            <a:r>
              <a:rPr lang="de-DE" sz="3200" dirty="0"/>
              <a:t>Wasserstoff Elektrolyseure        im industriellen Maßstab</a:t>
            </a:r>
            <a:br>
              <a:rPr lang="de-DE" dirty="0"/>
            </a:br>
            <a:br>
              <a:rPr lang="de-DE" sz="1000" dirty="0"/>
            </a:br>
            <a:r>
              <a:rPr lang="de-DE" sz="2000" b="1" i="0" dirty="0">
                <a:effectLst/>
                <a:latin typeface="var( --e-global-typography-primary-font-family )"/>
              </a:rPr>
              <a:t>2. Nationales Wirtschaftsforum Wasserstoff</a:t>
            </a:r>
            <a:br>
              <a:rPr lang="de-DE" sz="2000" b="1" i="0" dirty="0">
                <a:effectLst/>
                <a:latin typeface="var( --e-global-typography-primary-font-family )"/>
              </a:rPr>
            </a:br>
            <a:r>
              <a:rPr lang="de-DE" sz="2000" b="1" i="0" dirty="0">
                <a:effectLst/>
                <a:latin typeface="var( --e-global-typography-primary-font-family )"/>
              </a:rPr>
              <a:t>Hamburg, 24.05.2023</a:t>
            </a:r>
            <a:br>
              <a:rPr lang="de-DE" b="1" i="0" dirty="0">
                <a:effectLst/>
                <a:latin typeface="var( --e-global-typography-primary-font-family )"/>
              </a:rPr>
            </a:br>
            <a:br>
              <a:rPr lang="de-DE" sz="2000" dirty="0"/>
            </a:br>
            <a:r>
              <a:rPr lang="de-DE" sz="1600" i="1" dirty="0"/>
              <a:t>Dr. Nima Pegemanyfar,</a:t>
            </a:r>
            <a:br>
              <a:rPr lang="de-DE" sz="1600" i="1" dirty="0"/>
            </a:br>
            <a:r>
              <a:rPr lang="de-DE" sz="1600" i="1" dirty="0"/>
              <a:t>Head </a:t>
            </a:r>
            <a:r>
              <a:rPr lang="de-DE" sz="1600" i="1" dirty="0" err="1"/>
              <a:t>of</a:t>
            </a:r>
            <a:r>
              <a:rPr lang="de-DE" sz="1600" i="1" dirty="0"/>
              <a:t> </a:t>
            </a:r>
            <a:r>
              <a:rPr lang="de-DE" sz="1600" i="1" dirty="0" err="1"/>
              <a:t>Sustainable</a:t>
            </a:r>
            <a:r>
              <a:rPr lang="de-DE" sz="1600" i="1" dirty="0"/>
              <a:t> Energy Systems / Hydrogen </a:t>
            </a:r>
            <a:br>
              <a:rPr lang="de-DE" sz="1600" i="1" dirty="0"/>
            </a:br>
            <a:r>
              <a:rPr lang="de-DE" sz="1600" i="1" dirty="0"/>
              <a:t>Sales Region Europe</a:t>
            </a:r>
          </a:p>
        </p:txBody>
      </p:sp>
    </p:spTree>
    <p:extLst>
      <p:ext uri="{BB962C8B-B14F-4D97-AF65-F5344CB8AC3E}">
        <p14:creationId xmlns:p14="http://schemas.microsoft.com/office/powerpoint/2010/main" val="709340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0CF37444-DFF4-410A-B43B-C57ECBF097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0CF37444-DFF4-410A-B43B-C57ECBF09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9F39D1B3-D8A3-4A1B-93FB-0EFA69EDFDF1}"/>
              </a:ext>
            </a:extLst>
          </p:cNvPr>
          <p:cNvSpPr txBox="1">
            <a:spLocks/>
          </p:cNvSpPr>
          <p:nvPr/>
        </p:nvSpPr>
        <p:spPr>
          <a:xfrm>
            <a:off x="631824" y="852547"/>
            <a:ext cx="5845175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20" normalizeH="0" baseline="0" noProof="0">
                <a:ln>
                  <a:noFill/>
                </a:ln>
                <a:solidFill>
                  <a:srgbClr val="21C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emens Energy is a</a:t>
            </a:r>
            <a:br>
              <a:rPr kumimoji="0" lang="en-US" sz="2000" b="0" i="0" u="none" strike="noStrike" kern="1200" cap="none" spc="20" normalizeH="0" baseline="0" noProof="0">
                <a:ln>
                  <a:noFill/>
                </a:ln>
                <a:solidFill>
                  <a:srgbClr val="21C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3000" b="1" i="0" u="none" strike="noStrike" kern="1200" cap="none" spc="6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global leader in the </a:t>
            </a:r>
            <a:br>
              <a:rPr kumimoji="0" lang="en-US" sz="3000" b="1" i="0" u="none" strike="noStrike" kern="1200" cap="none" spc="6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</a:br>
            <a:r>
              <a:rPr kumimoji="0" lang="en-US" sz="3000" b="1" i="0" u="none" strike="noStrike" kern="1200" cap="none" spc="6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energy busines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E83EDE9-D6F3-4D08-8F4A-2DD84A03212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793" b="3793"/>
          <a:stretch/>
        </p:blipFill>
        <p:spPr>
          <a:xfrm>
            <a:off x="7686676" y="0"/>
            <a:ext cx="4505326" cy="2286000"/>
          </a:xfrm>
          <a:prstGeom prst="rect">
            <a:avLst/>
          </a:prstGeom>
        </p:spPr>
      </p:pic>
      <p:pic>
        <p:nvPicPr>
          <p:cNvPr id="8" name="Grafik 7" descr="Ein Bild, das draußen, Himmel, Mann, Person enthält.&#10;&#10;Automatisch generierte Beschreibung">
            <a:extLst>
              <a:ext uri="{FF2B5EF4-FFF2-40B4-BE49-F238E27FC236}">
                <a16:creationId xmlns:a16="http://schemas.microsoft.com/office/drawing/2014/main" id="{E6D2BD05-1EC8-4D5C-9019-69FCA37CF28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1931" b="11931"/>
          <a:stretch/>
        </p:blipFill>
        <p:spPr>
          <a:xfrm>
            <a:off x="7686676" y="2286000"/>
            <a:ext cx="4505326" cy="228599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6845BA5-0228-4378-BDC7-030FDD24F9E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4" b="9614"/>
          <a:stretch/>
        </p:blipFill>
        <p:spPr>
          <a:xfrm>
            <a:off x="7686676" y="4572000"/>
            <a:ext cx="4505326" cy="2286000"/>
          </a:xfrm>
          <a:prstGeom prst="rect">
            <a:avLst/>
          </a:prstGeom>
        </p:spPr>
      </p:pic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3123AAA3-A876-40D3-8E6B-E2FAC800D31A}"/>
              </a:ext>
            </a:extLst>
          </p:cNvPr>
          <p:cNvCxnSpPr>
            <a:cxnSpLocks/>
          </p:cNvCxnSpPr>
          <p:nvPr/>
        </p:nvCxnSpPr>
        <p:spPr>
          <a:xfrm>
            <a:off x="627063" y="2330116"/>
            <a:ext cx="3549521" cy="0"/>
          </a:xfrm>
          <a:prstGeom prst="line">
            <a:avLst/>
          </a:prstGeom>
          <a:noFill/>
          <a:ln w="19050" cap="rnd" cmpd="sng" algn="ctr">
            <a:gradFill flip="none" rotWithShape="1">
              <a:gsLst>
                <a:gs pos="0">
                  <a:sysClr val="window" lastClr="FFFFFF"/>
                </a:gs>
                <a:gs pos="100000">
                  <a:sysClr val="window" lastClr="FFFFFF">
                    <a:alpha val="0"/>
                  </a:sysClr>
                </a:gs>
              </a:gsLst>
              <a:lin ang="0" scaled="1"/>
              <a:tileRect/>
            </a:gradFill>
            <a:prstDash val="solid"/>
            <a:miter lim="800000"/>
          </a:ln>
          <a:effectLst/>
        </p:spPr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2A6DDD97-5FD1-4FA7-8B67-F44BF2E61F76}"/>
              </a:ext>
            </a:extLst>
          </p:cNvPr>
          <p:cNvSpPr txBox="1">
            <a:spLocks/>
          </p:cNvSpPr>
          <p:nvPr/>
        </p:nvSpPr>
        <p:spPr>
          <a:xfrm>
            <a:off x="630238" y="4572138"/>
            <a:ext cx="2398712" cy="70788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are present in 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3200" b="1" i="0" u="none" strike="noStrike" kern="1200" cap="none" spc="-5" normalizeH="0" baseline="0" noProof="0">
                <a:ln>
                  <a:noFill/>
                </a:ln>
                <a:solidFill>
                  <a:srgbClr val="21C0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&gt; 90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ntries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5E5CAA5-6A1A-4413-B6A3-3DF0D3104F56}"/>
              </a:ext>
            </a:extLst>
          </p:cNvPr>
          <p:cNvSpPr txBox="1">
            <a:spLocks/>
          </p:cNvSpPr>
          <p:nvPr/>
        </p:nvSpPr>
        <p:spPr>
          <a:xfrm>
            <a:off x="4288950" y="4572138"/>
            <a:ext cx="2299854" cy="9848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invest around</a:t>
            </a: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3200" b="1" i="0" u="none" strike="noStrike" kern="1200" cap="none" spc="-5" normalizeH="0" baseline="0" noProof="0">
                <a:ln>
                  <a:noFill/>
                </a:ln>
                <a:solidFill>
                  <a:srgbClr val="21C0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€1bn</a:t>
            </a: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nually in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earch and development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8325D56-A18E-40F6-BC91-3B8CF4B1C3D8}"/>
              </a:ext>
            </a:extLst>
          </p:cNvPr>
          <p:cNvSpPr txBox="1">
            <a:spLocks/>
          </p:cNvSpPr>
          <p:nvPr/>
        </p:nvSpPr>
        <p:spPr>
          <a:xfrm>
            <a:off x="630238" y="2856808"/>
            <a:ext cx="2398712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rgbClr val="6ADD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5" normalizeH="0" baseline="0" noProof="0">
                <a:ln>
                  <a:noFill/>
                </a:ln>
                <a:solidFill>
                  <a:srgbClr val="21C0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~ 1/6</a:t>
            </a:r>
            <a:b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global electricity generation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based on our technology.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5221CD3-A295-4669-848F-A41FF47ABFC2}"/>
              </a:ext>
            </a:extLst>
          </p:cNvPr>
          <p:cNvSpPr txBox="1">
            <a:spLocks/>
          </p:cNvSpPr>
          <p:nvPr/>
        </p:nvSpPr>
        <p:spPr>
          <a:xfrm>
            <a:off x="4288950" y="2856808"/>
            <a:ext cx="2299854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de-DE"/>
            </a:defPPr>
            <a:lvl1pPr>
              <a:defRPr sz="140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5" normalizeH="0" baseline="0" noProof="0">
                <a:ln>
                  <a:noFill/>
                </a:ln>
                <a:solidFill>
                  <a:srgbClr val="21C0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2,000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s work as a team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nergize society.</a:t>
            </a:r>
            <a:r>
              <a:rPr kumimoji="0" lang="en-US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F3A42D5-7E95-48D2-942A-A0D8251F281C}"/>
              </a:ext>
            </a:extLst>
          </p:cNvPr>
          <p:cNvSpPr txBox="1"/>
          <p:nvPr/>
        </p:nvSpPr>
        <p:spPr>
          <a:xfrm>
            <a:off x="630238" y="6327677"/>
            <a:ext cx="3184244" cy="153888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mber of employees as of September 30, 2022</a:t>
            </a:r>
          </a:p>
        </p:txBody>
      </p:sp>
    </p:spTree>
    <p:extLst>
      <p:ext uri="{BB962C8B-B14F-4D97-AF65-F5344CB8AC3E}">
        <p14:creationId xmlns:p14="http://schemas.microsoft.com/office/powerpoint/2010/main" val="514754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9262D8-F8B7-4584-93D2-75F8C11BF4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9262D8-F8B7-4584-93D2-75F8C11BF4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2907F43-84B9-4989-8DB7-12796DF463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AutoShape 21">
            <a:extLst>
              <a:ext uri="{FF2B5EF4-FFF2-40B4-BE49-F238E27FC236}">
                <a16:creationId xmlns:a16="http://schemas.microsoft.com/office/drawing/2014/main" id="{D86034F2-7146-4529-B654-2D558DEE40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6074" y="1994736"/>
            <a:ext cx="1079438" cy="771078"/>
          </a:xfrm>
          <a:prstGeom prst="homePlate">
            <a:avLst>
              <a:gd name="adj" fmla="val 20711"/>
            </a:avLst>
          </a:prstGeom>
          <a:solidFill>
            <a:schemeClr val="tx2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71927" tIns="71927" rIns="71927" bIns="71927" anchor="ctr"/>
          <a:lstStyle/>
          <a:p>
            <a:pPr algn="ctr" eaLnBrk="0" hangingPunct="0">
              <a:buSzPct val="115000"/>
            </a:pPr>
            <a:r>
              <a:rPr lang="en-US" sz="1199" b="1" dirty="0">
                <a:solidFill>
                  <a:schemeClr val="bg1"/>
                </a:solidFill>
              </a:rPr>
              <a:t>Planning &amp; Consulting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3119E09-E8E3-4B87-8D09-00FD8DDBF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iemens Energy can offer products, solutions and services across the whole hydrogen / P2X value chain</a:t>
            </a:r>
            <a:endParaRPr lang="de-DE" b="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25DED2F-A470-488D-A29E-8EFE150928E9}"/>
              </a:ext>
            </a:extLst>
          </p:cNvPr>
          <p:cNvSpPr txBox="1"/>
          <p:nvPr/>
        </p:nvSpPr>
        <p:spPr>
          <a:xfrm>
            <a:off x="5672386" y="3213088"/>
            <a:ext cx="1453643" cy="2511052"/>
          </a:xfrm>
          <a:prstGeom prst="rect">
            <a:avLst/>
          </a:prstGeom>
          <a:solidFill>
            <a:schemeClr val="accent2"/>
          </a:solidFill>
          <a:ln w="38100" cap="flat" cmpd="sng" algn="ctr">
            <a:solidFill>
              <a:srgbClr val="21C0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953" tIns="53951" rIns="89953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Clr>
                <a:srgbClr val="879BAA"/>
              </a:buClr>
              <a:defRPr sz="1400" b="1">
                <a:solidFill>
                  <a:schemeClr val="bg1"/>
                </a:solidFill>
              </a:defRPr>
            </a:lvl1pPr>
          </a:lstStyle>
          <a:p>
            <a:pPr algn="l">
              <a:lnSpc>
                <a:spcPct val="110000"/>
              </a:lnSpc>
              <a:spcAft>
                <a:spcPts val="1199"/>
              </a:spcAft>
            </a:pPr>
            <a:r>
              <a:rPr lang="en-US" sz="1399" dirty="0">
                <a:solidFill>
                  <a:srgbClr val="FFFFFF"/>
                </a:solidFill>
              </a:rPr>
              <a:t>Electrolysis</a:t>
            </a:r>
          </a:p>
          <a:p>
            <a:pPr algn="l">
              <a:lnSpc>
                <a:spcPct val="110000"/>
              </a:lnSpc>
            </a:pPr>
            <a:r>
              <a:rPr lang="en-US" sz="1199" dirty="0">
                <a:solidFill>
                  <a:srgbClr val="FFFFFF"/>
                </a:solidFill>
              </a:rPr>
              <a:t>Electrolysis Plants</a:t>
            </a:r>
          </a:p>
          <a:p>
            <a:pPr marL="87313" indent="-87313" algn="l">
              <a:buFont typeface="Arial" panose="020B0604020202020204" pitchFamily="34" charset="0"/>
              <a:buChar char="•"/>
            </a:pPr>
            <a:r>
              <a:rPr lang="en-US" sz="1100" b="0" dirty="0" err="1">
                <a:solidFill>
                  <a:srgbClr val="FFFFFF"/>
                </a:solidFill>
              </a:rPr>
              <a:t>Silyzer</a:t>
            </a:r>
            <a:r>
              <a:rPr lang="en-US" sz="1100" b="0" dirty="0">
                <a:solidFill>
                  <a:srgbClr val="FFFFFF"/>
                </a:solidFill>
              </a:rPr>
              <a:t> 300 (PEM)</a:t>
            </a:r>
          </a:p>
          <a:p>
            <a:pPr marL="87313" indent="-87313" algn="l"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rgbClr val="FFFFFF"/>
                </a:solidFill>
              </a:rPr>
              <a:t>Electrolysis systems (incl. </a:t>
            </a:r>
            <a:r>
              <a:rPr lang="en-US" sz="1100" b="0" dirty="0" err="1">
                <a:solidFill>
                  <a:srgbClr val="FFFFFF"/>
                </a:solidFill>
              </a:rPr>
              <a:t>BoP</a:t>
            </a:r>
            <a:r>
              <a:rPr lang="en-US" sz="1100" b="0" dirty="0">
                <a:solidFill>
                  <a:srgbClr val="FFFFFF"/>
                </a:solidFill>
              </a:rPr>
              <a:t>)</a:t>
            </a:r>
          </a:p>
          <a:p>
            <a:pPr algn="l"/>
            <a:endParaRPr kumimoji="0" lang="en-US" sz="1199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l"/>
            <a:r>
              <a:rPr kumimoji="0" lang="en-US" sz="1199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2X and hybrid solutions</a:t>
            </a: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4681C5C-F54C-46F4-9298-8398B5070630}"/>
              </a:ext>
            </a:extLst>
          </p:cNvPr>
          <p:cNvSpPr/>
          <p:nvPr/>
        </p:nvSpPr>
        <p:spPr bwMode="auto">
          <a:xfrm>
            <a:off x="7202459" y="3213087"/>
            <a:ext cx="1453643" cy="1504828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953" tIns="53951" rIns="89953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buClr>
                <a:srgbClr val="879BAA"/>
              </a:buClr>
            </a:pPr>
            <a:r>
              <a:rPr lang="en-US" sz="1399" b="1">
                <a:solidFill>
                  <a:srgbClr val="FFFFFF"/>
                </a:solidFill>
              </a:rPr>
              <a:t>Compression, Heat &amp; Storage</a:t>
            </a:r>
          </a:p>
          <a:p>
            <a:pPr marL="171450" indent="-171450">
              <a:spcBef>
                <a:spcPct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99">
                <a:solidFill>
                  <a:schemeClr val="bg1"/>
                </a:solidFill>
              </a:rPr>
              <a:t>H</a:t>
            </a:r>
            <a:r>
              <a:rPr lang="en-US" sz="1099" baseline="-25000">
                <a:solidFill>
                  <a:schemeClr val="bg1"/>
                </a:solidFill>
              </a:rPr>
              <a:t>2</a:t>
            </a:r>
            <a:r>
              <a:rPr lang="en-US" sz="1099">
                <a:solidFill>
                  <a:schemeClr val="bg1"/>
                </a:solidFill>
              </a:rPr>
              <a:t> Compressors (reciproc./radial)</a:t>
            </a:r>
          </a:p>
          <a:p>
            <a:pPr marL="171450" indent="-171450">
              <a:spcBef>
                <a:spcPct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99">
                <a:solidFill>
                  <a:schemeClr val="bg1"/>
                </a:solidFill>
              </a:rPr>
              <a:t>H2 liquefaction (components)</a:t>
            </a:r>
          </a:p>
          <a:p>
            <a:pPr marL="171450" indent="-171450">
              <a:spcBef>
                <a:spcPct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99">
                <a:solidFill>
                  <a:schemeClr val="bg1"/>
                </a:solidFill>
              </a:rPr>
              <a:t>Heat Pumps</a:t>
            </a:r>
          </a:p>
          <a:p>
            <a:pPr marL="171450" indent="-171450">
              <a:spcBef>
                <a:spcPct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99">
                <a:solidFill>
                  <a:schemeClr val="bg1"/>
                </a:solidFill>
              </a:rPr>
              <a:t>Battery Storage</a:t>
            </a:r>
          </a:p>
          <a:p>
            <a:pPr marL="171450" indent="-171450">
              <a:spcBef>
                <a:spcPct val="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099">
              <a:solidFill>
                <a:schemeClr val="bg1"/>
              </a:solidFill>
            </a:endParaRPr>
          </a:p>
        </p:txBody>
      </p:sp>
      <p:sp>
        <p:nvSpPr>
          <p:cNvPr id="8" name="AutoShape 12">
            <a:extLst>
              <a:ext uri="{FF2B5EF4-FFF2-40B4-BE49-F238E27FC236}">
                <a16:creationId xmlns:a16="http://schemas.microsoft.com/office/drawing/2014/main" id="{0C42B38D-D1FE-4930-B36E-00200EFBE4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19157" y="1994736"/>
            <a:ext cx="1079438" cy="771078"/>
          </a:xfrm>
          <a:prstGeom prst="chevron">
            <a:avLst>
              <a:gd name="adj" fmla="val 20711"/>
            </a:avLst>
          </a:prstGeom>
          <a:solidFill>
            <a:schemeClr val="tx2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71927" rIns="0" bIns="71927" anchor="ctr"/>
          <a:lstStyle/>
          <a:p>
            <a:pPr algn="ctr" eaLnBrk="0" hangingPunct="0">
              <a:lnSpc>
                <a:spcPct val="100000"/>
              </a:lnSpc>
              <a:buSzPct val="115000"/>
              <a:buFont typeface="Wingdings" pitchFamily="2" charset="2"/>
              <a:buNone/>
            </a:pPr>
            <a:r>
              <a:rPr lang="en-US" sz="1199" b="1" dirty="0">
                <a:solidFill>
                  <a:schemeClr val="bg1"/>
                </a:solidFill>
              </a:rPr>
              <a:t>Financing</a:t>
            </a:r>
          </a:p>
        </p:txBody>
      </p:sp>
      <p:sp>
        <p:nvSpPr>
          <p:cNvPr id="9" name="AutoShape 16">
            <a:extLst>
              <a:ext uri="{FF2B5EF4-FFF2-40B4-BE49-F238E27FC236}">
                <a16:creationId xmlns:a16="http://schemas.microsoft.com/office/drawing/2014/main" id="{A4EBE6C9-69AF-4653-8C51-9E85A062F4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12240" y="1977163"/>
            <a:ext cx="9331788" cy="262455"/>
          </a:xfrm>
          <a:custGeom>
            <a:avLst/>
            <a:gdLst>
              <a:gd name="connsiteX0" fmla="*/ 0 w 9100144"/>
              <a:gd name="connsiteY0" fmla="*/ 0 h 247783"/>
              <a:gd name="connsiteX1" fmla="*/ 9048826 w 9100144"/>
              <a:gd name="connsiteY1" fmla="*/ 0 h 247783"/>
              <a:gd name="connsiteX2" fmla="*/ 9100144 w 9100144"/>
              <a:gd name="connsiteY2" fmla="*/ 123892 h 247783"/>
              <a:gd name="connsiteX3" fmla="*/ 9048826 w 9100144"/>
              <a:gd name="connsiteY3" fmla="*/ 247783 h 247783"/>
              <a:gd name="connsiteX4" fmla="*/ 0 w 9100144"/>
              <a:gd name="connsiteY4" fmla="*/ 247783 h 247783"/>
              <a:gd name="connsiteX5" fmla="*/ 51318 w 9100144"/>
              <a:gd name="connsiteY5" fmla="*/ 123892 h 247783"/>
              <a:gd name="connsiteX6" fmla="*/ 0 w 9100144"/>
              <a:gd name="connsiteY6" fmla="*/ 0 h 247783"/>
              <a:gd name="connsiteX0" fmla="*/ 0 w 9100144"/>
              <a:gd name="connsiteY0" fmla="*/ 0 h 247783"/>
              <a:gd name="connsiteX1" fmla="*/ 9048826 w 9100144"/>
              <a:gd name="connsiteY1" fmla="*/ 0 h 247783"/>
              <a:gd name="connsiteX2" fmla="*/ 9100144 w 9100144"/>
              <a:gd name="connsiteY2" fmla="*/ 123892 h 247783"/>
              <a:gd name="connsiteX3" fmla="*/ 9048826 w 9100144"/>
              <a:gd name="connsiteY3" fmla="*/ 247783 h 247783"/>
              <a:gd name="connsiteX4" fmla="*/ 0 w 9100144"/>
              <a:gd name="connsiteY4" fmla="*/ 247783 h 247783"/>
              <a:gd name="connsiteX5" fmla="*/ 0 w 9100144"/>
              <a:gd name="connsiteY5" fmla="*/ 0 h 247783"/>
              <a:gd name="connsiteX0" fmla="*/ 0 w 9100144"/>
              <a:gd name="connsiteY0" fmla="*/ 0 h 247783"/>
              <a:gd name="connsiteX1" fmla="*/ 9048826 w 9100144"/>
              <a:gd name="connsiteY1" fmla="*/ 0 h 247783"/>
              <a:gd name="connsiteX2" fmla="*/ 9100144 w 9100144"/>
              <a:gd name="connsiteY2" fmla="*/ 123892 h 247783"/>
              <a:gd name="connsiteX3" fmla="*/ 9048826 w 9100144"/>
              <a:gd name="connsiteY3" fmla="*/ 247783 h 247783"/>
              <a:gd name="connsiteX4" fmla="*/ 103238 w 9100144"/>
              <a:gd name="connsiteY4" fmla="*/ 247783 h 247783"/>
              <a:gd name="connsiteX5" fmla="*/ 0 w 9100144"/>
              <a:gd name="connsiteY5" fmla="*/ 0 h 247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00144" h="247783">
                <a:moveTo>
                  <a:pt x="0" y="0"/>
                </a:moveTo>
                <a:lnTo>
                  <a:pt x="9048826" y="0"/>
                </a:lnTo>
                <a:lnTo>
                  <a:pt x="9100144" y="123892"/>
                </a:lnTo>
                <a:lnTo>
                  <a:pt x="9048826" y="247783"/>
                </a:lnTo>
                <a:lnTo>
                  <a:pt x="103238" y="247783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71927" tIns="71927" rIns="71927" bIns="71927" anchor="ctr"/>
          <a:lstStyle/>
          <a:p>
            <a:pPr algn="ctr" eaLnBrk="0" hangingPunct="0">
              <a:lnSpc>
                <a:spcPct val="100000"/>
              </a:lnSpc>
              <a:buSzPct val="115000"/>
              <a:buFont typeface="Symbol" pitchFamily="18" charset="2"/>
              <a:buNone/>
            </a:pPr>
            <a:r>
              <a:rPr lang="en-US" sz="1199" b="1" dirty="0">
                <a:solidFill>
                  <a:schemeClr val="bg1"/>
                </a:solidFill>
              </a:rPr>
              <a:t>Components and Equipment</a:t>
            </a:r>
          </a:p>
        </p:txBody>
      </p:sp>
      <p:sp>
        <p:nvSpPr>
          <p:cNvPr id="12" name="AutoShape 8">
            <a:extLst>
              <a:ext uri="{FF2B5EF4-FFF2-40B4-BE49-F238E27FC236}">
                <a16:creationId xmlns:a16="http://schemas.microsoft.com/office/drawing/2014/main" id="{84B25475-9546-4E06-A7F0-354870C478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7129" y="2310877"/>
            <a:ext cx="1547194" cy="454938"/>
          </a:xfrm>
          <a:prstGeom prst="chevron">
            <a:avLst>
              <a:gd name="adj" fmla="val 20711"/>
            </a:avLst>
          </a:prstGeom>
          <a:solidFill>
            <a:schemeClr val="bg2">
              <a:lumMod val="75000"/>
            </a:schemeClr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53951" rIns="45720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199" b="1"/>
              <a:t>Synthesis Processes</a:t>
            </a:r>
            <a:endParaRPr lang="en-US" sz="1199" b="1" dirty="0"/>
          </a:p>
        </p:txBody>
      </p:sp>
      <p:sp>
        <p:nvSpPr>
          <p:cNvPr id="13" name="AutoShape 8">
            <a:extLst>
              <a:ext uri="{FF2B5EF4-FFF2-40B4-BE49-F238E27FC236}">
                <a16:creationId xmlns:a16="http://schemas.microsoft.com/office/drawing/2014/main" id="{9BD088BD-3FAF-45AB-BCF4-5C0EFBE5D3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69377" y="2310877"/>
            <a:ext cx="1547194" cy="454938"/>
          </a:xfrm>
          <a:prstGeom prst="chevron">
            <a:avLst>
              <a:gd name="adj" fmla="val 20711"/>
            </a:avLst>
          </a:prstGeom>
          <a:solidFill>
            <a:schemeClr val="accent2"/>
          </a:solidFill>
          <a:ln w="19050">
            <a:noFill/>
          </a:ln>
        </p:spPr>
        <p:txBody>
          <a:bodyPr wrap="square" lIns="107944" tIns="71963" rIns="107944" bIns="71963" rtlCol="0" anchor="ctr">
            <a:noAutofit/>
          </a:bodyPr>
          <a:lstStyle/>
          <a:p>
            <a:pPr algn="ctr">
              <a:spcBef>
                <a:spcPts val="200"/>
              </a:spcBef>
              <a:buClr>
                <a:schemeClr val="accent1"/>
              </a:buClr>
            </a:pPr>
            <a:r>
              <a:rPr lang="en-US" sz="1199" b="1" dirty="0">
                <a:solidFill>
                  <a:srgbClr val="FFFFFF"/>
                </a:solidFill>
              </a:rPr>
              <a:t>Electrolysis 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2B4903F-5147-4F10-BC4A-BB7167857DBC}"/>
              </a:ext>
            </a:extLst>
          </p:cNvPr>
          <p:cNvSpPr/>
          <p:nvPr/>
        </p:nvSpPr>
        <p:spPr bwMode="auto">
          <a:xfrm>
            <a:off x="2612239" y="3213089"/>
            <a:ext cx="1453643" cy="1170318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953" tIns="53951" rIns="89953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520" lvl="1">
              <a:lnSpc>
                <a:spcPct val="110000"/>
              </a:lnSpc>
              <a:spcBef>
                <a:spcPct val="0"/>
              </a:spcBef>
              <a:spcAft>
                <a:spcPts val="1199"/>
              </a:spcAft>
              <a:buClr>
                <a:srgbClr val="879BAA"/>
              </a:buClr>
              <a:buSzPct val="100000"/>
            </a:pPr>
            <a:r>
              <a:rPr lang="en-US" sz="1300" b="1" dirty="0">
                <a:solidFill>
                  <a:srgbClr val="FFFFFF"/>
                </a:solidFill>
              </a:rPr>
              <a:t>Wind Park</a:t>
            </a:r>
          </a:p>
          <a:p>
            <a:pPr marL="180970" lvl="1" indent="-171450">
              <a:lnSpc>
                <a:spcPct val="110000"/>
              </a:lnSpc>
              <a:spcBef>
                <a:spcPct val="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Onshore wind </a:t>
            </a:r>
          </a:p>
          <a:p>
            <a:pPr marL="180970" lvl="1" indent="-171450">
              <a:lnSpc>
                <a:spcPct val="110000"/>
              </a:lnSpc>
              <a:spcBef>
                <a:spcPct val="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Offshore wind</a:t>
            </a:r>
            <a:endParaRPr lang="en-US" sz="700" dirty="0">
              <a:solidFill>
                <a:schemeClr val="bg1"/>
              </a:solidFill>
            </a:endParaRPr>
          </a:p>
          <a:p>
            <a:pPr marL="9520" lvl="1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SzPct val="100000"/>
            </a:pPr>
            <a:endParaRPr lang="en-US" sz="400" b="1">
              <a:solidFill>
                <a:srgbClr val="FFFFFF"/>
              </a:solidFill>
            </a:endParaRPr>
          </a:p>
          <a:p>
            <a:pPr marL="9520" lvl="1">
              <a:lnSpc>
                <a:spcPct val="110000"/>
              </a:lnSpc>
              <a:spcBef>
                <a:spcPct val="0"/>
              </a:spcBef>
              <a:buClr>
                <a:srgbClr val="879BAA"/>
              </a:buClr>
              <a:buSzPct val="100000"/>
            </a:pPr>
            <a:r>
              <a:rPr lang="en-US" sz="900" b="1">
                <a:solidFill>
                  <a:srgbClr val="FFFFFF"/>
                </a:solidFill>
              </a:rPr>
              <a:t>(Siemens Gamesa)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7E5C84-1ABA-4C3C-B43F-0AB978137665}"/>
              </a:ext>
            </a:extLst>
          </p:cNvPr>
          <p:cNvSpPr/>
          <p:nvPr/>
        </p:nvSpPr>
        <p:spPr bwMode="auto">
          <a:xfrm>
            <a:off x="2617274" y="4432409"/>
            <a:ext cx="1448609" cy="1291731"/>
          </a:xfrm>
          <a:prstGeom prst="rect">
            <a:avLst/>
          </a:prstGeom>
          <a:solidFill>
            <a:schemeClr val="bg2">
              <a:lumMod val="75000"/>
            </a:schemeClr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53951" rIns="45720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rgbClr val="879BAA"/>
              </a:buClr>
            </a:pPr>
            <a:r>
              <a:rPr lang="en-US" sz="1300" b="1" dirty="0"/>
              <a:t>Other RES</a:t>
            </a:r>
            <a:r>
              <a:rPr lang="en-US" sz="1399" b="1" dirty="0"/>
              <a:t> </a:t>
            </a:r>
          </a:p>
          <a:p>
            <a:pPr marL="171450" lvl="1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/>
              <a:t>Solar PV</a:t>
            </a:r>
            <a:endParaRPr lang="en-US" sz="900" b="1" dirty="0"/>
          </a:p>
          <a:p>
            <a:pPr marL="171450" marR="0" lvl="1" indent="-171450" algn="l" defTabSz="914400" rtl="0" eaLnBrk="1" fontAlgn="auto" latinLnBrk="0" hangingPunct="1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99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Hydro Power</a:t>
            </a:r>
            <a:endParaRPr kumimoji="0" lang="en-US" sz="1099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2C1C9C6-2D0A-4127-9AD2-CD26D4378ED0}"/>
              </a:ext>
            </a:extLst>
          </p:cNvPr>
          <p:cNvSpPr/>
          <p:nvPr/>
        </p:nvSpPr>
        <p:spPr bwMode="auto">
          <a:xfrm>
            <a:off x="8732531" y="3211983"/>
            <a:ext cx="1362445" cy="2512158"/>
          </a:xfrm>
          <a:prstGeom prst="rect">
            <a:avLst/>
          </a:prstGeom>
          <a:solidFill>
            <a:schemeClr val="bg2">
              <a:lumMod val="75000"/>
            </a:schemeClr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53951" rIns="45720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rgbClr val="879BAA"/>
              </a:buClr>
            </a:pPr>
            <a:r>
              <a:rPr lang="en-US" sz="1399" b="1"/>
              <a:t>Synthesis</a:t>
            </a:r>
            <a:endParaRPr lang="en-US" sz="1099"/>
          </a:p>
          <a:p>
            <a:pPr marL="119063" lvl="1" indent="-119063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/>
              <a:t>Partnering</a:t>
            </a:r>
          </a:p>
          <a:p>
            <a:pPr marL="284163" lvl="3" indent="-1111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099"/>
              <a:t>e-ammonia</a:t>
            </a:r>
          </a:p>
          <a:p>
            <a:pPr marL="284163" lvl="3" indent="-1111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099"/>
              <a:t>e-methanol</a:t>
            </a:r>
          </a:p>
          <a:p>
            <a:pPr marL="284163" lvl="3" indent="-111125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099"/>
              <a:t>other e-fuels (e-Gasoline, Sustainable Aviation Fuel, etc.)</a:t>
            </a:r>
          </a:p>
          <a:p>
            <a:pPr marL="119063" lvl="1" indent="-119063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/>
              <a:t>External supply for N</a:t>
            </a:r>
            <a:r>
              <a:rPr lang="en-US" sz="1099" baseline="-25000"/>
              <a:t>2</a:t>
            </a:r>
            <a:r>
              <a:rPr lang="en-US" sz="1099"/>
              <a:t>, CO</a:t>
            </a:r>
            <a:r>
              <a:rPr lang="en-US" sz="1099" baseline="-25000"/>
              <a:t>2</a:t>
            </a:r>
            <a:endParaRPr lang="en-US" sz="1099" dirty="0"/>
          </a:p>
        </p:txBody>
      </p:sp>
      <p:sp>
        <p:nvSpPr>
          <p:cNvPr id="31" name="AutoShape 8">
            <a:extLst>
              <a:ext uri="{FF2B5EF4-FFF2-40B4-BE49-F238E27FC236}">
                <a16:creationId xmlns:a16="http://schemas.microsoft.com/office/drawing/2014/main" id="{957AA63F-C3C0-45C6-A4D4-1E1775FB428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98253" y="2310877"/>
            <a:ext cx="1547194" cy="454938"/>
          </a:xfrm>
          <a:prstGeom prst="chevron">
            <a:avLst>
              <a:gd name="adj" fmla="val 20711"/>
            </a:avLst>
          </a:prstGeom>
          <a:solidFill>
            <a:schemeClr val="accent2"/>
          </a:solidFill>
          <a:ln w="19050">
            <a:noFill/>
          </a:ln>
        </p:spPr>
        <p:txBody>
          <a:bodyPr wrap="square" lIns="107944" tIns="71963" rIns="36000" bIns="71963" rtlCol="0" anchor="ctr">
            <a:noAutofit/>
          </a:bodyPr>
          <a:lstStyle/>
          <a:p>
            <a:pPr algn="ctr">
              <a:spcBef>
                <a:spcPts val="200"/>
              </a:spcBef>
              <a:buClr>
                <a:schemeClr val="accent1"/>
              </a:buClr>
            </a:pPr>
            <a:r>
              <a:rPr lang="en-US" sz="1199" b="1">
                <a:solidFill>
                  <a:srgbClr val="FFFFFF"/>
                </a:solidFill>
              </a:rPr>
              <a:t>H</a:t>
            </a:r>
            <a:r>
              <a:rPr lang="en-US" sz="1199" b="1" baseline="-25000">
                <a:solidFill>
                  <a:srgbClr val="FFFFFF"/>
                </a:solidFill>
              </a:rPr>
              <a:t>2 </a:t>
            </a:r>
            <a:r>
              <a:rPr lang="en-US" sz="1199" b="1">
                <a:solidFill>
                  <a:srgbClr val="FFFFFF"/>
                </a:solidFill>
              </a:rPr>
              <a:t>Compression </a:t>
            </a:r>
          </a:p>
          <a:p>
            <a:pPr algn="ctr">
              <a:spcBef>
                <a:spcPts val="200"/>
              </a:spcBef>
              <a:buClr>
                <a:schemeClr val="accent1"/>
              </a:buClr>
            </a:pPr>
            <a:r>
              <a:rPr lang="en-US" sz="1199" b="1">
                <a:solidFill>
                  <a:srgbClr val="FFFFFF"/>
                </a:solidFill>
              </a:rPr>
              <a:t>&amp; Auxiliaries</a:t>
            </a:r>
            <a:endParaRPr lang="en-US" sz="1199" b="1" dirty="0">
              <a:solidFill>
                <a:srgbClr val="FFFFFF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A936221-8820-4B57-8537-B40AAF23A9E0}"/>
              </a:ext>
            </a:extLst>
          </p:cNvPr>
          <p:cNvSpPr/>
          <p:nvPr/>
        </p:nvSpPr>
        <p:spPr bwMode="auto">
          <a:xfrm>
            <a:off x="10171405" y="3211983"/>
            <a:ext cx="1688362" cy="2512158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953" tIns="53951" rIns="89953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buClr>
                <a:srgbClr val="879BAA"/>
              </a:buClr>
            </a:pPr>
            <a:r>
              <a:rPr lang="en-US" sz="1250" b="1" dirty="0">
                <a:solidFill>
                  <a:srgbClr val="FFFFFF"/>
                </a:solidFill>
              </a:rPr>
              <a:t>H</a:t>
            </a:r>
            <a:r>
              <a:rPr lang="en-US" sz="1250" b="1" baseline="-25000" dirty="0">
                <a:solidFill>
                  <a:srgbClr val="FFFFFF"/>
                </a:solidFill>
              </a:rPr>
              <a:t>2</a:t>
            </a:r>
            <a:r>
              <a:rPr lang="en-US" sz="1250" b="1" dirty="0">
                <a:solidFill>
                  <a:srgbClr val="FFFFFF"/>
                </a:solidFill>
              </a:rPr>
              <a:t> Re-electrification</a:t>
            </a:r>
          </a:p>
          <a:p>
            <a:pPr marL="119063" lvl="1" indent="-119063">
              <a:spcBef>
                <a:spcPts val="3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Heavy-duty, industrial and aeroderivative H</a:t>
            </a:r>
            <a:r>
              <a:rPr lang="en-US" sz="1099" baseline="-25000" dirty="0">
                <a:solidFill>
                  <a:schemeClr val="bg1"/>
                </a:solidFill>
              </a:rPr>
              <a:t>2</a:t>
            </a:r>
            <a:r>
              <a:rPr lang="en-US" sz="1099" dirty="0">
                <a:solidFill>
                  <a:schemeClr val="bg1"/>
                </a:solidFill>
              </a:rPr>
              <a:t> gas turbines</a:t>
            </a:r>
          </a:p>
          <a:p>
            <a:pPr marL="119063" lvl="1" indent="-119063">
              <a:spcBef>
                <a:spcPts val="3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H</a:t>
            </a:r>
            <a:r>
              <a:rPr lang="en-US" sz="1099" baseline="-25000" dirty="0">
                <a:solidFill>
                  <a:schemeClr val="bg1"/>
                </a:solidFill>
              </a:rPr>
              <a:t>2</a:t>
            </a:r>
            <a:r>
              <a:rPr lang="en-US" sz="1099" dirty="0">
                <a:solidFill>
                  <a:schemeClr val="bg1"/>
                </a:solidFill>
              </a:rPr>
              <a:t> Combined Cycle Power Plants</a:t>
            </a:r>
          </a:p>
          <a:p>
            <a:pPr marL="119063" lvl="1" indent="-119063">
              <a:spcBef>
                <a:spcPts val="3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H</a:t>
            </a:r>
            <a:r>
              <a:rPr lang="en-US" sz="1099" baseline="-25000" dirty="0">
                <a:solidFill>
                  <a:schemeClr val="bg1"/>
                </a:solidFill>
              </a:rPr>
              <a:t>2</a:t>
            </a:r>
            <a:r>
              <a:rPr lang="en-US" sz="1099" dirty="0">
                <a:solidFill>
                  <a:schemeClr val="bg1"/>
                </a:solidFill>
              </a:rPr>
              <a:t> Combined Heat &amp; Power (CHP)</a:t>
            </a:r>
          </a:p>
          <a:p>
            <a:pPr marL="119063" lvl="1" indent="-119063">
              <a:spcBef>
                <a:spcPts val="3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Fuel cells (ext.)</a:t>
            </a:r>
            <a:endParaRPr lang="en-US" sz="1099" dirty="0">
              <a:solidFill>
                <a:srgbClr val="FF0000"/>
              </a:solidFill>
            </a:endParaRPr>
          </a:p>
        </p:txBody>
      </p:sp>
      <p:sp>
        <p:nvSpPr>
          <p:cNvPr id="37" name="AutoShape 8">
            <a:extLst>
              <a:ext uri="{FF2B5EF4-FFF2-40B4-BE49-F238E27FC236}">
                <a16:creationId xmlns:a16="http://schemas.microsoft.com/office/drawing/2014/main" id="{60466286-9F2D-4848-A316-8A851302EFC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0502" y="2310877"/>
            <a:ext cx="1547194" cy="454938"/>
          </a:xfrm>
          <a:prstGeom prst="chevron">
            <a:avLst>
              <a:gd name="adj" fmla="val 20711"/>
            </a:avLst>
          </a:prstGeom>
          <a:solidFill>
            <a:schemeClr val="accent2"/>
          </a:solidFill>
          <a:ln w="19050">
            <a:noFill/>
          </a:ln>
        </p:spPr>
        <p:txBody>
          <a:bodyPr wrap="square" lIns="107944" tIns="71963" rIns="107944" bIns="71963" rtlCol="0" anchor="ctr">
            <a:noAutofit/>
          </a:bodyPr>
          <a:lstStyle/>
          <a:p>
            <a:pPr algn="ctr">
              <a:spcBef>
                <a:spcPts val="200"/>
              </a:spcBef>
              <a:buClr>
                <a:schemeClr val="accent1"/>
              </a:buClr>
            </a:pPr>
            <a:r>
              <a:rPr lang="en-US" sz="1199" b="1" dirty="0">
                <a:solidFill>
                  <a:srgbClr val="FFFFFF"/>
                </a:solidFill>
              </a:rPr>
              <a:t>Grid Connection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0500D177-852A-44CA-B27E-767A98C55ABD}"/>
              </a:ext>
            </a:extLst>
          </p:cNvPr>
          <p:cNvSpPr txBox="1"/>
          <p:nvPr/>
        </p:nvSpPr>
        <p:spPr>
          <a:xfrm>
            <a:off x="4142312" y="3213088"/>
            <a:ext cx="1453643" cy="2511052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953" tIns="53951" rIns="89953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Clr>
                <a:srgbClr val="879BAA"/>
              </a:buClr>
              <a:defRPr sz="1200" b="1">
                <a:solidFill>
                  <a:schemeClr val="bg1"/>
                </a:solidFill>
              </a:defRPr>
            </a:lvl1pPr>
            <a:lvl2pPr lvl="1"/>
          </a:lstStyle>
          <a:p>
            <a:pPr marL="9520" lvl="1">
              <a:lnSpc>
                <a:spcPct val="110000"/>
              </a:lnSpc>
              <a:spcBef>
                <a:spcPct val="0"/>
              </a:spcBef>
              <a:spcAft>
                <a:spcPts val="1199"/>
              </a:spcAft>
              <a:buClr>
                <a:srgbClr val="879BAA"/>
              </a:buClr>
              <a:buSzPct val="100000"/>
            </a:pPr>
            <a:r>
              <a:rPr lang="en-US" sz="1300" b="1">
                <a:solidFill>
                  <a:srgbClr val="FFFFFF"/>
                </a:solidFill>
              </a:rPr>
              <a:t>Power Grid</a:t>
            </a:r>
            <a:endParaRPr lang="en-US" sz="1300" b="1" dirty="0">
              <a:solidFill>
                <a:srgbClr val="FFFFFF"/>
              </a:solidFill>
            </a:endParaRPr>
          </a:p>
          <a:p>
            <a:pPr marL="171450" lvl="1" indent="-1714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Transmission</a:t>
            </a:r>
          </a:p>
          <a:p>
            <a:pPr marL="171450" lvl="1" indent="-1714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Distribution</a:t>
            </a:r>
          </a:p>
          <a:p>
            <a:pPr marL="171450" lvl="1" indent="-1714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Substations</a:t>
            </a:r>
          </a:p>
          <a:p>
            <a:pPr marL="171450" lvl="1" indent="-1714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bg1"/>
                </a:solidFill>
              </a:rPr>
              <a:t>Transformers</a:t>
            </a:r>
          </a:p>
          <a:p>
            <a:pPr marL="171450" lvl="1" indent="-1714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>
                <a:solidFill>
                  <a:schemeClr val="bg1"/>
                </a:solidFill>
              </a:rPr>
              <a:t>Grid management</a:t>
            </a:r>
          </a:p>
          <a:p>
            <a:pPr marL="171450" lvl="1" indent="-1714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>
                <a:solidFill>
                  <a:schemeClr val="bg1"/>
                </a:solidFill>
              </a:rPr>
              <a:t>Battery Storage</a:t>
            </a:r>
          </a:p>
          <a:p>
            <a:pPr marL="171450" lvl="1" indent="-1714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>
                <a:solidFill>
                  <a:schemeClr val="bg1"/>
                </a:solidFill>
              </a:rPr>
              <a:t>Island grids</a:t>
            </a:r>
            <a:endParaRPr lang="en-US" sz="1099" dirty="0">
              <a:solidFill>
                <a:schemeClr val="bg1"/>
              </a:solidFill>
            </a:endParaRPr>
          </a:p>
        </p:txBody>
      </p:sp>
      <p:sp>
        <p:nvSpPr>
          <p:cNvPr id="39" name="TextBox 3">
            <a:extLst>
              <a:ext uri="{FF2B5EF4-FFF2-40B4-BE49-F238E27FC236}">
                <a16:creationId xmlns:a16="http://schemas.microsoft.com/office/drawing/2014/main" id="{21B0A37F-9CDC-4A37-BA64-281DF696BDA3}"/>
              </a:ext>
            </a:extLst>
          </p:cNvPr>
          <p:cNvSpPr txBox="1"/>
          <p:nvPr/>
        </p:nvSpPr>
        <p:spPr>
          <a:xfrm>
            <a:off x="627064" y="1414801"/>
            <a:ext cx="110829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72000" rtlCol="0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>
                <a:solidFill>
                  <a:srgbClr val="00646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0" lvl="1">
              <a:spcBef>
                <a:spcPct val="0"/>
              </a:spcBef>
              <a:buClr>
                <a:srgbClr val="FFFFFF"/>
              </a:buClr>
              <a:buSzPct val="100000"/>
              <a:tabLst>
                <a:tab pos="3859213" algn="l"/>
              </a:tabLst>
              <a:defRPr b="1">
                <a:solidFill>
                  <a:schemeClr val="accent2"/>
                </a:solidFill>
              </a:defRPr>
            </a:lvl2pPr>
          </a:lstStyle>
          <a:p>
            <a:pPr lvl="1">
              <a:defRPr/>
            </a:pPr>
            <a:r>
              <a:rPr lang="en-US" sz="1600" dirty="0"/>
              <a:t>Siemens Energy </a:t>
            </a:r>
            <a:r>
              <a:rPr lang="en-US" sz="1600"/>
              <a:t>covers most value chain parts to deliver Hydrogen/Power-to-X </a:t>
            </a:r>
            <a:r>
              <a:rPr lang="en-US" sz="1600" dirty="0"/>
              <a:t>projects </a:t>
            </a:r>
            <a:r>
              <a:rPr lang="en-US" sz="1600"/>
              <a:t>on a turnkey </a:t>
            </a:r>
            <a:r>
              <a:rPr lang="en-US" sz="1600" dirty="0"/>
              <a:t>basis</a:t>
            </a:r>
          </a:p>
        </p:txBody>
      </p:sp>
      <p:sp>
        <p:nvSpPr>
          <p:cNvPr id="44" name="L-Form 43">
            <a:extLst>
              <a:ext uri="{FF2B5EF4-FFF2-40B4-BE49-F238E27FC236}">
                <a16:creationId xmlns:a16="http://schemas.microsoft.com/office/drawing/2014/main" id="{1DA4BFAF-9FBA-4677-A1CB-D0C6DD8A86AD}"/>
              </a:ext>
            </a:extLst>
          </p:cNvPr>
          <p:cNvSpPr/>
          <p:nvPr/>
        </p:nvSpPr>
        <p:spPr bwMode="gray">
          <a:xfrm>
            <a:off x="624069" y="3213088"/>
            <a:ext cx="11235693" cy="2954350"/>
          </a:xfrm>
          <a:prstGeom prst="corner">
            <a:avLst>
              <a:gd name="adj1" fmla="val 12552"/>
              <a:gd name="adj2" fmla="val 64253"/>
            </a:avLst>
          </a:prstGeom>
          <a:solidFill>
            <a:schemeClr val="accent1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03" tIns="53951" rIns="107903" bIns="53951" numCol="1" spcCol="71964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buClr>
                <a:srgbClr val="879BAA"/>
              </a:buClr>
            </a:pPr>
            <a:r>
              <a:rPr lang="en-US" sz="1399" b="1" dirty="0">
                <a:solidFill>
                  <a:schemeClr val="accent2"/>
                </a:solidFill>
              </a:rPr>
              <a:t>Turnkey / </a:t>
            </a:r>
            <a:r>
              <a:rPr lang="en-US" sz="1399" b="1">
                <a:solidFill>
                  <a:schemeClr val="accent2"/>
                </a:solidFill>
              </a:rPr>
              <a:t>Solution Offering</a:t>
            </a:r>
            <a:endParaRPr lang="en-US" sz="1399" b="1" dirty="0">
              <a:solidFill>
                <a:schemeClr val="accent2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14B24A2-D2D6-48C4-8091-DEE726F1CBAD}"/>
              </a:ext>
            </a:extLst>
          </p:cNvPr>
          <p:cNvSpPr/>
          <p:nvPr/>
        </p:nvSpPr>
        <p:spPr bwMode="auto">
          <a:xfrm>
            <a:off x="626074" y="3216171"/>
            <a:ext cx="1916555" cy="2539353"/>
          </a:xfrm>
          <a:prstGeom prst="rect">
            <a:avLst/>
          </a:prstGeom>
          <a:solidFill>
            <a:schemeClr val="accent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89953" tIns="53945" rIns="0" bIns="53945" numCol="1" spcCol="71964" rtlCol="0" anchor="t">
            <a:sp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1300" b="1" dirty="0">
                <a:solidFill>
                  <a:schemeClr val="accent2"/>
                </a:solidFill>
              </a:rPr>
              <a:t>Solution provider for complex and hybrid projects (i.e. H</a:t>
            </a:r>
            <a:r>
              <a:rPr lang="en-US" sz="1300" b="1" baseline="-25000" dirty="0">
                <a:solidFill>
                  <a:schemeClr val="accent2"/>
                </a:solidFill>
              </a:rPr>
              <a:t>2</a:t>
            </a:r>
            <a:r>
              <a:rPr lang="en-US" sz="1300" b="1" dirty="0">
                <a:solidFill>
                  <a:schemeClr val="accent2"/>
                </a:solidFill>
              </a:rPr>
              <a:t> production, </a:t>
            </a:r>
            <a:r>
              <a:rPr lang="en-US" sz="1300" b="1" dirty="0" err="1">
                <a:solidFill>
                  <a:schemeClr val="accent2"/>
                </a:solidFill>
              </a:rPr>
              <a:t>PtX</a:t>
            </a:r>
            <a:r>
              <a:rPr lang="en-US" sz="1300" b="1" dirty="0">
                <a:solidFill>
                  <a:schemeClr val="accent2"/>
                </a:solidFill>
              </a:rPr>
              <a:t> and re-electrification) 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099" dirty="0">
              <a:solidFill>
                <a:schemeClr val="tx2"/>
              </a:solidFill>
            </a:endParaRP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099" dirty="0">
                <a:solidFill>
                  <a:schemeClr val="tx2"/>
                </a:solidFill>
              </a:rPr>
              <a:t>Solution optimization with Inte</a:t>
            </a:r>
            <a:r>
              <a:rPr lang="en-US" sz="1099" dirty="0"/>
              <a:t>gration of own and external partners portfolio</a:t>
            </a:r>
          </a:p>
          <a:p>
            <a:pPr marL="171450" lvl="1" indent="-171450"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/>
              <a:t>Digital Solutions </a:t>
            </a:r>
          </a:p>
          <a:p>
            <a:pPr marL="171450" lvl="1" indent="-171450"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/>
              <a:t>Operation &amp; Maintenance contracts</a:t>
            </a:r>
          </a:p>
          <a:p>
            <a:pPr marL="171450" lvl="1" indent="-171450"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 dirty="0"/>
              <a:t>Green Energy Certification</a:t>
            </a:r>
          </a:p>
        </p:txBody>
      </p:sp>
      <p:sp>
        <p:nvSpPr>
          <p:cNvPr id="49" name="AutoShape 8">
            <a:extLst>
              <a:ext uri="{FF2B5EF4-FFF2-40B4-BE49-F238E27FC236}">
                <a16:creationId xmlns:a16="http://schemas.microsoft.com/office/drawing/2014/main" id="{F2B774DA-9BC1-468B-94E7-5FC8A70235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12239" y="2310877"/>
            <a:ext cx="1546581" cy="454938"/>
          </a:xfrm>
          <a:custGeom>
            <a:avLst/>
            <a:gdLst>
              <a:gd name="connsiteX0" fmla="*/ 0 w 1547387"/>
              <a:gd name="connsiteY0" fmla="*/ 0 h 455175"/>
              <a:gd name="connsiteX1" fmla="*/ 1453116 w 1547387"/>
              <a:gd name="connsiteY1" fmla="*/ 0 h 455175"/>
              <a:gd name="connsiteX2" fmla="*/ 1547387 w 1547387"/>
              <a:gd name="connsiteY2" fmla="*/ 227588 h 455175"/>
              <a:gd name="connsiteX3" fmla="*/ 1453116 w 1547387"/>
              <a:gd name="connsiteY3" fmla="*/ 455175 h 455175"/>
              <a:gd name="connsiteX4" fmla="*/ 0 w 1547387"/>
              <a:gd name="connsiteY4" fmla="*/ 455175 h 455175"/>
              <a:gd name="connsiteX5" fmla="*/ 94271 w 1547387"/>
              <a:gd name="connsiteY5" fmla="*/ 227588 h 455175"/>
              <a:gd name="connsiteX6" fmla="*/ 0 w 1547387"/>
              <a:gd name="connsiteY6" fmla="*/ 0 h 455175"/>
              <a:gd name="connsiteX0" fmla="*/ 0 w 1547387"/>
              <a:gd name="connsiteY0" fmla="*/ 0 h 455175"/>
              <a:gd name="connsiteX1" fmla="*/ 1453116 w 1547387"/>
              <a:gd name="connsiteY1" fmla="*/ 0 h 455175"/>
              <a:gd name="connsiteX2" fmla="*/ 1547387 w 1547387"/>
              <a:gd name="connsiteY2" fmla="*/ 227588 h 455175"/>
              <a:gd name="connsiteX3" fmla="*/ 1453116 w 1547387"/>
              <a:gd name="connsiteY3" fmla="*/ 455175 h 455175"/>
              <a:gd name="connsiteX4" fmla="*/ 0 w 1547387"/>
              <a:gd name="connsiteY4" fmla="*/ 455175 h 455175"/>
              <a:gd name="connsiteX5" fmla="*/ 0 w 1547387"/>
              <a:gd name="connsiteY5" fmla="*/ 0 h 455175"/>
              <a:gd name="connsiteX0" fmla="*/ 0 w 1547387"/>
              <a:gd name="connsiteY0" fmla="*/ 0 h 455175"/>
              <a:gd name="connsiteX1" fmla="*/ 1453116 w 1547387"/>
              <a:gd name="connsiteY1" fmla="*/ 0 h 455175"/>
              <a:gd name="connsiteX2" fmla="*/ 1547387 w 1547387"/>
              <a:gd name="connsiteY2" fmla="*/ 227588 h 455175"/>
              <a:gd name="connsiteX3" fmla="*/ 1453116 w 1547387"/>
              <a:gd name="connsiteY3" fmla="*/ 455175 h 455175"/>
              <a:gd name="connsiteX4" fmla="*/ 0 w 1547387"/>
              <a:gd name="connsiteY4" fmla="*/ 455175 h 455175"/>
              <a:gd name="connsiteX5" fmla="*/ 91440 w 1547387"/>
              <a:gd name="connsiteY5" fmla="*/ 91440 h 455175"/>
              <a:gd name="connsiteX0" fmla="*/ 0 w 1547387"/>
              <a:gd name="connsiteY0" fmla="*/ 0 h 455175"/>
              <a:gd name="connsiteX1" fmla="*/ 1453116 w 1547387"/>
              <a:gd name="connsiteY1" fmla="*/ 0 h 455175"/>
              <a:gd name="connsiteX2" fmla="*/ 1547387 w 1547387"/>
              <a:gd name="connsiteY2" fmla="*/ 227588 h 455175"/>
              <a:gd name="connsiteX3" fmla="*/ 1453116 w 1547387"/>
              <a:gd name="connsiteY3" fmla="*/ 455175 h 455175"/>
              <a:gd name="connsiteX4" fmla="*/ 0 w 1547387"/>
              <a:gd name="connsiteY4" fmla="*/ 455175 h 455175"/>
              <a:gd name="connsiteX0" fmla="*/ 105821 w 1547387"/>
              <a:gd name="connsiteY0" fmla="*/ 0 h 455175"/>
              <a:gd name="connsiteX1" fmla="*/ 1453116 w 1547387"/>
              <a:gd name="connsiteY1" fmla="*/ 0 h 455175"/>
              <a:gd name="connsiteX2" fmla="*/ 1547387 w 1547387"/>
              <a:gd name="connsiteY2" fmla="*/ 227588 h 455175"/>
              <a:gd name="connsiteX3" fmla="*/ 1453116 w 1547387"/>
              <a:gd name="connsiteY3" fmla="*/ 455175 h 455175"/>
              <a:gd name="connsiteX4" fmla="*/ 0 w 1547387"/>
              <a:gd name="connsiteY4" fmla="*/ 455175 h 455175"/>
              <a:gd name="connsiteX0" fmla="*/ 119388 w 1547387"/>
              <a:gd name="connsiteY0" fmla="*/ 0 h 455175"/>
              <a:gd name="connsiteX1" fmla="*/ 1453116 w 1547387"/>
              <a:gd name="connsiteY1" fmla="*/ 0 h 455175"/>
              <a:gd name="connsiteX2" fmla="*/ 1547387 w 1547387"/>
              <a:gd name="connsiteY2" fmla="*/ 227588 h 455175"/>
              <a:gd name="connsiteX3" fmla="*/ 1453116 w 1547387"/>
              <a:gd name="connsiteY3" fmla="*/ 455175 h 455175"/>
              <a:gd name="connsiteX4" fmla="*/ 0 w 1547387"/>
              <a:gd name="connsiteY4" fmla="*/ 455175 h 45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7387" h="455175">
                <a:moveTo>
                  <a:pt x="119388" y="0"/>
                </a:moveTo>
                <a:lnTo>
                  <a:pt x="1453116" y="0"/>
                </a:lnTo>
                <a:lnTo>
                  <a:pt x="1547387" y="227588"/>
                </a:lnTo>
                <a:lnTo>
                  <a:pt x="1453116" y="455175"/>
                </a:lnTo>
                <a:lnTo>
                  <a:pt x="0" y="455175"/>
                </a:lnTo>
              </a:path>
            </a:pathLst>
          </a:custGeom>
          <a:solidFill>
            <a:schemeClr val="accent2"/>
          </a:solidFill>
          <a:ln w="19050">
            <a:noFill/>
          </a:ln>
        </p:spPr>
        <p:txBody>
          <a:bodyPr wrap="square" lIns="107944" tIns="71963" rIns="107944" bIns="71963" rtlCol="0" anchor="ctr">
            <a:noAutofit/>
          </a:bodyPr>
          <a:lstStyle/>
          <a:p>
            <a:pPr algn="ctr">
              <a:spcBef>
                <a:spcPts val="200"/>
              </a:spcBef>
              <a:buClr>
                <a:schemeClr val="accent1"/>
              </a:buClr>
            </a:pPr>
            <a:r>
              <a:rPr lang="en-US" sz="1199" b="1" dirty="0">
                <a:solidFill>
                  <a:srgbClr val="FFFFFF"/>
                </a:solidFill>
              </a:rPr>
              <a:t>Renewable Power </a:t>
            </a:r>
          </a:p>
        </p:txBody>
      </p:sp>
      <p:sp>
        <p:nvSpPr>
          <p:cNvPr id="51" name="AutoShape 8">
            <a:extLst>
              <a:ext uri="{FF2B5EF4-FFF2-40B4-BE49-F238E27FC236}">
                <a16:creationId xmlns:a16="http://schemas.microsoft.com/office/drawing/2014/main" id="{49373572-1133-4BB7-94FB-BA618A5AD4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55668" y="2310877"/>
            <a:ext cx="1688360" cy="454938"/>
          </a:xfrm>
          <a:prstGeom prst="chevron">
            <a:avLst>
              <a:gd name="adj" fmla="val 20711"/>
            </a:avLst>
          </a:prstGeom>
          <a:solidFill>
            <a:schemeClr val="accent2"/>
          </a:solidFill>
          <a:ln w="19050">
            <a:noFill/>
          </a:ln>
        </p:spPr>
        <p:txBody>
          <a:bodyPr wrap="square" lIns="107944" tIns="71963" rIns="107944" bIns="71963" rtlCol="0" anchor="ctr">
            <a:noAutofit/>
          </a:bodyPr>
          <a:lstStyle/>
          <a:p>
            <a:pPr algn="ctr">
              <a:spcBef>
                <a:spcPts val="200"/>
              </a:spcBef>
              <a:buClr>
                <a:schemeClr val="accent1"/>
              </a:buClr>
            </a:pPr>
            <a:r>
              <a:rPr lang="en-US" sz="1199" b="1">
                <a:solidFill>
                  <a:srgbClr val="FFFFFF"/>
                </a:solidFill>
              </a:rPr>
              <a:t>Use Cases and Re-electrification</a:t>
            </a:r>
            <a:endParaRPr lang="en-US" sz="1199" b="1" dirty="0">
              <a:solidFill>
                <a:srgbClr val="FFFFFF"/>
              </a:solidFill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E2B4794A-993D-4F6F-AA31-5001C721D681}"/>
              </a:ext>
            </a:extLst>
          </p:cNvPr>
          <p:cNvCxnSpPr/>
          <p:nvPr/>
        </p:nvCxnSpPr>
        <p:spPr bwMode="auto">
          <a:xfrm>
            <a:off x="10980623" y="2765815"/>
            <a:ext cx="0" cy="447274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4D916847-7487-4A68-8416-B2F70993C6D2}"/>
              </a:ext>
            </a:extLst>
          </p:cNvPr>
          <p:cNvCxnSpPr/>
          <p:nvPr/>
        </p:nvCxnSpPr>
        <p:spPr bwMode="auto">
          <a:xfrm>
            <a:off x="9459353" y="2765815"/>
            <a:ext cx="0" cy="447274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C5ECADE1-4AF7-4E75-AD07-D9E0FD589AF5}"/>
              </a:ext>
            </a:extLst>
          </p:cNvPr>
          <p:cNvCxnSpPr/>
          <p:nvPr/>
        </p:nvCxnSpPr>
        <p:spPr bwMode="auto">
          <a:xfrm>
            <a:off x="7971850" y="2765815"/>
            <a:ext cx="0" cy="447274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3E494A1F-A8F0-4CBD-9004-CED25C3BBB8B}"/>
              </a:ext>
            </a:extLst>
          </p:cNvPr>
          <p:cNvCxnSpPr/>
          <p:nvPr/>
        </p:nvCxnSpPr>
        <p:spPr bwMode="auto">
          <a:xfrm>
            <a:off x="3339061" y="2765815"/>
            <a:ext cx="0" cy="447274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0731FAE1-4BC0-4AEC-8732-128844498484}"/>
              </a:ext>
            </a:extLst>
          </p:cNvPr>
          <p:cNvCxnSpPr/>
          <p:nvPr/>
        </p:nvCxnSpPr>
        <p:spPr bwMode="auto">
          <a:xfrm>
            <a:off x="6399207" y="2765814"/>
            <a:ext cx="0" cy="223084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0E3FFE1B-1D83-4569-BB3F-226F7FF1AA96}"/>
              </a:ext>
            </a:extLst>
          </p:cNvPr>
          <p:cNvCxnSpPr/>
          <p:nvPr/>
        </p:nvCxnSpPr>
        <p:spPr bwMode="auto">
          <a:xfrm>
            <a:off x="1127256" y="2765814"/>
            <a:ext cx="0" cy="223084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944E986D-CDA0-4087-A73D-63222F656F68}"/>
              </a:ext>
            </a:extLst>
          </p:cNvPr>
          <p:cNvCxnSpPr/>
          <p:nvPr/>
        </p:nvCxnSpPr>
        <p:spPr bwMode="auto">
          <a:xfrm>
            <a:off x="2090341" y="2765814"/>
            <a:ext cx="0" cy="223084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26B6442A-68A3-42C9-9D4C-446A5BF47F6E}"/>
              </a:ext>
            </a:extLst>
          </p:cNvPr>
          <p:cNvCxnSpPr/>
          <p:nvPr/>
        </p:nvCxnSpPr>
        <p:spPr bwMode="auto">
          <a:xfrm>
            <a:off x="4869134" y="2765814"/>
            <a:ext cx="0" cy="223084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77DF49B5-B808-4768-835F-4B76EFED84E8}"/>
              </a:ext>
            </a:extLst>
          </p:cNvPr>
          <p:cNvCxnSpPr/>
          <p:nvPr/>
        </p:nvCxnSpPr>
        <p:spPr bwMode="auto">
          <a:xfrm>
            <a:off x="1575205" y="2988898"/>
            <a:ext cx="0" cy="223084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E0896A0B-093F-4E18-A1B0-C6B459FB94CA}"/>
              </a:ext>
            </a:extLst>
          </p:cNvPr>
          <p:cNvCxnSpPr/>
          <p:nvPr/>
        </p:nvCxnSpPr>
        <p:spPr bwMode="auto">
          <a:xfrm>
            <a:off x="1127256" y="2988898"/>
            <a:ext cx="9851364" cy="0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Rechteck 19">
            <a:extLst>
              <a:ext uri="{FF2B5EF4-FFF2-40B4-BE49-F238E27FC236}">
                <a16:creationId xmlns:a16="http://schemas.microsoft.com/office/drawing/2014/main" id="{4EF2D3E3-6BF3-4AED-8D51-126F7E1065C9}"/>
              </a:ext>
            </a:extLst>
          </p:cNvPr>
          <p:cNvSpPr/>
          <p:nvPr/>
        </p:nvSpPr>
        <p:spPr bwMode="auto">
          <a:xfrm>
            <a:off x="7198469" y="4765155"/>
            <a:ext cx="1455116" cy="95898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953" tIns="53951" rIns="89953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tx1"/>
              </a:buClr>
            </a:pPr>
            <a:r>
              <a:rPr lang="en-US" sz="1100" b="1"/>
              <a:t>Auxiliary Systems</a:t>
            </a:r>
          </a:p>
          <a:p>
            <a:pPr marL="171450" lvl="1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/>
              <a:t>Hydrogen</a:t>
            </a:r>
            <a:r>
              <a:rPr lang="en-US" sz="1099" baseline="-25000"/>
              <a:t> </a:t>
            </a:r>
            <a:r>
              <a:rPr lang="en-US" sz="1099"/>
              <a:t>storage</a:t>
            </a:r>
          </a:p>
          <a:p>
            <a:pPr marL="171450" lvl="1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/>
              <a:t>Water treatment</a:t>
            </a:r>
          </a:p>
          <a:p>
            <a:pPr marL="171450" lvl="1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/>
              <a:t>Mech. equipment</a:t>
            </a:r>
            <a:endParaRPr lang="en-US" sz="700"/>
          </a:p>
          <a:p>
            <a:pPr marL="171450" lvl="1" indent="-171450">
              <a:buClr>
                <a:srgbClr val="00646E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099"/>
              <a:t>Electr. equipment</a:t>
            </a:r>
          </a:p>
          <a:p>
            <a:pPr marL="0" lvl="1">
              <a:buClr>
                <a:srgbClr val="00646E"/>
              </a:buClr>
              <a:buSzPct val="100000"/>
            </a:pPr>
            <a:endParaRPr lang="en-US" sz="900" b="1" dirty="0"/>
          </a:p>
          <a:p>
            <a:pPr algn="ctr">
              <a:buClr>
                <a:srgbClr val="879BAA"/>
              </a:buClr>
            </a:pPr>
            <a:endParaRPr lang="en-US" sz="1399" b="1" dirty="0">
              <a:solidFill>
                <a:schemeClr val="bg1"/>
              </a:solidFill>
            </a:endParaRPr>
          </a:p>
        </p:txBody>
      </p:sp>
      <p:cxnSp>
        <p:nvCxnSpPr>
          <p:cNvPr id="58" name="Gerade Verbindung mit Pfeil 44">
            <a:extLst>
              <a:ext uri="{FF2B5EF4-FFF2-40B4-BE49-F238E27FC236}">
                <a16:creationId xmlns:a16="http://schemas.microsoft.com/office/drawing/2014/main" id="{C74FDFAA-3FC9-4F48-AC43-C32347CF4D49}"/>
              </a:ext>
            </a:extLst>
          </p:cNvPr>
          <p:cNvCxnSpPr>
            <a:cxnSpLocks/>
            <a:endCxn id="38" idx="0"/>
          </p:cNvCxnSpPr>
          <p:nvPr/>
        </p:nvCxnSpPr>
        <p:spPr bwMode="auto">
          <a:xfrm>
            <a:off x="4869134" y="2764708"/>
            <a:ext cx="0" cy="448380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Gerade Verbindung mit Pfeil 44">
            <a:extLst>
              <a:ext uri="{FF2B5EF4-FFF2-40B4-BE49-F238E27FC236}">
                <a16:creationId xmlns:a16="http://schemas.microsoft.com/office/drawing/2014/main" id="{F549F647-0006-4275-83A5-D255B07F31B7}"/>
              </a:ext>
            </a:extLst>
          </p:cNvPr>
          <p:cNvCxnSpPr>
            <a:cxnSpLocks/>
            <a:stCxn id="13" idx="2"/>
            <a:endCxn id="5" idx="0"/>
          </p:cNvCxnSpPr>
          <p:nvPr/>
        </p:nvCxnSpPr>
        <p:spPr bwMode="auto">
          <a:xfrm>
            <a:off x="6395863" y="2765815"/>
            <a:ext cx="3345" cy="447273"/>
          </a:xfrm>
          <a:prstGeom prst="straightConnector1">
            <a:avLst/>
          </a:prstGeom>
          <a:solidFill>
            <a:srgbClr val="000000"/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oval" w="med" len="med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Textfeld 4">
            <a:extLst>
              <a:ext uri="{FF2B5EF4-FFF2-40B4-BE49-F238E27FC236}">
                <a16:creationId xmlns:a16="http://schemas.microsoft.com/office/drawing/2014/main" id="{473C0DBC-B1CF-40D9-B8FD-30BA9D4F8C79}"/>
              </a:ext>
            </a:extLst>
          </p:cNvPr>
          <p:cNvSpPr txBox="1"/>
          <p:nvPr/>
        </p:nvSpPr>
        <p:spPr>
          <a:xfrm>
            <a:off x="2090341" y="6309331"/>
            <a:ext cx="204803" cy="164374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9953" tIns="53951" rIns="89953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spcBef>
                <a:spcPct val="0"/>
              </a:spcBef>
              <a:buClr>
                <a:srgbClr val="879BAA"/>
              </a:buClr>
              <a:defRPr sz="1400" b="1">
                <a:solidFill>
                  <a:schemeClr val="bg1"/>
                </a:solidFill>
              </a:defRPr>
            </a:lvl1pPr>
          </a:lstStyle>
          <a:p>
            <a:pPr lvl="1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9EBC0EC-E32C-489D-B5E1-EB2B87D3F33E}"/>
              </a:ext>
            </a:extLst>
          </p:cNvPr>
          <p:cNvSpPr txBox="1"/>
          <p:nvPr/>
        </p:nvSpPr>
        <p:spPr>
          <a:xfrm>
            <a:off x="2368026" y="6309331"/>
            <a:ext cx="1856232" cy="2230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100"/>
              <a:t>Own/majority owned portfolio</a:t>
            </a:r>
            <a:endParaRPr lang="en-US" sz="1100" dirty="0" err="1"/>
          </a:p>
        </p:txBody>
      </p:sp>
      <p:sp>
        <p:nvSpPr>
          <p:cNvPr id="65" name="Textfeld 4">
            <a:extLst>
              <a:ext uri="{FF2B5EF4-FFF2-40B4-BE49-F238E27FC236}">
                <a16:creationId xmlns:a16="http://schemas.microsoft.com/office/drawing/2014/main" id="{827EBF0F-70FB-4B6E-9AFC-9FFDFC8FC9DF}"/>
              </a:ext>
            </a:extLst>
          </p:cNvPr>
          <p:cNvSpPr txBox="1"/>
          <p:nvPr/>
        </p:nvSpPr>
        <p:spPr>
          <a:xfrm>
            <a:off x="4536071" y="6309331"/>
            <a:ext cx="204803" cy="164374"/>
          </a:xfrm>
          <a:prstGeom prst="rect">
            <a:avLst/>
          </a:prstGeom>
          <a:solidFill>
            <a:schemeClr val="bg2">
              <a:lumMod val="75000"/>
            </a:schemeClr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53951" rIns="45720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rgbClr val="879BAA"/>
              </a:buClr>
              <a:defRPr sz="1300" b="1"/>
            </a:lvl1pPr>
            <a:lvl2pPr marL="171450" lvl="1" indent="-17145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99"/>
            </a:lvl2pPr>
          </a:lstStyle>
          <a:p>
            <a:pPr lvl="1"/>
            <a:endParaRPr lang="en-US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6A4761B-DD85-4A94-A960-4AC06962877E}"/>
              </a:ext>
            </a:extLst>
          </p:cNvPr>
          <p:cNvSpPr txBox="1"/>
          <p:nvPr/>
        </p:nvSpPr>
        <p:spPr>
          <a:xfrm>
            <a:off x="4813756" y="6318446"/>
            <a:ext cx="1856232" cy="2230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100"/>
              <a:t>JV/partnering</a:t>
            </a:r>
            <a:endParaRPr lang="en-US" sz="1100" dirty="0" err="1"/>
          </a:p>
        </p:txBody>
      </p:sp>
      <p:sp>
        <p:nvSpPr>
          <p:cNvPr id="67" name="Textfeld 4">
            <a:extLst>
              <a:ext uri="{FF2B5EF4-FFF2-40B4-BE49-F238E27FC236}">
                <a16:creationId xmlns:a16="http://schemas.microsoft.com/office/drawing/2014/main" id="{D6E0A0C2-834B-47EE-81B3-360BDFDBECF5}"/>
              </a:ext>
            </a:extLst>
          </p:cNvPr>
          <p:cNvSpPr txBox="1"/>
          <p:nvPr/>
        </p:nvSpPr>
        <p:spPr>
          <a:xfrm>
            <a:off x="6593212" y="6313817"/>
            <a:ext cx="204803" cy="16437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53951" rIns="45720" bIns="53951" numCol="1" spcCol="71964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>
                <a:srgbClr val="879BAA"/>
              </a:buClr>
              <a:defRPr sz="1399" b="1"/>
            </a:lvl1pPr>
            <a:lvl2pPr marL="119063" lvl="1" indent="-119063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99"/>
            </a:lvl2pPr>
            <a:lvl4pPr marL="284163" lvl="3" indent="-111125">
              <a:buClr>
                <a:schemeClr val="tx1"/>
              </a:buClr>
              <a:buFont typeface="Arial" panose="020B0604020202020204" pitchFamily="34" charset="0"/>
              <a:buChar char="•"/>
              <a:defRPr sz="1099"/>
            </a:lvl4pPr>
          </a:lstStyle>
          <a:p>
            <a:pPr lvl="1"/>
            <a:endParaRPr lang="en-US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178E2E7-18C3-4353-9DEC-AABC3B3ADBAC}"/>
              </a:ext>
            </a:extLst>
          </p:cNvPr>
          <p:cNvSpPr txBox="1"/>
          <p:nvPr/>
        </p:nvSpPr>
        <p:spPr>
          <a:xfrm>
            <a:off x="6870896" y="6318446"/>
            <a:ext cx="2090223" cy="2275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100"/>
              <a:t>Portfolio from external partners</a:t>
            </a:r>
            <a:endParaRPr lang="en-US" sz="1100" dirty="0" err="1"/>
          </a:p>
        </p:txBody>
      </p:sp>
    </p:spTree>
    <p:extLst>
      <p:ext uri="{BB962C8B-B14F-4D97-AF65-F5344CB8AC3E}">
        <p14:creationId xmlns:p14="http://schemas.microsoft.com/office/powerpoint/2010/main" val="17178475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34D2AFD-6476-4D9C-AE4C-2CB0B9783A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34D2AFD-6476-4D9C-AE4C-2CB0B9783A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F098DDE4-2C25-4CC7-B2C3-AC9DCDB964B1}"/>
              </a:ext>
            </a:extLst>
          </p:cNvPr>
          <p:cNvSpPr/>
          <p:nvPr/>
        </p:nvSpPr>
        <p:spPr>
          <a:xfrm>
            <a:off x="3175" y="2260652"/>
            <a:ext cx="12192000" cy="459734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0B1159-C952-409F-9736-29C27FB12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</p:spPr>
        <p:txBody>
          <a:bodyPr vert="horz"/>
          <a:lstStyle/>
          <a:p>
            <a:r>
              <a:rPr lang="en-US" dirty="0"/>
              <a:t>Technology expertise in Electrolysis</a:t>
            </a:r>
            <a:br>
              <a:rPr lang="en-US" dirty="0"/>
            </a:br>
            <a:r>
              <a:rPr lang="en-US" b="0" dirty="0">
                <a:solidFill>
                  <a:srgbClr val="6ADDFF"/>
                </a:solidFill>
              </a:rPr>
              <a:t>Our </a:t>
            </a:r>
            <a:r>
              <a:rPr lang="en-US" b="0" dirty="0" err="1">
                <a:solidFill>
                  <a:srgbClr val="6ADDFF"/>
                </a:solidFill>
              </a:rPr>
              <a:t>electrolyzer</a:t>
            </a:r>
            <a:r>
              <a:rPr lang="en-US" b="0" dirty="0">
                <a:solidFill>
                  <a:srgbClr val="6ADDFF"/>
                </a:solidFill>
              </a:rPr>
              <a:t> portfolio scales up by factor 10 every 4 – 5 years</a:t>
            </a:r>
            <a:br>
              <a:rPr lang="en-US" b="0" dirty="0"/>
            </a:br>
            <a:endParaRPr lang="en-US" b="0" dirty="0"/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7F40FC1D-C2C7-49C5-99EF-B5C02C761150}"/>
              </a:ext>
            </a:extLst>
          </p:cNvPr>
          <p:cNvCxnSpPr/>
          <p:nvPr/>
        </p:nvCxnSpPr>
        <p:spPr>
          <a:xfrm flipV="1">
            <a:off x="627063" y="2260652"/>
            <a:ext cx="11088687" cy="0"/>
          </a:xfrm>
          <a:prstGeom prst="straightConnector1">
            <a:avLst/>
          </a:prstGeom>
          <a:ln w="9525" cap="rnd">
            <a:gradFill>
              <a:gsLst>
                <a:gs pos="0">
                  <a:schemeClr val="tx1"/>
                </a:gs>
                <a:gs pos="100000">
                  <a:schemeClr val="tx1">
                    <a:alpha val="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64FD0710-9F2E-471E-8534-9A25A4D8D02C}"/>
              </a:ext>
            </a:extLst>
          </p:cNvPr>
          <p:cNvSpPr>
            <a:spLocks/>
          </p:cNvSpPr>
          <p:nvPr/>
        </p:nvSpPr>
        <p:spPr>
          <a:xfrm>
            <a:off x="764522" y="1708024"/>
            <a:ext cx="795089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.1 MW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53B340D4-FFC2-4E0B-ADA0-23F71C6C51BA}"/>
              </a:ext>
            </a:extLst>
          </p:cNvPr>
          <p:cNvSpPr>
            <a:spLocks/>
          </p:cNvSpPr>
          <p:nvPr/>
        </p:nvSpPr>
        <p:spPr>
          <a:xfrm>
            <a:off x="2987979" y="1708024"/>
            <a:ext cx="602729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MW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C89B4ED1-F7FA-4444-8F37-47D267742355}"/>
              </a:ext>
            </a:extLst>
          </p:cNvPr>
          <p:cNvSpPr>
            <a:spLocks/>
          </p:cNvSpPr>
          <p:nvPr/>
        </p:nvSpPr>
        <p:spPr>
          <a:xfrm>
            <a:off x="5211436" y="1708024"/>
            <a:ext cx="2019299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 MW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44B1748-157D-47E1-B31F-2E046E87AC75}"/>
              </a:ext>
            </a:extLst>
          </p:cNvPr>
          <p:cNvSpPr>
            <a:spLocks/>
          </p:cNvSpPr>
          <p:nvPr/>
        </p:nvSpPr>
        <p:spPr>
          <a:xfrm>
            <a:off x="7437959" y="1708024"/>
            <a:ext cx="993862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0+ MW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18CD0FBB-DE1C-4419-AD73-1358EBE35EA5}"/>
              </a:ext>
            </a:extLst>
          </p:cNvPr>
          <p:cNvSpPr>
            <a:spLocks/>
          </p:cNvSpPr>
          <p:nvPr/>
        </p:nvSpPr>
        <p:spPr>
          <a:xfrm>
            <a:off x="9661417" y="1708024"/>
            <a:ext cx="1186222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000+ MW</a:t>
            </a:r>
          </a:p>
        </p:txBody>
      </p:sp>
      <p:sp>
        <p:nvSpPr>
          <p:cNvPr id="68" name="Rechteck 25">
            <a:extLst>
              <a:ext uri="{FF2B5EF4-FFF2-40B4-BE49-F238E27FC236}">
                <a16:creationId xmlns:a16="http://schemas.microsoft.com/office/drawing/2014/main" id="{F06177B5-A77C-4C7D-ACF8-469B7BF9530B}"/>
              </a:ext>
            </a:extLst>
          </p:cNvPr>
          <p:cNvSpPr>
            <a:spLocks/>
          </p:cNvSpPr>
          <p:nvPr/>
        </p:nvSpPr>
        <p:spPr bwMode="auto">
          <a:xfrm>
            <a:off x="764522" y="2549173"/>
            <a:ext cx="2016233" cy="4372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011</a:t>
            </a:r>
          </a:p>
        </p:txBody>
      </p:sp>
      <p:sp>
        <p:nvSpPr>
          <p:cNvPr id="69" name="Rechteck 63">
            <a:extLst>
              <a:ext uri="{FF2B5EF4-FFF2-40B4-BE49-F238E27FC236}">
                <a16:creationId xmlns:a16="http://schemas.microsoft.com/office/drawing/2014/main" id="{D134C4B6-1099-4030-A60E-8E3CDA69760C}"/>
              </a:ext>
            </a:extLst>
          </p:cNvPr>
          <p:cNvSpPr>
            <a:spLocks/>
          </p:cNvSpPr>
          <p:nvPr/>
        </p:nvSpPr>
        <p:spPr bwMode="auto">
          <a:xfrm>
            <a:off x="2987979" y="2549173"/>
            <a:ext cx="2016233" cy="4372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2015</a:t>
            </a:r>
          </a:p>
        </p:txBody>
      </p:sp>
      <p:sp>
        <p:nvSpPr>
          <p:cNvPr id="70" name="Rechteck 64">
            <a:extLst>
              <a:ext uri="{FF2B5EF4-FFF2-40B4-BE49-F238E27FC236}">
                <a16:creationId xmlns:a16="http://schemas.microsoft.com/office/drawing/2014/main" id="{237D6132-1FFC-4644-A076-FFA7A2F94E0A}"/>
              </a:ext>
            </a:extLst>
          </p:cNvPr>
          <p:cNvSpPr>
            <a:spLocks/>
          </p:cNvSpPr>
          <p:nvPr/>
        </p:nvSpPr>
        <p:spPr bwMode="auto">
          <a:xfrm>
            <a:off x="5211436" y="2549173"/>
            <a:ext cx="2019299" cy="4372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2018</a:t>
            </a:r>
          </a:p>
        </p:txBody>
      </p:sp>
      <p:sp>
        <p:nvSpPr>
          <p:cNvPr id="71" name="Rechteck 65">
            <a:extLst>
              <a:ext uri="{FF2B5EF4-FFF2-40B4-BE49-F238E27FC236}">
                <a16:creationId xmlns:a16="http://schemas.microsoft.com/office/drawing/2014/main" id="{8BEA2A7F-62ED-48F9-850A-E3D81DB95177}"/>
              </a:ext>
            </a:extLst>
          </p:cNvPr>
          <p:cNvSpPr>
            <a:spLocks/>
          </p:cNvSpPr>
          <p:nvPr/>
        </p:nvSpPr>
        <p:spPr bwMode="auto">
          <a:xfrm>
            <a:off x="7437959" y="2549173"/>
            <a:ext cx="2016233" cy="437236"/>
          </a:xfrm>
          <a:prstGeom prst="rect">
            <a:avLst/>
          </a:prstGeom>
          <a:ln w="19050" cap="rnd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0" tIns="0" rIns="0" bIns="0" numCol="1" spcCol="7200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2023</a:t>
            </a:r>
          </a:p>
        </p:txBody>
      </p:sp>
      <p:sp>
        <p:nvSpPr>
          <p:cNvPr id="72" name="Rechteck 67">
            <a:extLst>
              <a:ext uri="{FF2B5EF4-FFF2-40B4-BE49-F238E27FC236}">
                <a16:creationId xmlns:a16="http://schemas.microsoft.com/office/drawing/2014/main" id="{1FC5D3BA-458F-482E-A907-FBC5D1DE0EDC}"/>
              </a:ext>
            </a:extLst>
          </p:cNvPr>
          <p:cNvSpPr>
            <a:spLocks/>
          </p:cNvSpPr>
          <p:nvPr/>
        </p:nvSpPr>
        <p:spPr bwMode="auto">
          <a:xfrm>
            <a:off x="9661417" y="2549173"/>
            <a:ext cx="2052745" cy="43723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1" spcCol="7200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>
                <a:solidFill>
                  <a:srgbClr val="4D217A"/>
                </a:solidFill>
                <a:latin typeface="Arial"/>
                <a:ea typeface="Arial Unicode MS" panose="020B0604020202020204" pitchFamily="34" charset="-128"/>
              </a:rPr>
              <a:t>Next step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4D217A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+mn-cs"/>
            </a:endParaRP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E0D4483A-5F96-4352-B75A-8BB5CB4A738A}"/>
              </a:ext>
            </a:extLst>
          </p:cNvPr>
          <p:cNvSpPr txBox="1">
            <a:spLocks/>
          </p:cNvSpPr>
          <p:nvPr/>
        </p:nvSpPr>
        <p:spPr>
          <a:xfrm>
            <a:off x="762517" y="3045951"/>
            <a:ext cx="209000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lyze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00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b-scale demo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90CEC9BE-C633-4A00-A8AA-F8349BEF7BE0}"/>
              </a:ext>
            </a:extLst>
          </p:cNvPr>
          <p:cNvSpPr txBox="1">
            <a:spLocks/>
          </p:cNvSpPr>
          <p:nvPr/>
        </p:nvSpPr>
        <p:spPr>
          <a:xfrm>
            <a:off x="5211436" y="3045951"/>
            <a:ext cx="20162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lyze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300</a:t>
            </a:r>
            <a:endParaRPr kumimoji="0" lang="en-US" altLang="de-DE" sz="12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5DFA2E1E-514A-425B-95A5-42978C0DADAF}"/>
              </a:ext>
            </a:extLst>
          </p:cNvPr>
          <p:cNvSpPr txBox="1">
            <a:spLocks/>
          </p:cNvSpPr>
          <p:nvPr/>
        </p:nvSpPr>
        <p:spPr>
          <a:xfrm>
            <a:off x="9661417" y="3045951"/>
            <a:ext cx="2052745" cy="46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-Developmen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partners in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ticals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1A352942-6704-4CB7-93CB-189E31702306}"/>
              </a:ext>
            </a:extLst>
          </p:cNvPr>
          <p:cNvSpPr txBox="1">
            <a:spLocks/>
          </p:cNvSpPr>
          <p:nvPr/>
        </p:nvSpPr>
        <p:spPr>
          <a:xfrm>
            <a:off x="7437959" y="3045951"/>
            <a:ext cx="2016233" cy="468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lyze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300 plant</a:t>
            </a:r>
            <a:b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89E7F42E-4C48-4375-9F4D-0387864314AC}"/>
              </a:ext>
            </a:extLst>
          </p:cNvPr>
          <p:cNvSpPr txBox="1">
            <a:spLocks/>
          </p:cNvSpPr>
          <p:nvPr/>
        </p:nvSpPr>
        <p:spPr>
          <a:xfrm>
            <a:off x="2987979" y="3045951"/>
            <a:ext cx="20162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lyzer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0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FF8EC3A-E174-4CCB-8AE5-D40FB033E579}"/>
              </a:ext>
            </a:extLst>
          </p:cNvPr>
          <p:cNvCxnSpPr>
            <a:cxnSpLocks/>
          </p:cNvCxnSpPr>
          <p:nvPr/>
        </p:nvCxnSpPr>
        <p:spPr>
          <a:xfrm>
            <a:off x="0" y="2260652"/>
            <a:ext cx="11715750" cy="0"/>
          </a:xfrm>
          <a:prstGeom prst="line">
            <a:avLst/>
          </a:prstGeom>
          <a:ln w="57150" cap="rnd">
            <a:solidFill>
              <a:srgbClr val="6ADDFF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39135BD5-9618-4959-A77B-72AD182E107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2022" y="3589670"/>
            <a:ext cx="1595386" cy="384689"/>
          </a:xfrm>
          <a:prstGeom prst="rect">
            <a:avLst/>
          </a:prstGeom>
        </p:spPr>
      </p:pic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37F48455-CC14-4A78-AE98-C5C446FD3D51}"/>
              </a:ext>
            </a:extLst>
          </p:cNvPr>
          <p:cNvCxnSpPr>
            <a:cxnSpLocks/>
          </p:cNvCxnSpPr>
          <p:nvPr/>
        </p:nvCxnSpPr>
        <p:spPr>
          <a:xfrm>
            <a:off x="636742" y="2549173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1E3BB3B3-E854-47CA-9A8C-E29372B29893}"/>
              </a:ext>
            </a:extLst>
          </p:cNvPr>
          <p:cNvCxnSpPr>
            <a:cxnSpLocks/>
          </p:cNvCxnSpPr>
          <p:nvPr/>
        </p:nvCxnSpPr>
        <p:spPr>
          <a:xfrm>
            <a:off x="2856067" y="2549173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6AC0558F-F75A-41DB-BC15-005E3F8D3B34}"/>
              </a:ext>
            </a:extLst>
          </p:cNvPr>
          <p:cNvCxnSpPr>
            <a:cxnSpLocks/>
          </p:cNvCxnSpPr>
          <p:nvPr/>
        </p:nvCxnSpPr>
        <p:spPr>
          <a:xfrm>
            <a:off x="5075392" y="2549173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BC1E3173-D8AF-4855-85D1-5B0872289456}"/>
              </a:ext>
            </a:extLst>
          </p:cNvPr>
          <p:cNvCxnSpPr>
            <a:cxnSpLocks/>
          </p:cNvCxnSpPr>
          <p:nvPr/>
        </p:nvCxnSpPr>
        <p:spPr>
          <a:xfrm>
            <a:off x="7294717" y="2549173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FF175B1B-51D5-4416-9690-9A8973C1FE4D}"/>
              </a:ext>
            </a:extLst>
          </p:cNvPr>
          <p:cNvCxnSpPr>
            <a:cxnSpLocks/>
          </p:cNvCxnSpPr>
          <p:nvPr/>
        </p:nvCxnSpPr>
        <p:spPr>
          <a:xfrm>
            <a:off x="9514042" y="2549173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5" name="Author | Department">
            <a:extLst>
              <a:ext uri="{FF2B5EF4-FFF2-40B4-BE49-F238E27FC236}">
                <a16:creationId xmlns:a16="http://schemas.microsoft.com/office/drawing/2014/main" id="{941E4411-86B9-4229-A998-205F7D5E25BF}"/>
              </a:ext>
            </a:extLst>
          </p:cNvPr>
          <p:cNvSpPr txBox="1"/>
          <p:nvPr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Sustainable Energy Systems</a:t>
            </a:r>
          </a:p>
        </p:txBody>
      </p:sp>
      <p:sp>
        <p:nvSpPr>
          <p:cNvPr id="56" name="Copyright">
            <a:extLst>
              <a:ext uri="{FF2B5EF4-FFF2-40B4-BE49-F238E27FC236}">
                <a16:creationId xmlns:a16="http://schemas.microsoft.com/office/drawing/2014/main" id="{52C25C5F-14B1-4A97-9DCA-9A8C2C9639AF}"/>
              </a:ext>
            </a:extLst>
          </p:cNvPr>
          <p:cNvSpPr txBox="1"/>
          <p:nvPr/>
        </p:nvSpPr>
        <p:spPr>
          <a:xfrm>
            <a:off x="6242050" y="6526799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Unrestricted use © Siemens Energy, 2023</a:t>
            </a:r>
          </a:p>
        </p:txBody>
      </p:sp>
      <p:sp>
        <p:nvSpPr>
          <p:cNvPr id="57" name="Page">
            <a:extLst>
              <a:ext uri="{FF2B5EF4-FFF2-40B4-BE49-F238E27FC236}">
                <a16:creationId xmlns:a16="http://schemas.microsoft.com/office/drawing/2014/main" id="{CDA66BC5-9769-4131-8999-B9630C74C2DF}"/>
              </a:ext>
            </a:extLst>
          </p:cNvPr>
          <p:cNvSpPr txBox="1"/>
          <p:nvPr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4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63" name="License statement">
            <a:extLst>
              <a:ext uri="{FF2B5EF4-FFF2-40B4-BE49-F238E27FC236}">
                <a16:creationId xmlns:a16="http://schemas.microsoft.com/office/drawing/2014/main" id="{592F69AF-0D86-4392-AD26-A070475A4BCD}"/>
              </a:ext>
            </a:extLst>
          </p:cNvPr>
          <p:cNvSpPr txBox="1"/>
          <p:nvPr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sp>
        <p:nvSpPr>
          <p:cNvPr id="38" name="Date">
            <a:extLst>
              <a:ext uri="{FF2B5EF4-FFF2-40B4-BE49-F238E27FC236}">
                <a16:creationId xmlns:a16="http://schemas.microsoft.com/office/drawing/2014/main" id="{86C16217-58BB-4EC4-84B6-66AF044EB1AA}"/>
              </a:ext>
            </a:extLst>
          </p:cNvPr>
          <p:cNvSpPr txBox="1"/>
          <p:nvPr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bg1"/>
                </a:solidFill>
              </a:rPr>
              <a:t>May 2023</a:t>
            </a:r>
          </a:p>
        </p:txBody>
      </p:sp>
      <p:pic>
        <p:nvPicPr>
          <p:cNvPr id="9" name="Grafik 8" descr="Ein Bild, das Elektronik enthält.&#10;&#10;Automatisch generierte Beschreibung">
            <a:extLst>
              <a:ext uri="{FF2B5EF4-FFF2-40B4-BE49-F238E27FC236}">
                <a16:creationId xmlns:a16="http://schemas.microsoft.com/office/drawing/2014/main" id="{CC95E078-7301-F874-D00E-0E441289D92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2594" y="2871300"/>
            <a:ext cx="3486274" cy="1666164"/>
          </a:xfrm>
          <a:prstGeom prst="rect">
            <a:avLst/>
          </a:prstGeom>
        </p:spPr>
      </p:pic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78BF0648-FE85-26B8-B37D-90F38B95035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6741" y="3513951"/>
            <a:ext cx="2063614" cy="1160783"/>
          </a:xfrm>
          <a:prstGeom prst="rect">
            <a:avLst/>
          </a:prstGeom>
        </p:spPr>
      </p:pic>
      <p:pic>
        <p:nvPicPr>
          <p:cNvPr id="7" name="Grafik 6" descr="Ein Bild, das Gras, Himmel, draußen, Gebäude enthält.&#10;&#10;Automatisch generierte Beschreibung">
            <a:extLst>
              <a:ext uri="{FF2B5EF4-FFF2-40B4-BE49-F238E27FC236}">
                <a16:creationId xmlns:a16="http://schemas.microsoft.com/office/drawing/2014/main" id="{822249D3-3103-BA89-493E-7D2F243FAA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7433" y="3511512"/>
            <a:ext cx="2052745" cy="1163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1301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Computer, Keller, Tor enthält.&#10;&#10;Automatisch generierte Beschreibung">
            <a:extLst>
              <a:ext uri="{FF2B5EF4-FFF2-40B4-BE49-F238E27FC236}">
                <a16:creationId xmlns:a16="http://schemas.microsoft.com/office/drawing/2014/main" id="{7B41329D-9910-C137-9125-E5B977FC841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5138" y="2206891"/>
            <a:ext cx="3850783" cy="2568442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F7ED914-67E7-48F2-9896-E804889BA9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498" imgH="499" progId="TCLayout.ActiveDocument.1">
                  <p:embed/>
                </p:oleObj>
              </mc:Choice>
              <mc:Fallback>
                <p:oleObj name="think-cell Folie" r:id="rId8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F7ED914-67E7-48F2-9896-E804889BA9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31559B86-851C-47CF-AF44-09664DADC4C4}"/>
              </a:ext>
            </a:extLst>
          </p:cNvPr>
          <p:cNvSpPr/>
          <p:nvPr/>
        </p:nvSpPr>
        <p:spPr>
          <a:xfrm>
            <a:off x="845303" y="1422583"/>
            <a:ext cx="5032455" cy="31924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F8D4D98-489D-493E-AFF4-12A6E90D1D3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C489FF-A81D-45FA-99B4-64547416D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</p:spPr>
        <p:txBody>
          <a:bodyPr vert="horz"/>
          <a:lstStyle/>
          <a:p>
            <a:r>
              <a:rPr lang="en-US"/>
              <a:t>Prepared for delivery at Gigawatt scale </a:t>
            </a:r>
            <a:br>
              <a:rPr lang="en-US"/>
            </a:br>
            <a:r>
              <a:rPr lang="en-US" b="0"/>
              <a:t>Standardization, Modularization and Manufacturing</a:t>
            </a:r>
            <a:endParaRPr lang="de-DE" b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05156A2B-F52F-41BC-9265-C3FD0BAFD75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243093" y="4891423"/>
            <a:ext cx="5472112" cy="1280451"/>
          </a:xfrm>
          <a:prstGeom prst="rect">
            <a:avLst/>
          </a:prstGeom>
          <a:gradFill>
            <a:gsLst>
              <a:gs pos="69000">
                <a:schemeClr val="tx2"/>
              </a:gs>
              <a:gs pos="0">
                <a:schemeClr val="accent2"/>
              </a:gs>
            </a:gsLst>
            <a:path path="circle">
              <a:fillToRect l="100000" t="100000"/>
            </a:path>
          </a:gradFill>
        </p:spPr>
        <p:txBody>
          <a:bodyPr wrap="square" lIns="180000" tIns="108000" rIns="180000" bIns="108000" rtlCol="0" anchor="t">
            <a:spAutoFit/>
          </a:bodyPr>
          <a:lstStyle/>
          <a:p>
            <a:pPr marL="174625" indent="-17462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</a:rPr>
              <a:t>Ramp-up of manufacturing towards a lean </a:t>
            </a:r>
            <a:r>
              <a:rPr lang="en-US" sz="1600" b="1">
                <a:solidFill>
                  <a:schemeClr val="bg1"/>
                </a:solidFill>
              </a:rPr>
              <a:t>Gigafactory</a:t>
            </a:r>
          </a:p>
          <a:p>
            <a:pPr marL="174625" indent="-17462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</a:rPr>
              <a:t>Flexible </a:t>
            </a:r>
            <a:r>
              <a:rPr lang="en-US" sz="1600" b="1">
                <a:solidFill>
                  <a:schemeClr val="bg1"/>
                </a:solidFill>
              </a:rPr>
              <a:t>expansion</a:t>
            </a:r>
            <a:r>
              <a:rPr lang="en-US" sz="1600">
                <a:solidFill>
                  <a:schemeClr val="bg1"/>
                </a:solidFill>
              </a:rPr>
              <a:t> to </a:t>
            </a:r>
            <a:r>
              <a:rPr lang="en-US" sz="1600" b="1">
                <a:solidFill>
                  <a:schemeClr val="bg1"/>
                </a:solidFill>
              </a:rPr>
              <a:t>Multi-GW</a:t>
            </a:r>
          </a:p>
          <a:p>
            <a:pPr marL="174625" indent="-17462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</a:rPr>
              <a:t>Automated</a:t>
            </a:r>
            <a:r>
              <a:rPr lang="en-US" sz="1600">
                <a:solidFill>
                  <a:schemeClr val="bg1"/>
                </a:solidFill>
              </a:rPr>
              <a:t>, highest-quality </a:t>
            </a:r>
            <a:r>
              <a:rPr lang="en-US" sz="1600" err="1">
                <a:solidFill>
                  <a:schemeClr val="bg1"/>
                </a:solidFill>
              </a:rPr>
              <a:t>Silyzer</a:t>
            </a:r>
            <a:r>
              <a:rPr lang="en-US" sz="1600">
                <a:solidFill>
                  <a:schemeClr val="bg1"/>
                </a:solidFill>
              </a:rPr>
              <a:t> production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1110A7ED-53FE-4CDD-BFFD-8B6F21F27A2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27063" y="4891423"/>
            <a:ext cx="5472112" cy="1280451"/>
          </a:xfrm>
          <a:prstGeom prst="rect">
            <a:avLst/>
          </a:prstGeom>
          <a:gradFill>
            <a:gsLst>
              <a:gs pos="69000">
                <a:schemeClr val="tx2"/>
              </a:gs>
              <a:gs pos="0">
                <a:schemeClr val="accent2"/>
              </a:gs>
            </a:gsLst>
            <a:path path="circle">
              <a:fillToRect l="100000" t="100000"/>
            </a:path>
          </a:gradFill>
        </p:spPr>
        <p:txBody>
          <a:bodyPr wrap="square" lIns="180000" tIns="108000" rIns="180000" bIns="108000" rtlCol="0" anchor="t">
            <a:spAutoFit/>
          </a:bodyPr>
          <a:lstStyle/>
          <a:p>
            <a:pPr marL="174625" indent="-17462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</a:rPr>
              <a:t>Standardized</a:t>
            </a:r>
            <a:r>
              <a:rPr lang="en-US" sz="1600">
                <a:solidFill>
                  <a:schemeClr val="bg1"/>
                </a:solidFill>
              </a:rPr>
              <a:t> </a:t>
            </a:r>
            <a:r>
              <a:rPr lang="en-US" sz="1600" b="1">
                <a:solidFill>
                  <a:schemeClr val="bg1"/>
                </a:solidFill>
              </a:rPr>
              <a:t>plant</a:t>
            </a:r>
            <a:r>
              <a:rPr lang="en-US" sz="1600">
                <a:solidFill>
                  <a:schemeClr val="bg1"/>
                </a:solidFill>
              </a:rPr>
              <a:t> design based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on </a:t>
            </a:r>
            <a:r>
              <a:rPr lang="en-US" sz="1600" b="1">
                <a:solidFill>
                  <a:schemeClr val="bg1"/>
                </a:solidFill>
              </a:rPr>
              <a:t>modular</a:t>
            </a:r>
            <a:r>
              <a:rPr lang="en-US" sz="1600">
                <a:solidFill>
                  <a:schemeClr val="bg1"/>
                </a:solidFill>
              </a:rPr>
              <a:t> building-blocks </a:t>
            </a:r>
          </a:p>
          <a:p>
            <a:pPr marL="174625" indent="-17462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bg1"/>
                </a:solidFill>
              </a:rPr>
              <a:t>Pre-fabricated</a:t>
            </a:r>
            <a:r>
              <a:rPr lang="en-US" sz="1600">
                <a:solidFill>
                  <a:schemeClr val="bg1"/>
                </a:solidFill>
              </a:rPr>
              <a:t> </a:t>
            </a:r>
            <a:r>
              <a:rPr lang="en-US" sz="1600" b="1">
                <a:solidFill>
                  <a:schemeClr val="bg1"/>
                </a:solidFill>
              </a:rPr>
              <a:t>groups</a:t>
            </a:r>
            <a:r>
              <a:rPr lang="en-US" sz="1600">
                <a:solidFill>
                  <a:schemeClr val="bg1"/>
                </a:solidFill>
              </a:rPr>
              <a:t> with pre-defined interfaces</a:t>
            </a:r>
          </a:p>
          <a:p>
            <a:pPr marL="174625" indent="-17462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</a:rPr>
              <a:t>Integrated </a:t>
            </a:r>
            <a:r>
              <a:rPr lang="en-US" sz="1600" b="1">
                <a:solidFill>
                  <a:schemeClr val="bg1"/>
                </a:solidFill>
              </a:rPr>
              <a:t>digital engineering </a:t>
            </a:r>
            <a:r>
              <a:rPr lang="en-US" sz="1600">
                <a:solidFill>
                  <a:schemeClr val="bg1"/>
                </a:solidFill>
              </a:rPr>
              <a:t>tools 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BAD22885-EB04-4F04-8487-AD574A821C9F}"/>
              </a:ext>
            </a:extLst>
          </p:cNvPr>
          <p:cNvSpPr>
            <a:spLocks/>
          </p:cNvSpPr>
          <p:nvPr/>
        </p:nvSpPr>
        <p:spPr>
          <a:xfrm>
            <a:off x="7624999" y="2206891"/>
            <a:ext cx="2197569" cy="15888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6C3D71C-3ACE-430E-87B2-9B871AF15696}"/>
              </a:ext>
            </a:extLst>
          </p:cNvPr>
          <p:cNvGrpSpPr/>
          <p:nvPr/>
        </p:nvGrpSpPr>
        <p:grpSpPr>
          <a:xfrm>
            <a:off x="954013" y="4469041"/>
            <a:ext cx="4815034" cy="161583"/>
            <a:chOff x="1016173" y="2926276"/>
            <a:chExt cx="4815034" cy="161583"/>
          </a:xfrm>
        </p:grpSpPr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49AAFE2F-6ECF-46A0-9C75-DBCFE0E6E72A}"/>
                </a:ext>
              </a:extLst>
            </p:cNvPr>
            <p:cNvSpPr txBox="1">
              <a:spLocks/>
            </p:cNvSpPr>
            <p:nvPr/>
          </p:nvSpPr>
          <p:spPr>
            <a:xfrm>
              <a:off x="3124577" y="2926276"/>
              <a:ext cx="2706630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50" err="1"/>
                <a:t>Silyzer</a:t>
              </a:r>
              <a:r>
                <a:rPr lang="en-US" sz="1050"/>
                <a:t> 300 array system design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DFD880A4-1BE4-4927-BE6F-3C8B4576CFA5}"/>
                </a:ext>
              </a:extLst>
            </p:cNvPr>
            <p:cNvSpPr txBox="1">
              <a:spLocks/>
            </p:cNvSpPr>
            <p:nvPr/>
          </p:nvSpPr>
          <p:spPr>
            <a:xfrm>
              <a:off x="1016173" y="2926276"/>
              <a:ext cx="1977177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050"/>
                <a:t>Pre-fabricated group of 4 stacks 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2C8E467-D22E-451B-A8AA-47B75854BAAC}"/>
              </a:ext>
            </a:extLst>
          </p:cNvPr>
          <p:cNvGrpSpPr/>
          <p:nvPr/>
        </p:nvGrpSpPr>
        <p:grpSpPr>
          <a:xfrm>
            <a:off x="919437" y="1539788"/>
            <a:ext cx="4884185" cy="1498521"/>
            <a:chOff x="947022" y="3192859"/>
            <a:chExt cx="4884185" cy="1498521"/>
          </a:xfrm>
        </p:grpSpPr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F7515DF5-FD82-4AD0-8D37-EAB76EDD28EE}"/>
                </a:ext>
              </a:extLst>
            </p:cNvPr>
            <p:cNvSpPr txBox="1">
              <a:spLocks/>
            </p:cNvSpPr>
            <p:nvPr/>
          </p:nvSpPr>
          <p:spPr>
            <a:xfrm>
              <a:off x="3124577" y="4529797"/>
              <a:ext cx="2706630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50"/>
                <a:t>50 MW plant design based on </a:t>
              </a:r>
              <a:r>
                <a:rPr lang="en-US" sz="1050" err="1"/>
                <a:t>Silyzer</a:t>
              </a:r>
              <a:r>
                <a:rPr lang="en-US" sz="1050"/>
                <a:t> 300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428AC1CB-D538-486C-A77B-31C0C0DC6808}"/>
                </a:ext>
              </a:extLst>
            </p:cNvPr>
            <p:cNvSpPr txBox="1">
              <a:spLocks/>
            </p:cNvSpPr>
            <p:nvPr/>
          </p:nvSpPr>
          <p:spPr>
            <a:xfrm>
              <a:off x="1001588" y="4529797"/>
              <a:ext cx="2006346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50"/>
                <a:t>Digital engineering</a:t>
              </a:r>
            </a:p>
          </p:txBody>
        </p:sp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6AA7E01F-FF66-48E5-8CAD-451837B88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47022" y="3192859"/>
              <a:ext cx="2115478" cy="1339090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D229FBD0-33A9-4436-B1F7-B0ED9E5A44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63690" y="3599781"/>
              <a:ext cx="1482143" cy="653584"/>
            </a:xfrm>
            <a:prstGeom prst="rect">
              <a:avLst/>
            </a:prstGeom>
          </p:spPr>
        </p:pic>
      </p:grpSp>
      <p:sp>
        <p:nvSpPr>
          <p:cNvPr id="5" name="Rechteck 4">
            <a:extLst>
              <a:ext uri="{FF2B5EF4-FFF2-40B4-BE49-F238E27FC236}">
                <a16:creationId xmlns:a16="http://schemas.microsoft.com/office/drawing/2014/main" id="{8F984CCF-100D-47AE-B59F-9366C4571557}"/>
              </a:ext>
            </a:extLst>
          </p:cNvPr>
          <p:cNvSpPr/>
          <p:nvPr/>
        </p:nvSpPr>
        <p:spPr>
          <a:xfrm>
            <a:off x="627063" y="1414464"/>
            <a:ext cx="5468937" cy="3503878"/>
          </a:xfrm>
          <a:prstGeom prst="rect">
            <a:avLst/>
          </a:prstGeom>
          <a:ln w="19050" cap="rnd">
            <a:gradFill flip="none" rotWithShape="1">
              <a:gsLst>
                <a:gs pos="46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CB94CF4-D4CC-4B26-AD37-97B0C0B2DC70}"/>
              </a:ext>
            </a:extLst>
          </p:cNvPr>
          <p:cNvSpPr>
            <a:spLocks/>
          </p:cNvSpPr>
          <p:nvPr/>
        </p:nvSpPr>
        <p:spPr>
          <a:xfrm>
            <a:off x="6246267" y="1414464"/>
            <a:ext cx="5468937" cy="3503878"/>
          </a:xfrm>
          <a:prstGeom prst="rect">
            <a:avLst/>
          </a:prstGeom>
          <a:ln w="19050" cap="rnd">
            <a:gradFill flip="none" rotWithShape="1">
              <a:gsLst>
                <a:gs pos="4600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54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EBB0041-B840-0B29-302A-34D7AE1FF0D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295" y="3167129"/>
            <a:ext cx="2151761" cy="1211083"/>
          </a:xfrm>
          <a:prstGeom prst="rect">
            <a:avLst/>
          </a:prstGeom>
        </p:spPr>
      </p:pic>
      <p:pic>
        <p:nvPicPr>
          <p:cNvPr id="14" name="Grafik 13" descr="Ein Bild, das Elektronik enthält.&#10;&#10;Automatisch generierte Beschreibung">
            <a:extLst>
              <a:ext uri="{FF2B5EF4-FFF2-40B4-BE49-F238E27FC236}">
                <a16:creationId xmlns:a16="http://schemas.microsoft.com/office/drawing/2014/main" id="{8A06D34F-FDA7-9C0E-18FE-62DF7FBB3FC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154" y="2497464"/>
            <a:ext cx="4294366" cy="205236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3F57C94-3CE6-BD7E-10BD-54ED8D4D890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3381" y="1606926"/>
            <a:ext cx="3179282" cy="2120556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EAD9994-272B-C4DA-3546-4AC6CCEF49E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62819" y="1684715"/>
            <a:ext cx="2368081" cy="1021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2450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88E16B51-7FB1-401C-96DB-FD91D72D39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4" imgH="623" progId="TCLayout.ActiveDocument.1">
                  <p:embed/>
                </p:oleObj>
              </mc:Choice>
              <mc:Fallback>
                <p:oleObj name="think-cell Folie" r:id="rId4" imgW="624" imgH="623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88E16B51-7FB1-401C-96DB-FD91D72D3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F39345C-0211-4EC3-A661-254F4D27EB19}"/>
              </a:ext>
            </a:extLst>
          </p:cNvPr>
          <p:cNvSpPr/>
          <p:nvPr/>
        </p:nvSpPr>
        <p:spPr>
          <a:xfrm>
            <a:off x="-1" y="1414465"/>
            <a:ext cx="12192000" cy="47479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cxnSp>
        <p:nvCxnSpPr>
          <p:cNvPr id="19" name="Line 3">
            <a:extLst>
              <a:ext uri="{FF2B5EF4-FFF2-40B4-BE49-F238E27FC236}">
                <a16:creationId xmlns:a16="http://schemas.microsoft.com/office/drawing/2014/main" id="{5BB1E303-7D07-4142-9D9A-57A6F9BE01ED}"/>
              </a:ext>
            </a:extLst>
          </p:cNvPr>
          <p:cNvCxnSpPr>
            <a:cxnSpLocks/>
          </p:cNvCxnSpPr>
          <p:nvPr/>
        </p:nvCxnSpPr>
        <p:spPr>
          <a:xfrm flipV="1">
            <a:off x="5599475" y="1972089"/>
            <a:ext cx="6125192" cy="1"/>
          </a:xfrm>
          <a:prstGeom prst="line">
            <a:avLst/>
          </a:prstGeom>
          <a:ln w="19050" cap="rnd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206C3BE3-2B96-4FE7-A430-71CB4CD48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eady to deliver large-scale electrolysis systems</a:t>
            </a:r>
            <a:br>
              <a:rPr lang="en-US"/>
            </a:br>
            <a:r>
              <a:rPr lang="en-US" b="0"/>
              <a:t>+ capacity increase in Germany is locked and loaded </a:t>
            </a:r>
          </a:p>
        </p:txBody>
      </p:sp>
      <p:sp>
        <p:nvSpPr>
          <p:cNvPr id="5" name="Box 1">
            <a:extLst>
              <a:ext uri="{FF2B5EF4-FFF2-40B4-BE49-F238E27FC236}">
                <a16:creationId xmlns:a16="http://schemas.microsoft.com/office/drawing/2014/main" id="{40F50203-201B-46C3-A904-D94C7829763D}"/>
              </a:ext>
            </a:extLst>
          </p:cNvPr>
          <p:cNvSpPr>
            <a:spLocks/>
          </p:cNvSpPr>
          <p:nvPr/>
        </p:nvSpPr>
        <p:spPr bwMode="gray">
          <a:xfrm>
            <a:off x="627065" y="2963103"/>
            <a:ext cx="3467099" cy="97194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lIns="45720" tIns="45720" rIns="45720" bIns="45720" rtlCol="0" anchor="t"/>
          <a:lstStyle/>
          <a:p>
            <a:pPr marL="168270" lvl="1" indent="-168270" defTabSz="914377"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400">
                <a:solidFill>
                  <a:schemeClr val="bg2"/>
                </a:solidFill>
                <a:ea typeface="Arial Unicode MS"/>
                <a:cs typeface="Arial" pitchFamily="34" charset="0"/>
              </a:rPr>
              <a:t>Implementation of </a:t>
            </a:r>
            <a:r>
              <a:rPr lang="en-US" sz="1400" b="1">
                <a:solidFill>
                  <a:schemeClr val="bg2"/>
                </a:solidFill>
                <a:ea typeface="Arial Unicode MS"/>
                <a:cs typeface="Times New Roman" panose="02020603050405020304" pitchFamily="18" charset="0"/>
              </a:rPr>
              <a:t>modern robots</a:t>
            </a:r>
            <a:endParaRPr lang="de-DE" sz="1400" b="1">
              <a:solidFill>
                <a:schemeClr val="bg2"/>
              </a:solidFill>
              <a:ea typeface="Arial Unicode MS"/>
              <a:cs typeface="Times New Roman" panose="02020603050405020304" pitchFamily="18" charset="0"/>
            </a:endParaRPr>
          </a:p>
          <a:p>
            <a:pPr marL="168270" lvl="1" indent="-168270" defTabSz="914377"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400" b="1">
                <a:solidFill>
                  <a:schemeClr val="bg2"/>
                </a:solidFill>
                <a:ea typeface="Arial Unicode MS"/>
                <a:cs typeface="Times New Roman" panose="02020603050405020304" pitchFamily="18" charset="0"/>
              </a:rPr>
              <a:t>Fully automated </a:t>
            </a:r>
            <a:r>
              <a:rPr lang="en-US" sz="1400">
                <a:solidFill>
                  <a:schemeClr val="bg2"/>
                </a:solidFill>
                <a:ea typeface="Arial Unicode MS"/>
                <a:cs typeface="Arial" pitchFamily="34" charset="0"/>
              </a:rPr>
              <a:t>production line</a:t>
            </a:r>
          </a:p>
          <a:p>
            <a:pPr marL="168270" lvl="1" indent="-168270" defTabSz="914377"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400" b="1">
                <a:solidFill>
                  <a:schemeClr val="bg2"/>
                </a:solidFill>
                <a:ea typeface="Arial Unicode MS"/>
                <a:cs typeface="Times New Roman" panose="02020603050405020304" pitchFamily="18" charset="0"/>
              </a:rPr>
              <a:t>Industry 4.0 Digitalization </a:t>
            </a:r>
            <a:r>
              <a:rPr lang="en-US" sz="1400">
                <a:solidFill>
                  <a:schemeClr val="bg2"/>
                </a:solidFill>
                <a:ea typeface="Arial Unicode MS"/>
                <a:cs typeface="Arial" pitchFamily="34" charset="0"/>
              </a:rPr>
              <a:t>implemented</a:t>
            </a:r>
            <a:endParaRPr lang="de-DE" sz="1400" b="1">
              <a:solidFill>
                <a:schemeClr val="bg2"/>
              </a:solidFill>
            </a:endParaRPr>
          </a:p>
        </p:txBody>
      </p:sp>
      <p:sp>
        <p:nvSpPr>
          <p:cNvPr id="8" name="Box 1">
            <a:extLst>
              <a:ext uri="{FF2B5EF4-FFF2-40B4-BE49-F238E27FC236}">
                <a16:creationId xmlns:a16="http://schemas.microsoft.com/office/drawing/2014/main" id="{412538F2-6325-4F29-98AF-0B504501965D}"/>
              </a:ext>
            </a:extLst>
          </p:cNvPr>
          <p:cNvSpPr>
            <a:spLocks/>
          </p:cNvSpPr>
          <p:nvPr/>
        </p:nvSpPr>
        <p:spPr bwMode="gray">
          <a:xfrm>
            <a:off x="8283968" y="2955513"/>
            <a:ext cx="3467099" cy="971944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lIns="45720" tIns="45720" rIns="45720" bIns="45720" rtlCol="0" anchor="t"/>
          <a:lstStyle/>
          <a:p>
            <a:pPr marL="173034" lvl="1" indent="-173034" defTabSz="914377"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r>
              <a:rPr lang="en-US" sz="1400" b="1">
                <a:solidFill>
                  <a:schemeClr val="bg2"/>
                </a:solidFill>
                <a:ea typeface="Arial Unicode MS"/>
                <a:cs typeface="Times New Roman" panose="02020603050405020304" pitchFamily="18" charset="0"/>
              </a:rPr>
              <a:t>Capacity growth plan locked-in </a:t>
            </a:r>
            <a:r>
              <a:rPr lang="en-US" sz="1400">
                <a:solidFill>
                  <a:schemeClr val="bg2"/>
                </a:solidFill>
                <a:ea typeface="Arial Unicode MS"/>
                <a:cs typeface="Arial" pitchFamily="34" charset="0"/>
              </a:rPr>
              <a:t>and layouts finalized</a:t>
            </a:r>
          </a:p>
          <a:p>
            <a:pPr marL="173034" lvl="1" indent="-173034" defTabSz="914377"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r>
              <a:rPr lang="en-US" sz="1400" b="1">
                <a:solidFill>
                  <a:schemeClr val="bg2"/>
                </a:solidFill>
                <a:cs typeface="Times New Roman" panose="02020603050405020304" pitchFamily="18" charset="0"/>
              </a:rPr>
              <a:t>Additional 1 GW per year </a:t>
            </a:r>
            <a:r>
              <a:rPr lang="en-US" sz="1400">
                <a:solidFill>
                  <a:schemeClr val="bg2"/>
                </a:solidFill>
                <a:cs typeface="Times New Roman" panose="02020603050405020304" pitchFamily="18" charset="0"/>
              </a:rPr>
              <a:t>depending on demand</a:t>
            </a:r>
          </a:p>
          <a:p>
            <a:pPr marL="285744" lvl="1" indent="-285744" defTabSz="914377"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endParaRPr lang="en-US" sz="1400" b="1">
              <a:solidFill>
                <a:schemeClr val="bg2"/>
              </a:solidFill>
              <a:ea typeface="Arial Unicode MS"/>
              <a:cs typeface="Times New Roman" panose="02020603050405020304" pitchFamily="18" charset="0"/>
            </a:endParaRPr>
          </a:p>
          <a:p>
            <a:pPr lvl="1" defTabSz="914377">
              <a:spcAft>
                <a:spcPts val="300"/>
              </a:spcAft>
              <a:buClr>
                <a:srgbClr val="3C464B"/>
              </a:buClr>
              <a:tabLst>
                <a:tab pos="0" algn="l"/>
              </a:tabLst>
              <a:defRPr/>
            </a:pPr>
            <a:endParaRPr lang="en-US" sz="1400">
              <a:solidFill>
                <a:schemeClr val="bg2"/>
              </a:solidFill>
              <a:ea typeface="Arial Unicode MS"/>
              <a:cs typeface="Arial" pitchFamily="34" charset="0"/>
            </a:endParaRPr>
          </a:p>
        </p:txBody>
      </p:sp>
      <p:sp>
        <p:nvSpPr>
          <p:cNvPr id="13" name="Bullet 1">
            <a:extLst>
              <a:ext uri="{FF2B5EF4-FFF2-40B4-BE49-F238E27FC236}">
                <a16:creationId xmlns:a16="http://schemas.microsoft.com/office/drawing/2014/main" id="{9F3CDD11-119F-492B-B2DC-559AF8C1AFDB}"/>
              </a:ext>
            </a:extLst>
          </p:cNvPr>
          <p:cNvSpPr>
            <a:spLocks noChangeAspect="1"/>
          </p:cNvSpPr>
          <p:nvPr/>
        </p:nvSpPr>
        <p:spPr>
          <a:xfrm>
            <a:off x="818481" y="1703528"/>
            <a:ext cx="565185" cy="56518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>
              <a:lnSpc>
                <a:spcPct val="90000"/>
              </a:lnSpc>
              <a:defRPr/>
            </a:pPr>
            <a:r>
              <a:rPr lang="de-DE" sz="1400" b="1">
                <a:solidFill>
                  <a:schemeClr val="tx1"/>
                </a:solidFill>
                <a:latin typeface="Arial"/>
                <a:cs typeface="Times New Roman" panose="02020603050405020304" pitchFamily="18" charset="0"/>
              </a:rPr>
              <a:t>2021</a:t>
            </a:r>
          </a:p>
        </p:txBody>
      </p:sp>
      <p:cxnSp>
        <p:nvCxnSpPr>
          <p:cNvPr id="14" name="Line 1">
            <a:extLst>
              <a:ext uri="{FF2B5EF4-FFF2-40B4-BE49-F238E27FC236}">
                <a16:creationId xmlns:a16="http://schemas.microsoft.com/office/drawing/2014/main" id="{C7D8D6E6-C11A-4CAE-80A7-4F98ECC972C9}"/>
              </a:ext>
            </a:extLst>
          </p:cNvPr>
          <p:cNvCxnSpPr>
            <a:cxnSpLocks/>
            <a:stCxn id="13" idx="6"/>
            <a:endCxn id="18" idx="2"/>
          </p:cNvCxnSpPr>
          <p:nvPr/>
        </p:nvCxnSpPr>
        <p:spPr>
          <a:xfrm>
            <a:off x="1383666" y="1986119"/>
            <a:ext cx="4208455" cy="0"/>
          </a:xfrm>
          <a:prstGeom prst="line">
            <a:avLst/>
          </a:prstGeom>
          <a:ln w="19050" cap="rnd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Bullet 3">
            <a:extLst>
              <a:ext uri="{FF2B5EF4-FFF2-40B4-BE49-F238E27FC236}">
                <a16:creationId xmlns:a16="http://schemas.microsoft.com/office/drawing/2014/main" id="{502DF63B-FDD3-43DD-B5CD-E1F1ABB51A94}"/>
              </a:ext>
            </a:extLst>
          </p:cNvPr>
          <p:cNvSpPr>
            <a:spLocks noChangeAspect="1"/>
          </p:cNvSpPr>
          <p:nvPr/>
        </p:nvSpPr>
        <p:spPr>
          <a:xfrm>
            <a:off x="5592121" y="1703528"/>
            <a:ext cx="565185" cy="56518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1400" b="1">
                <a:solidFill>
                  <a:schemeClr val="tx1"/>
                </a:solidFill>
                <a:latin typeface="Arial"/>
                <a:cs typeface="Times New Roman" panose="02020603050405020304" pitchFamily="18" charset="0"/>
              </a:rPr>
              <a:t>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C013A75-5DE4-40F4-97B4-FD7CCAF98986}"/>
              </a:ext>
            </a:extLst>
          </p:cNvPr>
          <p:cNvSpPr txBox="1"/>
          <p:nvPr/>
        </p:nvSpPr>
        <p:spPr>
          <a:xfrm>
            <a:off x="1488328" y="1704976"/>
            <a:ext cx="914400" cy="2601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defRPr/>
            </a:pPr>
            <a:r>
              <a:rPr lang="en-US" sz="1400">
                <a:solidFill>
                  <a:schemeClr val="accent3"/>
                </a:solidFill>
              </a:rPr>
              <a:t>Erlange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2699583-6E17-40B9-AB80-56335DCB1A59}"/>
              </a:ext>
            </a:extLst>
          </p:cNvPr>
          <p:cNvSpPr txBox="1"/>
          <p:nvPr/>
        </p:nvSpPr>
        <p:spPr>
          <a:xfrm>
            <a:off x="6259303" y="1725994"/>
            <a:ext cx="914400" cy="2601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defRPr/>
            </a:pPr>
            <a:r>
              <a:rPr lang="en-US" sz="1400">
                <a:solidFill>
                  <a:schemeClr val="accent3"/>
                </a:solidFill>
              </a:rPr>
              <a:t>Berlin + Erlangen</a:t>
            </a:r>
          </a:p>
        </p:txBody>
      </p:sp>
      <p:sp>
        <p:nvSpPr>
          <p:cNvPr id="28" name="Bullet 3">
            <a:extLst>
              <a:ext uri="{FF2B5EF4-FFF2-40B4-BE49-F238E27FC236}">
                <a16:creationId xmlns:a16="http://schemas.microsoft.com/office/drawing/2014/main" id="{1A012B21-C5A4-4F82-9933-85056DE0E4F7}"/>
              </a:ext>
            </a:extLst>
          </p:cNvPr>
          <p:cNvSpPr>
            <a:spLocks noChangeAspect="1"/>
          </p:cNvSpPr>
          <p:nvPr/>
        </p:nvSpPr>
        <p:spPr>
          <a:xfrm>
            <a:off x="8623109" y="1687753"/>
            <a:ext cx="565185" cy="56518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1400" b="1">
                <a:solidFill>
                  <a:schemeClr val="tx1"/>
                </a:solidFill>
                <a:latin typeface="Arial"/>
                <a:cs typeface="Times New Roman" panose="02020603050405020304" pitchFamily="18" charset="0"/>
              </a:rPr>
              <a:t>2025</a:t>
            </a:r>
          </a:p>
        </p:txBody>
      </p:sp>
      <p:sp>
        <p:nvSpPr>
          <p:cNvPr id="31" name="TextBox 20">
            <a:extLst>
              <a:ext uri="{FF2B5EF4-FFF2-40B4-BE49-F238E27FC236}">
                <a16:creationId xmlns:a16="http://schemas.microsoft.com/office/drawing/2014/main" id="{7AFC1B0D-9818-4B8A-9C73-BF898DF5E1E1}"/>
              </a:ext>
            </a:extLst>
          </p:cNvPr>
          <p:cNvSpPr txBox="1"/>
          <p:nvPr/>
        </p:nvSpPr>
        <p:spPr>
          <a:xfrm>
            <a:off x="9213436" y="1677940"/>
            <a:ext cx="914400" cy="26012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defRPr/>
            </a:pPr>
            <a:r>
              <a:rPr lang="en-US" sz="1400">
                <a:solidFill>
                  <a:schemeClr val="accent3"/>
                </a:solidFill>
              </a:rPr>
              <a:t>Berlin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69780A8-5ED3-4DE1-A177-103C725927BC}"/>
              </a:ext>
            </a:extLst>
          </p:cNvPr>
          <p:cNvSpPr txBox="1"/>
          <p:nvPr/>
        </p:nvSpPr>
        <p:spPr>
          <a:xfrm>
            <a:off x="8623108" y="2293860"/>
            <a:ext cx="1180659" cy="3954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1" defTabSz="914377" eaLnBrk="0" hangingPunct="0">
              <a:defRPr/>
            </a:pPr>
            <a:r>
              <a:rPr lang="de-DE" sz="1400" b="1">
                <a:solidFill>
                  <a:sysClr val="windowText" lastClr="000000"/>
                </a:solidFill>
                <a:cs typeface="Arial" panose="020B0604020202020204" pitchFamily="34" charset="0"/>
              </a:rPr>
              <a:t>3 GW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F08195C-F5FA-4BB2-B61E-5C871A376231}"/>
              </a:ext>
            </a:extLst>
          </p:cNvPr>
          <p:cNvSpPr txBox="1"/>
          <p:nvPr/>
        </p:nvSpPr>
        <p:spPr>
          <a:xfrm>
            <a:off x="5599475" y="2293860"/>
            <a:ext cx="11806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defTabSz="914377" eaLnBrk="0" hangingPunct="0">
              <a:defRPr/>
            </a:pPr>
            <a:r>
              <a:rPr lang="en-US" sz="1400" b="1">
                <a:solidFill>
                  <a:schemeClr val="bg2"/>
                </a:solidFill>
                <a:cs typeface="Arial" panose="020B0604020202020204" pitchFamily="34" charset="0"/>
              </a:rPr>
              <a:t>1 GW</a:t>
            </a:r>
            <a:endParaRPr lang="de-DE" sz="1400" b="1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62" name="Bullet 3">
            <a:extLst>
              <a:ext uri="{FF2B5EF4-FFF2-40B4-BE49-F238E27FC236}">
                <a16:creationId xmlns:a16="http://schemas.microsoft.com/office/drawing/2014/main" id="{979D1456-24B4-480C-A5A9-38DAB3CBE518}"/>
              </a:ext>
            </a:extLst>
          </p:cNvPr>
          <p:cNvSpPr>
            <a:spLocks noChangeAspect="1"/>
          </p:cNvSpPr>
          <p:nvPr/>
        </p:nvSpPr>
        <p:spPr>
          <a:xfrm>
            <a:off x="10284913" y="2058723"/>
            <a:ext cx="720000" cy="7200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1400" b="1">
                <a:solidFill>
                  <a:srgbClr val="1B1534"/>
                </a:solidFill>
                <a:latin typeface="Arial"/>
                <a:cs typeface="Times New Roman" panose="02020603050405020304" pitchFamily="18" charset="0"/>
              </a:rPr>
              <a:t>1GW/year</a:t>
            </a:r>
          </a:p>
        </p:txBody>
      </p:sp>
      <p:sp>
        <p:nvSpPr>
          <p:cNvPr id="63" name="Cross 62">
            <a:extLst>
              <a:ext uri="{FF2B5EF4-FFF2-40B4-BE49-F238E27FC236}">
                <a16:creationId xmlns:a16="http://schemas.microsoft.com/office/drawing/2014/main" id="{2B24A3E3-16E7-48C0-AF2D-B55E204D5A1D}"/>
              </a:ext>
            </a:extLst>
          </p:cNvPr>
          <p:cNvSpPr/>
          <p:nvPr/>
        </p:nvSpPr>
        <p:spPr>
          <a:xfrm>
            <a:off x="9718783" y="2202800"/>
            <a:ext cx="431845" cy="431845"/>
          </a:xfrm>
          <a:prstGeom prst="plus">
            <a:avLst>
              <a:gd name="adj" fmla="val 40124"/>
            </a:avLst>
          </a:prstGeom>
          <a:solidFill>
            <a:srgbClr val="1F163A"/>
          </a:solidFill>
          <a:ln w="28575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>
              <a:ln w="38100">
                <a:solidFill>
                  <a:schemeClr val="accent3">
                    <a:lumMod val="60000"/>
                    <a:lumOff val="40000"/>
                  </a:schemeClr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9" name="Picture 8" descr="A machine in a factory&#10;&#10;Description automatically generated with low confidence">
            <a:extLst>
              <a:ext uri="{FF2B5EF4-FFF2-40B4-BE49-F238E27FC236}">
                <a16:creationId xmlns:a16="http://schemas.microsoft.com/office/drawing/2014/main" id="{6AF00E12-A75A-4A27-9F52-803B54E12B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" b="-138"/>
          <a:stretch/>
        </p:blipFill>
        <p:spPr>
          <a:xfrm>
            <a:off x="627063" y="4018149"/>
            <a:ext cx="3292351" cy="1860436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69BE7BF-F9D7-40FC-ABA4-2400024361F2}"/>
              </a:ext>
            </a:extLst>
          </p:cNvPr>
          <p:cNvSpPr txBox="1"/>
          <p:nvPr/>
        </p:nvSpPr>
        <p:spPr>
          <a:xfrm>
            <a:off x="811260" y="2293860"/>
            <a:ext cx="26279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defTabSz="914377" eaLnBrk="0" hangingPunct="0">
              <a:defRPr/>
            </a:pPr>
            <a:r>
              <a:rPr lang="de-DE" sz="1400" b="1">
                <a:solidFill>
                  <a:schemeClr val="bg2"/>
                </a:solidFill>
                <a:cs typeface="Arial" panose="020B0604020202020204" pitchFamily="34" charset="0"/>
              </a:rPr>
              <a:t>250 MW  -   750 MW</a:t>
            </a:r>
            <a:endParaRPr lang="de-DE" sz="1400" b="1" baseline="30000">
              <a:solidFill>
                <a:schemeClr val="bg2"/>
              </a:solidFill>
              <a:ea typeface="Arial Unicode MS"/>
              <a:cs typeface="Arial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79F3C43-D1B2-41F1-82A3-5904385605A6}"/>
              </a:ext>
            </a:extLst>
          </p:cNvPr>
          <p:cNvSpPr txBox="1"/>
          <p:nvPr/>
        </p:nvSpPr>
        <p:spPr>
          <a:xfrm>
            <a:off x="4346017" y="2963102"/>
            <a:ext cx="3573572" cy="992579"/>
          </a:xfrm>
          <a:prstGeom prst="rect">
            <a:avLst/>
          </a:prstGeom>
          <a:noFill/>
        </p:spPr>
        <p:txBody>
          <a:bodyPr wrap="square" lIns="45720" tIns="45720" rIns="45720" bIns="45720">
            <a:spAutoFit/>
          </a:bodyPr>
          <a:lstStyle/>
          <a:p>
            <a:pPr marL="173034" lvl="1" indent="-173034"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r>
              <a:rPr lang="en-US" sz="1400" b="1">
                <a:solidFill>
                  <a:schemeClr val="bg2"/>
                </a:solidFill>
                <a:ea typeface="Arial Unicode MS"/>
                <a:cs typeface="Times New Roman" panose="02020603050405020304" pitchFamily="18" charset="0"/>
              </a:rPr>
              <a:t>Inhouse design </a:t>
            </a:r>
            <a:r>
              <a:rPr lang="en-US" sz="1400">
                <a:solidFill>
                  <a:schemeClr val="bg2"/>
                </a:solidFill>
                <a:ea typeface="Arial Unicode MS"/>
                <a:cs typeface="Times New Roman" panose="02020603050405020304" pitchFamily="18" charset="0"/>
              </a:rPr>
              <a:t>allows for internal and external local packaging</a:t>
            </a:r>
          </a:p>
          <a:p>
            <a:pPr marL="173034" lvl="1" indent="-173034"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r>
              <a:rPr lang="en-US" sz="1400" b="1">
                <a:solidFill>
                  <a:schemeClr val="bg2"/>
                </a:solidFill>
                <a:cs typeface="Times New Roman" panose="02020603050405020304" pitchFamily="18" charset="0"/>
              </a:rPr>
              <a:t>Packaging </a:t>
            </a:r>
            <a:r>
              <a:rPr lang="en-US" sz="1400">
                <a:solidFill>
                  <a:schemeClr val="bg2"/>
                </a:solidFill>
                <a:cs typeface="Times New Roman" panose="02020603050405020304" pitchFamily="18" charset="0"/>
              </a:rPr>
              <a:t>will be established depending on the development of the market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3D44DD5-9EEC-A9AC-FF03-CBF0C286467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57"/>
          <a:stretch/>
        </p:blipFill>
        <p:spPr>
          <a:xfrm>
            <a:off x="4422683" y="4018148"/>
            <a:ext cx="3469244" cy="18680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3B29ED-40F7-9036-CE39-1986FFBF586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07"/>
          <a:stretch/>
        </p:blipFill>
        <p:spPr>
          <a:xfrm>
            <a:off x="8342098" y="4039524"/>
            <a:ext cx="3292351" cy="1868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3924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5432B2B-E651-4385-00CC-850072775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/>
              <a:t>Industrial scale production of Electrolyzer with up </a:t>
            </a: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o </a:t>
            </a:r>
            <a:b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1GW in 2023 and 3GW in 2025</a:t>
            </a:r>
            <a:endParaRPr lang="de-DE"/>
          </a:p>
        </p:txBody>
      </p:sp>
      <p:grpSp>
        <p:nvGrpSpPr>
          <p:cNvPr id="5" name="Google Shape;446;p35">
            <a:extLst>
              <a:ext uri="{FF2B5EF4-FFF2-40B4-BE49-F238E27FC236}">
                <a16:creationId xmlns:a16="http://schemas.microsoft.com/office/drawing/2014/main" id="{7EA11A69-7F03-A9B9-3489-48751DBE6EE1}"/>
              </a:ext>
            </a:extLst>
          </p:cNvPr>
          <p:cNvGrpSpPr/>
          <p:nvPr/>
        </p:nvGrpSpPr>
        <p:grpSpPr>
          <a:xfrm>
            <a:off x="7356773" y="1713951"/>
            <a:ext cx="1361316" cy="1846229"/>
            <a:chOff x="4464027" y="1571752"/>
            <a:chExt cx="3270297" cy="4435210"/>
          </a:xfrm>
        </p:grpSpPr>
        <p:sp>
          <p:nvSpPr>
            <p:cNvPr id="6" name="Google Shape;447;p35">
              <a:extLst>
                <a:ext uri="{FF2B5EF4-FFF2-40B4-BE49-F238E27FC236}">
                  <a16:creationId xmlns:a16="http://schemas.microsoft.com/office/drawing/2014/main" id="{7A422A77-07BF-8941-9899-C00F4BE6A3DB}"/>
                </a:ext>
              </a:extLst>
            </p:cNvPr>
            <p:cNvSpPr/>
            <p:nvPr/>
          </p:nvSpPr>
          <p:spPr>
            <a:xfrm>
              <a:off x="7020420" y="2937440"/>
              <a:ext cx="230921" cy="173961"/>
            </a:xfrm>
            <a:custGeom>
              <a:avLst/>
              <a:gdLst/>
              <a:ahLst/>
              <a:cxnLst/>
              <a:rect l="l" t="t" r="r" b="b"/>
              <a:pathLst>
                <a:path w="70" h="53" extrusionOk="0">
                  <a:moveTo>
                    <a:pt x="4" y="26"/>
                  </a:moveTo>
                  <a:cubicBezTo>
                    <a:pt x="4" y="24"/>
                    <a:pt x="5" y="11"/>
                    <a:pt x="5" y="10"/>
                  </a:cubicBezTo>
                  <a:cubicBezTo>
                    <a:pt x="5" y="9"/>
                    <a:pt x="16" y="1"/>
                    <a:pt x="18" y="1"/>
                  </a:cubicBezTo>
                  <a:cubicBezTo>
                    <a:pt x="20" y="0"/>
                    <a:pt x="36" y="0"/>
                    <a:pt x="38" y="0"/>
                  </a:cubicBezTo>
                  <a:cubicBezTo>
                    <a:pt x="40" y="0"/>
                    <a:pt x="56" y="14"/>
                    <a:pt x="58" y="16"/>
                  </a:cubicBezTo>
                  <a:cubicBezTo>
                    <a:pt x="60" y="17"/>
                    <a:pt x="54" y="26"/>
                    <a:pt x="54" y="27"/>
                  </a:cubicBezTo>
                  <a:cubicBezTo>
                    <a:pt x="53" y="28"/>
                    <a:pt x="70" y="35"/>
                    <a:pt x="70" y="35"/>
                  </a:cubicBezTo>
                  <a:cubicBezTo>
                    <a:pt x="69" y="36"/>
                    <a:pt x="59" y="53"/>
                    <a:pt x="59" y="53"/>
                  </a:cubicBezTo>
                  <a:cubicBezTo>
                    <a:pt x="59" y="53"/>
                    <a:pt x="34" y="44"/>
                    <a:pt x="29" y="44"/>
                  </a:cubicBezTo>
                  <a:cubicBezTo>
                    <a:pt x="25" y="44"/>
                    <a:pt x="5" y="44"/>
                    <a:pt x="2" y="44"/>
                  </a:cubicBezTo>
                  <a:cubicBezTo>
                    <a:pt x="0" y="44"/>
                    <a:pt x="4" y="28"/>
                    <a:pt x="4" y="26"/>
                  </a:cubicBezTo>
                  <a:close/>
                </a:path>
              </a:pathLst>
            </a:custGeom>
            <a:solidFill>
              <a:srgbClr val="855C9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Google Shape;448;p35">
              <a:extLst>
                <a:ext uri="{FF2B5EF4-FFF2-40B4-BE49-F238E27FC236}">
                  <a16:creationId xmlns:a16="http://schemas.microsoft.com/office/drawing/2014/main" id="{82900BF3-5F84-5972-496E-FA745D8675F9}"/>
                </a:ext>
              </a:extLst>
            </p:cNvPr>
            <p:cNvSpPr/>
            <p:nvPr/>
          </p:nvSpPr>
          <p:spPr>
            <a:xfrm>
              <a:off x="6625252" y="3512975"/>
              <a:ext cx="1109072" cy="829161"/>
            </a:xfrm>
            <a:custGeom>
              <a:avLst/>
              <a:gdLst/>
              <a:ahLst/>
              <a:cxnLst/>
              <a:rect l="l" t="t" r="r" b="b"/>
              <a:pathLst>
                <a:path w="337" h="252" extrusionOk="0">
                  <a:moveTo>
                    <a:pt x="46" y="252"/>
                  </a:moveTo>
                  <a:cubicBezTo>
                    <a:pt x="41" y="251"/>
                    <a:pt x="35" y="231"/>
                    <a:pt x="31" y="229"/>
                  </a:cubicBezTo>
                  <a:cubicBezTo>
                    <a:pt x="27" y="227"/>
                    <a:pt x="14" y="231"/>
                    <a:pt x="14" y="231"/>
                  </a:cubicBezTo>
                  <a:cubicBezTo>
                    <a:pt x="11" y="228"/>
                    <a:pt x="0" y="211"/>
                    <a:pt x="0" y="211"/>
                  </a:cubicBezTo>
                  <a:cubicBezTo>
                    <a:pt x="0" y="207"/>
                    <a:pt x="5" y="194"/>
                    <a:pt x="9" y="191"/>
                  </a:cubicBezTo>
                  <a:cubicBezTo>
                    <a:pt x="13" y="188"/>
                    <a:pt x="24" y="184"/>
                    <a:pt x="27" y="181"/>
                  </a:cubicBezTo>
                  <a:cubicBezTo>
                    <a:pt x="30" y="179"/>
                    <a:pt x="42" y="169"/>
                    <a:pt x="42" y="169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69" y="129"/>
                    <a:pt x="69" y="129"/>
                    <a:pt x="69" y="129"/>
                  </a:cubicBezTo>
                  <a:cubicBezTo>
                    <a:pt x="69" y="129"/>
                    <a:pt x="46" y="101"/>
                    <a:pt x="44" y="100"/>
                  </a:cubicBezTo>
                  <a:cubicBezTo>
                    <a:pt x="43" y="99"/>
                    <a:pt x="40" y="98"/>
                    <a:pt x="37" y="97"/>
                  </a:cubicBezTo>
                  <a:cubicBezTo>
                    <a:pt x="34" y="96"/>
                    <a:pt x="31" y="95"/>
                    <a:pt x="31" y="93"/>
                  </a:cubicBezTo>
                  <a:cubicBezTo>
                    <a:pt x="29" y="90"/>
                    <a:pt x="25" y="72"/>
                    <a:pt x="24" y="67"/>
                  </a:cubicBezTo>
                  <a:cubicBezTo>
                    <a:pt x="24" y="61"/>
                    <a:pt x="29" y="24"/>
                    <a:pt x="29" y="21"/>
                  </a:cubicBezTo>
                  <a:cubicBezTo>
                    <a:pt x="29" y="17"/>
                    <a:pt x="62" y="7"/>
                    <a:pt x="66" y="7"/>
                  </a:cubicBezTo>
                  <a:cubicBezTo>
                    <a:pt x="70" y="6"/>
                    <a:pt x="103" y="0"/>
                    <a:pt x="106" y="0"/>
                  </a:cubicBezTo>
                  <a:cubicBezTo>
                    <a:pt x="107" y="0"/>
                    <a:pt x="112" y="2"/>
                    <a:pt x="117" y="4"/>
                  </a:cubicBezTo>
                  <a:cubicBezTo>
                    <a:pt x="122" y="7"/>
                    <a:pt x="129" y="10"/>
                    <a:pt x="131" y="13"/>
                  </a:cubicBezTo>
                  <a:cubicBezTo>
                    <a:pt x="136" y="17"/>
                    <a:pt x="136" y="38"/>
                    <a:pt x="136" y="40"/>
                  </a:cubicBezTo>
                  <a:cubicBezTo>
                    <a:pt x="136" y="43"/>
                    <a:pt x="155" y="38"/>
                    <a:pt x="160" y="38"/>
                  </a:cubicBezTo>
                  <a:cubicBezTo>
                    <a:pt x="165" y="38"/>
                    <a:pt x="180" y="49"/>
                    <a:pt x="186" y="49"/>
                  </a:cubicBezTo>
                  <a:cubicBezTo>
                    <a:pt x="193" y="49"/>
                    <a:pt x="224" y="43"/>
                    <a:pt x="227" y="41"/>
                  </a:cubicBezTo>
                  <a:cubicBezTo>
                    <a:pt x="230" y="39"/>
                    <a:pt x="233" y="20"/>
                    <a:pt x="236" y="20"/>
                  </a:cubicBezTo>
                  <a:cubicBezTo>
                    <a:pt x="239" y="20"/>
                    <a:pt x="251" y="22"/>
                    <a:pt x="256" y="21"/>
                  </a:cubicBezTo>
                  <a:cubicBezTo>
                    <a:pt x="262" y="20"/>
                    <a:pt x="274" y="14"/>
                    <a:pt x="275" y="14"/>
                  </a:cubicBezTo>
                  <a:cubicBezTo>
                    <a:pt x="277" y="13"/>
                    <a:pt x="283" y="16"/>
                    <a:pt x="283" y="16"/>
                  </a:cubicBezTo>
                  <a:cubicBezTo>
                    <a:pt x="286" y="16"/>
                    <a:pt x="296" y="8"/>
                    <a:pt x="300" y="5"/>
                  </a:cubicBezTo>
                  <a:cubicBezTo>
                    <a:pt x="300" y="5"/>
                    <a:pt x="302" y="12"/>
                    <a:pt x="305" y="14"/>
                  </a:cubicBezTo>
                  <a:cubicBezTo>
                    <a:pt x="310" y="16"/>
                    <a:pt x="319" y="17"/>
                    <a:pt x="324" y="23"/>
                  </a:cubicBezTo>
                  <a:cubicBezTo>
                    <a:pt x="329" y="29"/>
                    <a:pt x="327" y="32"/>
                    <a:pt x="328" y="40"/>
                  </a:cubicBezTo>
                  <a:cubicBezTo>
                    <a:pt x="329" y="47"/>
                    <a:pt x="335" y="49"/>
                    <a:pt x="336" y="54"/>
                  </a:cubicBezTo>
                  <a:cubicBezTo>
                    <a:pt x="337" y="58"/>
                    <a:pt x="333" y="65"/>
                    <a:pt x="332" y="70"/>
                  </a:cubicBezTo>
                  <a:cubicBezTo>
                    <a:pt x="331" y="76"/>
                    <a:pt x="327" y="96"/>
                    <a:pt x="326" y="102"/>
                  </a:cubicBezTo>
                  <a:cubicBezTo>
                    <a:pt x="325" y="108"/>
                    <a:pt x="314" y="129"/>
                    <a:pt x="313" y="132"/>
                  </a:cubicBezTo>
                  <a:cubicBezTo>
                    <a:pt x="311" y="136"/>
                    <a:pt x="298" y="127"/>
                    <a:pt x="295" y="126"/>
                  </a:cubicBezTo>
                  <a:cubicBezTo>
                    <a:pt x="291" y="126"/>
                    <a:pt x="292" y="111"/>
                    <a:pt x="290" y="106"/>
                  </a:cubicBezTo>
                  <a:cubicBezTo>
                    <a:pt x="288" y="102"/>
                    <a:pt x="279" y="98"/>
                    <a:pt x="274" y="96"/>
                  </a:cubicBezTo>
                  <a:cubicBezTo>
                    <a:pt x="269" y="95"/>
                    <a:pt x="260" y="97"/>
                    <a:pt x="257" y="97"/>
                  </a:cubicBezTo>
                  <a:cubicBezTo>
                    <a:pt x="255" y="97"/>
                    <a:pt x="253" y="107"/>
                    <a:pt x="253" y="109"/>
                  </a:cubicBezTo>
                  <a:cubicBezTo>
                    <a:pt x="253" y="111"/>
                    <a:pt x="266" y="113"/>
                    <a:pt x="269" y="115"/>
                  </a:cubicBezTo>
                  <a:cubicBezTo>
                    <a:pt x="271" y="117"/>
                    <a:pt x="267" y="124"/>
                    <a:pt x="267" y="124"/>
                  </a:cubicBezTo>
                  <a:cubicBezTo>
                    <a:pt x="267" y="124"/>
                    <a:pt x="249" y="131"/>
                    <a:pt x="244" y="133"/>
                  </a:cubicBezTo>
                  <a:cubicBezTo>
                    <a:pt x="239" y="135"/>
                    <a:pt x="228" y="136"/>
                    <a:pt x="224" y="139"/>
                  </a:cubicBezTo>
                  <a:cubicBezTo>
                    <a:pt x="220" y="142"/>
                    <a:pt x="215" y="140"/>
                    <a:pt x="214" y="143"/>
                  </a:cubicBezTo>
                  <a:cubicBezTo>
                    <a:pt x="213" y="146"/>
                    <a:pt x="217" y="155"/>
                    <a:pt x="212" y="156"/>
                  </a:cubicBezTo>
                  <a:cubicBezTo>
                    <a:pt x="207" y="156"/>
                    <a:pt x="196" y="156"/>
                    <a:pt x="192" y="156"/>
                  </a:cubicBezTo>
                  <a:cubicBezTo>
                    <a:pt x="188" y="156"/>
                    <a:pt x="182" y="158"/>
                    <a:pt x="179" y="158"/>
                  </a:cubicBezTo>
                  <a:cubicBezTo>
                    <a:pt x="175" y="158"/>
                    <a:pt x="178" y="175"/>
                    <a:pt x="170" y="176"/>
                  </a:cubicBezTo>
                  <a:cubicBezTo>
                    <a:pt x="162" y="176"/>
                    <a:pt x="162" y="169"/>
                    <a:pt x="157" y="171"/>
                  </a:cubicBezTo>
                  <a:cubicBezTo>
                    <a:pt x="153" y="173"/>
                    <a:pt x="145" y="180"/>
                    <a:pt x="143" y="182"/>
                  </a:cubicBezTo>
                  <a:cubicBezTo>
                    <a:pt x="141" y="184"/>
                    <a:pt x="143" y="194"/>
                    <a:pt x="140" y="196"/>
                  </a:cubicBezTo>
                  <a:cubicBezTo>
                    <a:pt x="137" y="199"/>
                    <a:pt x="126" y="197"/>
                    <a:pt x="123" y="197"/>
                  </a:cubicBezTo>
                  <a:cubicBezTo>
                    <a:pt x="121" y="197"/>
                    <a:pt x="124" y="205"/>
                    <a:pt x="121" y="208"/>
                  </a:cubicBezTo>
                  <a:cubicBezTo>
                    <a:pt x="119" y="210"/>
                    <a:pt x="113" y="214"/>
                    <a:pt x="111" y="214"/>
                  </a:cubicBezTo>
                  <a:cubicBezTo>
                    <a:pt x="108" y="214"/>
                    <a:pt x="103" y="205"/>
                    <a:pt x="97" y="206"/>
                  </a:cubicBezTo>
                  <a:cubicBezTo>
                    <a:pt x="92" y="206"/>
                    <a:pt x="69" y="212"/>
                    <a:pt x="65" y="216"/>
                  </a:cubicBezTo>
                  <a:cubicBezTo>
                    <a:pt x="62" y="220"/>
                    <a:pt x="57" y="232"/>
                    <a:pt x="54" y="236"/>
                  </a:cubicBezTo>
                  <a:cubicBezTo>
                    <a:pt x="51" y="240"/>
                    <a:pt x="51" y="252"/>
                    <a:pt x="46" y="252"/>
                  </a:cubicBez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449;p35">
              <a:extLst>
                <a:ext uri="{FF2B5EF4-FFF2-40B4-BE49-F238E27FC236}">
                  <a16:creationId xmlns:a16="http://schemas.microsoft.com/office/drawing/2014/main" id="{28EEEF04-3FF8-C121-1D8A-8E1A279C54CF}"/>
                </a:ext>
              </a:extLst>
            </p:cNvPr>
            <p:cNvSpPr/>
            <p:nvPr/>
          </p:nvSpPr>
          <p:spPr>
            <a:xfrm>
              <a:off x="6483773" y="2496846"/>
              <a:ext cx="1138343" cy="1177084"/>
            </a:xfrm>
            <a:custGeom>
              <a:avLst/>
              <a:gdLst/>
              <a:ahLst/>
              <a:cxnLst/>
              <a:rect l="l" t="t" r="r" b="b"/>
              <a:pathLst>
                <a:path w="346" h="358" extrusionOk="0">
                  <a:moveTo>
                    <a:pt x="37" y="95"/>
                  </a:moveTo>
                  <a:cubicBezTo>
                    <a:pt x="32" y="93"/>
                    <a:pt x="10" y="73"/>
                    <a:pt x="8" y="72"/>
                  </a:cubicBezTo>
                  <a:cubicBezTo>
                    <a:pt x="13" y="67"/>
                    <a:pt x="14" y="59"/>
                    <a:pt x="12" y="55"/>
                  </a:cubicBezTo>
                  <a:cubicBezTo>
                    <a:pt x="9" y="50"/>
                    <a:pt x="0" y="40"/>
                    <a:pt x="8" y="37"/>
                  </a:cubicBezTo>
                  <a:cubicBezTo>
                    <a:pt x="15" y="33"/>
                    <a:pt x="29" y="38"/>
                    <a:pt x="33" y="34"/>
                  </a:cubicBezTo>
                  <a:cubicBezTo>
                    <a:pt x="37" y="30"/>
                    <a:pt x="42" y="18"/>
                    <a:pt x="48" y="16"/>
                  </a:cubicBezTo>
                  <a:cubicBezTo>
                    <a:pt x="53" y="14"/>
                    <a:pt x="68" y="17"/>
                    <a:pt x="75" y="21"/>
                  </a:cubicBezTo>
                  <a:cubicBezTo>
                    <a:pt x="82" y="25"/>
                    <a:pt x="91" y="31"/>
                    <a:pt x="96" y="31"/>
                  </a:cubicBezTo>
                  <a:cubicBezTo>
                    <a:pt x="100" y="31"/>
                    <a:pt x="122" y="38"/>
                    <a:pt x="126" y="41"/>
                  </a:cubicBezTo>
                  <a:cubicBezTo>
                    <a:pt x="129" y="43"/>
                    <a:pt x="144" y="47"/>
                    <a:pt x="148" y="47"/>
                  </a:cubicBezTo>
                  <a:cubicBezTo>
                    <a:pt x="152" y="47"/>
                    <a:pt x="167" y="27"/>
                    <a:pt x="172" y="27"/>
                  </a:cubicBezTo>
                  <a:cubicBezTo>
                    <a:pt x="176" y="27"/>
                    <a:pt x="187" y="32"/>
                    <a:pt x="191" y="29"/>
                  </a:cubicBezTo>
                  <a:cubicBezTo>
                    <a:pt x="195" y="27"/>
                    <a:pt x="202" y="5"/>
                    <a:pt x="206" y="3"/>
                  </a:cubicBezTo>
                  <a:cubicBezTo>
                    <a:pt x="210" y="2"/>
                    <a:pt x="222" y="4"/>
                    <a:pt x="226" y="4"/>
                  </a:cubicBezTo>
                  <a:cubicBezTo>
                    <a:pt x="231" y="4"/>
                    <a:pt x="242" y="0"/>
                    <a:pt x="245" y="0"/>
                  </a:cubicBezTo>
                  <a:cubicBezTo>
                    <a:pt x="248" y="0"/>
                    <a:pt x="258" y="5"/>
                    <a:pt x="259" y="9"/>
                  </a:cubicBezTo>
                  <a:cubicBezTo>
                    <a:pt x="260" y="13"/>
                    <a:pt x="262" y="27"/>
                    <a:pt x="262" y="27"/>
                  </a:cubicBezTo>
                  <a:cubicBezTo>
                    <a:pt x="265" y="27"/>
                    <a:pt x="281" y="17"/>
                    <a:pt x="292" y="13"/>
                  </a:cubicBezTo>
                  <a:cubicBezTo>
                    <a:pt x="292" y="13"/>
                    <a:pt x="297" y="21"/>
                    <a:pt x="297" y="26"/>
                  </a:cubicBezTo>
                  <a:cubicBezTo>
                    <a:pt x="297" y="30"/>
                    <a:pt x="290" y="34"/>
                    <a:pt x="290" y="39"/>
                  </a:cubicBezTo>
                  <a:cubicBezTo>
                    <a:pt x="290" y="43"/>
                    <a:pt x="296" y="48"/>
                    <a:pt x="293" y="55"/>
                  </a:cubicBezTo>
                  <a:cubicBezTo>
                    <a:pt x="290" y="61"/>
                    <a:pt x="274" y="75"/>
                    <a:pt x="270" y="76"/>
                  </a:cubicBezTo>
                  <a:cubicBezTo>
                    <a:pt x="267" y="77"/>
                    <a:pt x="270" y="85"/>
                    <a:pt x="270" y="89"/>
                  </a:cubicBezTo>
                  <a:cubicBezTo>
                    <a:pt x="270" y="93"/>
                    <a:pt x="263" y="98"/>
                    <a:pt x="266" y="101"/>
                  </a:cubicBezTo>
                  <a:cubicBezTo>
                    <a:pt x="270" y="105"/>
                    <a:pt x="276" y="101"/>
                    <a:pt x="278" y="103"/>
                  </a:cubicBezTo>
                  <a:cubicBezTo>
                    <a:pt x="280" y="106"/>
                    <a:pt x="291" y="111"/>
                    <a:pt x="294" y="115"/>
                  </a:cubicBezTo>
                  <a:cubicBezTo>
                    <a:pt x="298" y="119"/>
                    <a:pt x="301" y="127"/>
                    <a:pt x="306" y="129"/>
                  </a:cubicBezTo>
                  <a:cubicBezTo>
                    <a:pt x="310" y="131"/>
                    <a:pt x="320" y="139"/>
                    <a:pt x="322" y="143"/>
                  </a:cubicBezTo>
                  <a:cubicBezTo>
                    <a:pt x="324" y="146"/>
                    <a:pt x="324" y="156"/>
                    <a:pt x="322" y="159"/>
                  </a:cubicBezTo>
                  <a:cubicBezTo>
                    <a:pt x="319" y="161"/>
                    <a:pt x="317" y="167"/>
                    <a:pt x="314" y="167"/>
                  </a:cubicBezTo>
                  <a:cubicBezTo>
                    <a:pt x="312" y="167"/>
                    <a:pt x="313" y="174"/>
                    <a:pt x="314" y="179"/>
                  </a:cubicBezTo>
                  <a:cubicBezTo>
                    <a:pt x="316" y="185"/>
                    <a:pt x="316" y="191"/>
                    <a:pt x="320" y="193"/>
                  </a:cubicBezTo>
                  <a:cubicBezTo>
                    <a:pt x="323" y="195"/>
                    <a:pt x="330" y="193"/>
                    <a:pt x="332" y="197"/>
                  </a:cubicBezTo>
                  <a:cubicBezTo>
                    <a:pt x="334" y="201"/>
                    <a:pt x="332" y="219"/>
                    <a:pt x="332" y="221"/>
                  </a:cubicBezTo>
                  <a:cubicBezTo>
                    <a:pt x="333" y="223"/>
                    <a:pt x="342" y="223"/>
                    <a:pt x="342" y="227"/>
                  </a:cubicBezTo>
                  <a:cubicBezTo>
                    <a:pt x="342" y="230"/>
                    <a:pt x="340" y="237"/>
                    <a:pt x="339" y="244"/>
                  </a:cubicBezTo>
                  <a:cubicBezTo>
                    <a:pt x="338" y="251"/>
                    <a:pt x="335" y="258"/>
                    <a:pt x="332" y="260"/>
                  </a:cubicBezTo>
                  <a:cubicBezTo>
                    <a:pt x="330" y="262"/>
                    <a:pt x="324" y="265"/>
                    <a:pt x="324" y="269"/>
                  </a:cubicBezTo>
                  <a:cubicBezTo>
                    <a:pt x="324" y="273"/>
                    <a:pt x="334" y="275"/>
                    <a:pt x="334" y="277"/>
                  </a:cubicBezTo>
                  <a:cubicBezTo>
                    <a:pt x="334" y="280"/>
                    <a:pt x="336" y="287"/>
                    <a:pt x="339" y="290"/>
                  </a:cubicBezTo>
                  <a:cubicBezTo>
                    <a:pt x="342" y="293"/>
                    <a:pt x="346" y="302"/>
                    <a:pt x="346" y="306"/>
                  </a:cubicBezTo>
                  <a:cubicBezTo>
                    <a:pt x="346" y="310"/>
                    <a:pt x="343" y="314"/>
                    <a:pt x="343" y="314"/>
                  </a:cubicBezTo>
                  <a:cubicBezTo>
                    <a:pt x="339" y="317"/>
                    <a:pt x="329" y="325"/>
                    <a:pt x="326" y="325"/>
                  </a:cubicBezTo>
                  <a:cubicBezTo>
                    <a:pt x="326" y="325"/>
                    <a:pt x="320" y="322"/>
                    <a:pt x="318" y="323"/>
                  </a:cubicBezTo>
                  <a:cubicBezTo>
                    <a:pt x="317" y="323"/>
                    <a:pt x="305" y="329"/>
                    <a:pt x="299" y="330"/>
                  </a:cubicBezTo>
                  <a:cubicBezTo>
                    <a:pt x="294" y="331"/>
                    <a:pt x="282" y="329"/>
                    <a:pt x="279" y="329"/>
                  </a:cubicBezTo>
                  <a:cubicBezTo>
                    <a:pt x="276" y="329"/>
                    <a:pt x="273" y="348"/>
                    <a:pt x="270" y="350"/>
                  </a:cubicBezTo>
                  <a:cubicBezTo>
                    <a:pt x="267" y="352"/>
                    <a:pt x="236" y="358"/>
                    <a:pt x="229" y="358"/>
                  </a:cubicBezTo>
                  <a:cubicBezTo>
                    <a:pt x="223" y="358"/>
                    <a:pt x="208" y="347"/>
                    <a:pt x="203" y="347"/>
                  </a:cubicBezTo>
                  <a:cubicBezTo>
                    <a:pt x="198" y="347"/>
                    <a:pt x="179" y="352"/>
                    <a:pt x="179" y="349"/>
                  </a:cubicBezTo>
                  <a:cubicBezTo>
                    <a:pt x="179" y="347"/>
                    <a:pt x="179" y="326"/>
                    <a:pt x="174" y="322"/>
                  </a:cubicBezTo>
                  <a:cubicBezTo>
                    <a:pt x="172" y="319"/>
                    <a:pt x="165" y="316"/>
                    <a:pt x="160" y="313"/>
                  </a:cubicBezTo>
                  <a:cubicBezTo>
                    <a:pt x="164" y="309"/>
                    <a:pt x="172" y="303"/>
                    <a:pt x="170" y="295"/>
                  </a:cubicBezTo>
                  <a:cubicBezTo>
                    <a:pt x="168" y="286"/>
                    <a:pt x="166" y="274"/>
                    <a:pt x="162" y="271"/>
                  </a:cubicBezTo>
                  <a:cubicBezTo>
                    <a:pt x="158" y="269"/>
                    <a:pt x="125" y="251"/>
                    <a:pt x="121" y="250"/>
                  </a:cubicBezTo>
                  <a:cubicBezTo>
                    <a:pt x="117" y="248"/>
                    <a:pt x="99" y="252"/>
                    <a:pt x="94" y="247"/>
                  </a:cubicBezTo>
                  <a:cubicBezTo>
                    <a:pt x="89" y="241"/>
                    <a:pt x="70" y="220"/>
                    <a:pt x="70" y="217"/>
                  </a:cubicBezTo>
                  <a:cubicBezTo>
                    <a:pt x="70" y="214"/>
                    <a:pt x="79" y="166"/>
                    <a:pt x="79" y="162"/>
                  </a:cubicBezTo>
                  <a:cubicBezTo>
                    <a:pt x="80" y="155"/>
                    <a:pt x="60" y="157"/>
                    <a:pt x="60" y="154"/>
                  </a:cubicBezTo>
                  <a:cubicBezTo>
                    <a:pt x="60" y="151"/>
                    <a:pt x="69" y="137"/>
                    <a:pt x="69" y="132"/>
                  </a:cubicBezTo>
                  <a:cubicBezTo>
                    <a:pt x="69" y="127"/>
                    <a:pt x="70" y="104"/>
                    <a:pt x="69" y="102"/>
                  </a:cubicBezTo>
                  <a:cubicBezTo>
                    <a:pt x="68" y="100"/>
                    <a:pt x="42" y="97"/>
                    <a:pt x="37" y="95"/>
                  </a:cubicBezTo>
                  <a:close/>
                  <a:moveTo>
                    <a:pt x="222" y="187"/>
                  </a:moveTo>
                  <a:cubicBezTo>
                    <a:pt x="222" y="187"/>
                    <a:pt x="232" y="170"/>
                    <a:pt x="233" y="169"/>
                  </a:cubicBezTo>
                  <a:cubicBezTo>
                    <a:pt x="233" y="169"/>
                    <a:pt x="216" y="162"/>
                    <a:pt x="217" y="161"/>
                  </a:cubicBezTo>
                  <a:cubicBezTo>
                    <a:pt x="217" y="160"/>
                    <a:pt x="223" y="151"/>
                    <a:pt x="221" y="150"/>
                  </a:cubicBezTo>
                  <a:cubicBezTo>
                    <a:pt x="219" y="148"/>
                    <a:pt x="203" y="134"/>
                    <a:pt x="201" y="134"/>
                  </a:cubicBezTo>
                  <a:cubicBezTo>
                    <a:pt x="199" y="134"/>
                    <a:pt x="183" y="134"/>
                    <a:pt x="181" y="135"/>
                  </a:cubicBezTo>
                  <a:cubicBezTo>
                    <a:pt x="179" y="135"/>
                    <a:pt x="168" y="143"/>
                    <a:pt x="168" y="144"/>
                  </a:cubicBezTo>
                  <a:cubicBezTo>
                    <a:pt x="168" y="145"/>
                    <a:pt x="167" y="158"/>
                    <a:pt x="167" y="160"/>
                  </a:cubicBezTo>
                  <a:cubicBezTo>
                    <a:pt x="167" y="162"/>
                    <a:pt x="163" y="178"/>
                    <a:pt x="165" y="178"/>
                  </a:cubicBezTo>
                  <a:cubicBezTo>
                    <a:pt x="168" y="178"/>
                    <a:pt x="188" y="178"/>
                    <a:pt x="192" y="178"/>
                  </a:cubicBezTo>
                  <a:cubicBezTo>
                    <a:pt x="197" y="178"/>
                    <a:pt x="222" y="187"/>
                    <a:pt x="222" y="187"/>
                  </a:cubicBez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" name="Google Shape;450;p35">
              <a:extLst>
                <a:ext uri="{FF2B5EF4-FFF2-40B4-BE49-F238E27FC236}">
                  <a16:creationId xmlns:a16="http://schemas.microsoft.com/office/drawing/2014/main" id="{9391DFBB-98AF-CC87-438B-BEC25059A90D}"/>
                </a:ext>
              </a:extLst>
            </p:cNvPr>
            <p:cNvGrpSpPr/>
            <p:nvPr/>
          </p:nvGrpSpPr>
          <p:grpSpPr>
            <a:xfrm>
              <a:off x="6168283" y="1786362"/>
              <a:ext cx="1276131" cy="946704"/>
              <a:chOff x="2925" y="1067"/>
              <a:chExt cx="785" cy="582"/>
            </a:xfrm>
          </p:grpSpPr>
          <p:sp>
            <p:nvSpPr>
              <p:cNvPr id="35" name="Google Shape;451;p35">
                <a:extLst>
                  <a:ext uri="{FF2B5EF4-FFF2-40B4-BE49-F238E27FC236}">
                    <a16:creationId xmlns:a16="http://schemas.microsoft.com/office/drawing/2014/main" id="{1E5C86C8-6100-7015-C721-2C04ECE6EDB2}"/>
                  </a:ext>
                </a:extLst>
              </p:cNvPr>
              <p:cNvSpPr/>
              <p:nvPr/>
            </p:nvSpPr>
            <p:spPr>
              <a:xfrm>
                <a:off x="3574" y="1243"/>
                <a:ext cx="94" cy="115"/>
              </a:xfrm>
              <a:custGeom>
                <a:avLst/>
                <a:gdLst/>
                <a:ahLst/>
                <a:cxnLst/>
                <a:rect l="l" t="t" r="r" b="b"/>
                <a:pathLst>
                  <a:path w="46" h="57" extrusionOk="0">
                    <a:moveTo>
                      <a:pt x="7" y="0"/>
                    </a:moveTo>
                    <a:cubicBezTo>
                      <a:pt x="7" y="0"/>
                      <a:pt x="9" y="6"/>
                      <a:pt x="11" y="9"/>
                    </a:cubicBezTo>
                    <a:cubicBezTo>
                      <a:pt x="12" y="11"/>
                      <a:pt x="16" y="13"/>
                      <a:pt x="19" y="14"/>
                    </a:cubicBezTo>
                    <a:cubicBezTo>
                      <a:pt x="21" y="16"/>
                      <a:pt x="26" y="17"/>
                      <a:pt x="29" y="20"/>
                    </a:cubicBezTo>
                    <a:cubicBezTo>
                      <a:pt x="31" y="23"/>
                      <a:pt x="36" y="29"/>
                      <a:pt x="39" y="32"/>
                    </a:cubicBezTo>
                    <a:cubicBezTo>
                      <a:pt x="42" y="35"/>
                      <a:pt x="46" y="40"/>
                      <a:pt x="46" y="40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44" y="46"/>
                      <a:pt x="44" y="46"/>
                      <a:pt x="44" y="46"/>
                    </a:cubicBezTo>
                    <a:cubicBezTo>
                      <a:pt x="44" y="46"/>
                      <a:pt x="46" y="51"/>
                      <a:pt x="43" y="51"/>
                    </a:cubicBezTo>
                    <a:cubicBezTo>
                      <a:pt x="40" y="51"/>
                      <a:pt x="36" y="51"/>
                      <a:pt x="31" y="51"/>
                    </a:cubicBezTo>
                    <a:cubicBezTo>
                      <a:pt x="25" y="52"/>
                      <a:pt x="25" y="55"/>
                      <a:pt x="20" y="56"/>
                    </a:cubicBezTo>
                    <a:cubicBezTo>
                      <a:pt x="15" y="57"/>
                      <a:pt x="16" y="56"/>
                      <a:pt x="13" y="55"/>
                    </a:cubicBezTo>
                    <a:cubicBezTo>
                      <a:pt x="11" y="53"/>
                      <a:pt x="13" y="52"/>
                      <a:pt x="14" y="50"/>
                    </a:cubicBezTo>
                    <a:cubicBezTo>
                      <a:pt x="16" y="49"/>
                      <a:pt x="19" y="47"/>
                      <a:pt x="20" y="45"/>
                    </a:cubicBezTo>
                    <a:cubicBezTo>
                      <a:pt x="21" y="42"/>
                      <a:pt x="18" y="39"/>
                      <a:pt x="17" y="36"/>
                    </a:cubicBezTo>
                    <a:cubicBezTo>
                      <a:pt x="16" y="33"/>
                      <a:pt x="17" y="32"/>
                      <a:pt x="19" y="32"/>
                    </a:cubicBezTo>
                    <a:cubicBezTo>
                      <a:pt x="21" y="32"/>
                      <a:pt x="21" y="37"/>
                      <a:pt x="24" y="37"/>
                    </a:cubicBezTo>
                    <a:cubicBezTo>
                      <a:pt x="28" y="38"/>
                      <a:pt x="27" y="37"/>
                      <a:pt x="27" y="34"/>
                    </a:cubicBezTo>
                    <a:cubicBezTo>
                      <a:pt x="27" y="30"/>
                      <a:pt x="23" y="24"/>
                      <a:pt x="21" y="23"/>
                    </a:cubicBezTo>
                    <a:cubicBezTo>
                      <a:pt x="19" y="22"/>
                      <a:pt x="17" y="21"/>
                      <a:pt x="14" y="22"/>
                    </a:cubicBezTo>
                    <a:cubicBezTo>
                      <a:pt x="11" y="24"/>
                      <a:pt x="11" y="29"/>
                      <a:pt x="7" y="28"/>
                    </a:cubicBezTo>
                    <a:cubicBezTo>
                      <a:pt x="4" y="27"/>
                      <a:pt x="4" y="22"/>
                      <a:pt x="5" y="20"/>
                    </a:cubicBezTo>
                    <a:cubicBezTo>
                      <a:pt x="6" y="17"/>
                      <a:pt x="7" y="13"/>
                      <a:pt x="5" y="9"/>
                    </a:cubicBezTo>
                    <a:cubicBezTo>
                      <a:pt x="3" y="6"/>
                      <a:pt x="0" y="3"/>
                      <a:pt x="1" y="1"/>
                    </a:cubicBezTo>
                    <a:cubicBezTo>
                      <a:pt x="3" y="0"/>
                      <a:pt x="4" y="1"/>
                      <a:pt x="7" y="0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" name="Google Shape;452;p35">
                <a:extLst>
                  <a:ext uri="{FF2B5EF4-FFF2-40B4-BE49-F238E27FC236}">
                    <a16:creationId xmlns:a16="http://schemas.microsoft.com/office/drawing/2014/main" id="{EC253462-1737-0C20-5CC7-7E61F7B98417}"/>
                  </a:ext>
                </a:extLst>
              </p:cNvPr>
              <p:cNvSpPr/>
              <p:nvPr/>
            </p:nvSpPr>
            <p:spPr>
              <a:xfrm>
                <a:off x="3437" y="1067"/>
                <a:ext cx="133" cy="161"/>
              </a:xfrm>
              <a:custGeom>
                <a:avLst/>
                <a:gdLst/>
                <a:ahLst/>
                <a:cxnLst/>
                <a:rect l="l" t="t" r="r" b="b"/>
                <a:pathLst>
                  <a:path w="66" h="80" extrusionOk="0">
                    <a:moveTo>
                      <a:pt x="13" y="10"/>
                    </a:moveTo>
                    <a:cubicBezTo>
                      <a:pt x="12" y="10"/>
                      <a:pt x="11" y="11"/>
                      <a:pt x="10" y="11"/>
                    </a:cubicBezTo>
                    <a:cubicBezTo>
                      <a:pt x="8" y="10"/>
                      <a:pt x="9" y="6"/>
                      <a:pt x="11" y="4"/>
                    </a:cubicBezTo>
                    <a:cubicBezTo>
                      <a:pt x="14" y="3"/>
                      <a:pt x="18" y="2"/>
                      <a:pt x="22" y="1"/>
                    </a:cubicBezTo>
                    <a:cubicBezTo>
                      <a:pt x="25" y="1"/>
                      <a:pt x="29" y="1"/>
                      <a:pt x="31" y="0"/>
                    </a:cubicBezTo>
                    <a:cubicBezTo>
                      <a:pt x="32" y="0"/>
                      <a:pt x="32" y="5"/>
                      <a:pt x="31" y="6"/>
                    </a:cubicBezTo>
                    <a:cubicBezTo>
                      <a:pt x="30" y="7"/>
                      <a:pt x="26" y="5"/>
                      <a:pt x="25" y="7"/>
                    </a:cubicBezTo>
                    <a:cubicBezTo>
                      <a:pt x="24" y="9"/>
                      <a:pt x="25" y="16"/>
                      <a:pt x="28" y="17"/>
                    </a:cubicBezTo>
                    <a:cubicBezTo>
                      <a:pt x="30" y="18"/>
                      <a:pt x="35" y="20"/>
                      <a:pt x="39" y="19"/>
                    </a:cubicBezTo>
                    <a:cubicBezTo>
                      <a:pt x="42" y="18"/>
                      <a:pt x="51" y="15"/>
                      <a:pt x="52" y="16"/>
                    </a:cubicBezTo>
                    <a:cubicBezTo>
                      <a:pt x="54" y="17"/>
                      <a:pt x="57" y="19"/>
                      <a:pt x="56" y="24"/>
                    </a:cubicBezTo>
                    <a:cubicBezTo>
                      <a:pt x="55" y="29"/>
                      <a:pt x="49" y="31"/>
                      <a:pt x="47" y="34"/>
                    </a:cubicBezTo>
                    <a:cubicBezTo>
                      <a:pt x="45" y="38"/>
                      <a:pt x="45" y="39"/>
                      <a:pt x="47" y="43"/>
                    </a:cubicBezTo>
                    <a:cubicBezTo>
                      <a:pt x="48" y="46"/>
                      <a:pt x="48" y="47"/>
                      <a:pt x="51" y="48"/>
                    </a:cubicBezTo>
                    <a:cubicBezTo>
                      <a:pt x="53" y="48"/>
                      <a:pt x="55" y="47"/>
                      <a:pt x="57" y="48"/>
                    </a:cubicBezTo>
                    <a:cubicBezTo>
                      <a:pt x="58" y="49"/>
                      <a:pt x="60" y="54"/>
                      <a:pt x="62" y="55"/>
                    </a:cubicBezTo>
                    <a:cubicBezTo>
                      <a:pt x="64" y="57"/>
                      <a:pt x="66" y="58"/>
                      <a:pt x="66" y="58"/>
                    </a:cubicBezTo>
                    <a:cubicBezTo>
                      <a:pt x="66" y="58"/>
                      <a:pt x="63" y="60"/>
                      <a:pt x="63" y="63"/>
                    </a:cubicBezTo>
                    <a:cubicBezTo>
                      <a:pt x="62" y="66"/>
                      <a:pt x="64" y="70"/>
                      <a:pt x="62" y="70"/>
                    </a:cubicBezTo>
                    <a:cubicBezTo>
                      <a:pt x="60" y="70"/>
                      <a:pt x="57" y="68"/>
                      <a:pt x="56" y="67"/>
                    </a:cubicBezTo>
                    <a:cubicBezTo>
                      <a:pt x="55" y="66"/>
                      <a:pt x="58" y="63"/>
                      <a:pt x="56" y="61"/>
                    </a:cubicBezTo>
                    <a:cubicBezTo>
                      <a:pt x="55" y="60"/>
                      <a:pt x="51" y="59"/>
                      <a:pt x="48" y="59"/>
                    </a:cubicBezTo>
                    <a:cubicBezTo>
                      <a:pt x="46" y="59"/>
                      <a:pt x="41" y="58"/>
                      <a:pt x="38" y="60"/>
                    </a:cubicBezTo>
                    <a:cubicBezTo>
                      <a:pt x="35" y="62"/>
                      <a:pt x="31" y="66"/>
                      <a:pt x="31" y="68"/>
                    </a:cubicBezTo>
                    <a:cubicBezTo>
                      <a:pt x="30" y="71"/>
                      <a:pt x="29" y="71"/>
                      <a:pt x="30" y="73"/>
                    </a:cubicBezTo>
                    <a:cubicBezTo>
                      <a:pt x="32" y="75"/>
                      <a:pt x="33" y="78"/>
                      <a:pt x="32" y="79"/>
                    </a:cubicBezTo>
                    <a:cubicBezTo>
                      <a:pt x="31" y="80"/>
                      <a:pt x="29" y="80"/>
                      <a:pt x="26" y="79"/>
                    </a:cubicBezTo>
                    <a:cubicBezTo>
                      <a:pt x="23" y="77"/>
                      <a:pt x="22" y="77"/>
                      <a:pt x="22" y="76"/>
                    </a:cubicBezTo>
                    <a:cubicBezTo>
                      <a:pt x="21" y="75"/>
                      <a:pt x="20" y="73"/>
                      <a:pt x="20" y="73"/>
                    </a:cubicBezTo>
                    <a:cubicBezTo>
                      <a:pt x="18" y="73"/>
                      <a:pt x="17" y="74"/>
                      <a:pt x="13" y="72"/>
                    </a:cubicBezTo>
                    <a:cubicBezTo>
                      <a:pt x="10" y="70"/>
                      <a:pt x="7" y="66"/>
                      <a:pt x="5" y="64"/>
                    </a:cubicBezTo>
                    <a:cubicBezTo>
                      <a:pt x="3" y="63"/>
                      <a:pt x="1" y="63"/>
                      <a:pt x="1" y="61"/>
                    </a:cubicBezTo>
                    <a:cubicBezTo>
                      <a:pt x="1" y="58"/>
                      <a:pt x="0" y="54"/>
                      <a:pt x="3" y="54"/>
                    </a:cubicBezTo>
                    <a:cubicBezTo>
                      <a:pt x="5" y="54"/>
                      <a:pt x="11" y="55"/>
                      <a:pt x="13" y="54"/>
                    </a:cubicBezTo>
                    <a:cubicBezTo>
                      <a:pt x="15" y="52"/>
                      <a:pt x="15" y="51"/>
                      <a:pt x="13" y="49"/>
                    </a:cubicBezTo>
                    <a:cubicBezTo>
                      <a:pt x="10" y="46"/>
                      <a:pt x="2" y="44"/>
                      <a:pt x="1" y="43"/>
                    </a:cubicBezTo>
                    <a:cubicBezTo>
                      <a:pt x="0" y="41"/>
                      <a:pt x="3" y="38"/>
                      <a:pt x="5" y="38"/>
                    </a:cubicBezTo>
                    <a:cubicBezTo>
                      <a:pt x="7" y="38"/>
                      <a:pt x="12" y="39"/>
                      <a:pt x="12" y="37"/>
                    </a:cubicBezTo>
                    <a:cubicBezTo>
                      <a:pt x="12" y="34"/>
                      <a:pt x="12" y="32"/>
                      <a:pt x="11" y="31"/>
                    </a:cubicBezTo>
                    <a:cubicBezTo>
                      <a:pt x="11" y="29"/>
                      <a:pt x="6" y="31"/>
                      <a:pt x="5" y="30"/>
                    </a:cubicBezTo>
                    <a:cubicBezTo>
                      <a:pt x="4" y="30"/>
                      <a:pt x="2" y="26"/>
                      <a:pt x="3" y="25"/>
                    </a:cubicBezTo>
                    <a:cubicBezTo>
                      <a:pt x="4" y="24"/>
                      <a:pt x="7" y="24"/>
                      <a:pt x="10" y="23"/>
                    </a:cubicBezTo>
                    <a:cubicBezTo>
                      <a:pt x="11" y="23"/>
                      <a:pt x="16" y="26"/>
                      <a:pt x="18" y="27"/>
                    </a:cubicBezTo>
                    <a:cubicBezTo>
                      <a:pt x="25" y="30"/>
                      <a:pt x="29" y="39"/>
                      <a:pt x="31" y="39"/>
                    </a:cubicBezTo>
                    <a:cubicBezTo>
                      <a:pt x="33" y="39"/>
                      <a:pt x="37" y="34"/>
                      <a:pt x="37" y="32"/>
                    </a:cubicBezTo>
                    <a:cubicBezTo>
                      <a:pt x="37" y="30"/>
                      <a:pt x="38" y="27"/>
                      <a:pt x="36" y="26"/>
                    </a:cubicBezTo>
                    <a:cubicBezTo>
                      <a:pt x="34" y="25"/>
                      <a:pt x="25" y="25"/>
                      <a:pt x="24" y="24"/>
                    </a:cubicBezTo>
                    <a:cubicBezTo>
                      <a:pt x="23" y="22"/>
                      <a:pt x="20" y="19"/>
                      <a:pt x="20" y="18"/>
                    </a:cubicBezTo>
                    <a:cubicBezTo>
                      <a:pt x="19" y="17"/>
                      <a:pt x="13" y="19"/>
                      <a:pt x="12" y="19"/>
                    </a:cubicBezTo>
                    <a:cubicBezTo>
                      <a:pt x="11" y="18"/>
                      <a:pt x="14" y="13"/>
                      <a:pt x="15" y="12"/>
                    </a:cubicBezTo>
                    <a:cubicBezTo>
                      <a:pt x="15" y="12"/>
                      <a:pt x="15" y="10"/>
                      <a:pt x="13" y="10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" name="Google Shape;453;p35">
                <a:extLst>
                  <a:ext uri="{FF2B5EF4-FFF2-40B4-BE49-F238E27FC236}">
                    <a16:creationId xmlns:a16="http://schemas.microsoft.com/office/drawing/2014/main" id="{BD6306D2-BCA2-8047-38E8-912602876F91}"/>
                  </a:ext>
                </a:extLst>
              </p:cNvPr>
              <p:cNvSpPr/>
              <p:nvPr/>
            </p:nvSpPr>
            <p:spPr>
              <a:xfrm>
                <a:off x="2925" y="1139"/>
                <a:ext cx="785" cy="51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252" extrusionOk="0">
                    <a:moveTo>
                      <a:pt x="27" y="94"/>
                    </a:moveTo>
                    <a:cubicBezTo>
                      <a:pt x="29" y="94"/>
                      <a:pt x="32" y="91"/>
                      <a:pt x="35" y="90"/>
                    </a:cubicBezTo>
                    <a:cubicBezTo>
                      <a:pt x="38" y="88"/>
                      <a:pt x="42" y="85"/>
                      <a:pt x="46" y="84"/>
                    </a:cubicBezTo>
                    <a:cubicBezTo>
                      <a:pt x="49" y="84"/>
                      <a:pt x="53" y="82"/>
                      <a:pt x="56" y="84"/>
                    </a:cubicBezTo>
                    <a:cubicBezTo>
                      <a:pt x="59" y="85"/>
                      <a:pt x="61" y="88"/>
                      <a:pt x="62" y="89"/>
                    </a:cubicBezTo>
                    <a:cubicBezTo>
                      <a:pt x="63" y="89"/>
                      <a:pt x="62" y="95"/>
                      <a:pt x="63" y="97"/>
                    </a:cubicBezTo>
                    <a:cubicBezTo>
                      <a:pt x="65" y="98"/>
                      <a:pt x="66" y="99"/>
                      <a:pt x="69" y="98"/>
                    </a:cubicBezTo>
                    <a:cubicBezTo>
                      <a:pt x="71" y="97"/>
                      <a:pt x="71" y="93"/>
                      <a:pt x="72" y="93"/>
                    </a:cubicBezTo>
                    <a:cubicBezTo>
                      <a:pt x="73" y="94"/>
                      <a:pt x="82" y="102"/>
                      <a:pt x="83" y="102"/>
                    </a:cubicBezTo>
                    <a:cubicBezTo>
                      <a:pt x="85" y="103"/>
                      <a:pt x="87" y="99"/>
                      <a:pt x="87" y="97"/>
                    </a:cubicBezTo>
                    <a:cubicBezTo>
                      <a:pt x="87" y="95"/>
                      <a:pt x="89" y="92"/>
                      <a:pt x="87" y="92"/>
                    </a:cubicBezTo>
                    <a:cubicBezTo>
                      <a:pt x="86" y="91"/>
                      <a:pt x="79" y="92"/>
                      <a:pt x="79" y="89"/>
                    </a:cubicBezTo>
                    <a:cubicBezTo>
                      <a:pt x="78" y="87"/>
                      <a:pt x="79" y="83"/>
                      <a:pt x="81" y="83"/>
                    </a:cubicBezTo>
                    <a:cubicBezTo>
                      <a:pt x="84" y="83"/>
                      <a:pt x="88" y="83"/>
                      <a:pt x="90" y="82"/>
                    </a:cubicBezTo>
                    <a:cubicBezTo>
                      <a:pt x="92" y="80"/>
                      <a:pt x="97" y="80"/>
                      <a:pt x="98" y="77"/>
                    </a:cubicBezTo>
                    <a:cubicBezTo>
                      <a:pt x="98" y="75"/>
                      <a:pt x="99" y="70"/>
                      <a:pt x="100" y="68"/>
                    </a:cubicBezTo>
                    <a:cubicBezTo>
                      <a:pt x="102" y="67"/>
                      <a:pt x="105" y="59"/>
                      <a:pt x="107" y="59"/>
                    </a:cubicBezTo>
                    <a:cubicBezTo>
                      <a:pt x="110" y="59"/>
                      <a:pt x="119" y="61"/>
                      <a:pt x="124" y="60"/>
                    </a:cubicBezTo>
                    <a:cubicBezTo>
                      <a:pt x="129" y="60"/>
                      <a:pt x="138" y="54"/>
                      <a:pt x="141" y="54"/>
                    </a:cubicBezTo>
                    <a:cubicBezTo>
                      <a:pt x="144" y="54"/>
                      <a:pt x="149" y="57"/>
                      <a:pt x="152" y="55"/>
                    </a:cubicBezTo>
                    <a:cubicBezTo>
                      <a:pt x="154" y="52"/>
                      <a:pt x="156" y="46"/>
                      <a:pt x="159" y="43"/>
                    </a:cubicBezTo>
                    <a:cubicBezTo>
                      <a:pt x="162" y="41"/>
                      <a:pt x="171" y="35"/>
                      <a:pt x="173" y="32"/>
                    </a:cubicBezTo>
                    <a:cubicBezTo>
                      <a:pt x="174" y="30"/>
                      <a:pt x="178" y="19"/>
                      <a:pt x="180" y="18"/>
                    </a:cubicBezTo>
                    <a:cubicBezTo>
                      <a:pt x="182" y="17"/>
                      <a:pt x="185" y="13"/>
                      <a:pt x="186" y="10"/>
                    </a:cubicBezTo>
                    <a:cubicBezTo>
                      <a:pt x="186" y="8"/>
                      <a:pt x="190" y="0"/>
                      <a:pt x="192" y="0"/>
                    </a:cubicBezTo>
                    <a:cubicBezTo>
                      <a:pt x="194" y="0"/>
                      <a:pt x="191" y="5"/>
                      <a:pt x="193" y="5"/>
                    </a:cubicBezTo>
                    <a:cubicBezTo>
                      <a:pt x="195" y="6"/>
                      <a:pt x="199" y="6"/>
                      <a:pt x="201" y="6"/>
                    </a:cubicBezTo>
                    <a:cubicBezTo>
                      <a:pt x="203" y="6"/>
                      <a:pt x="222" y="7"/>
                      <a:pt x="225" y="7"/>
                    </a:cubicBezTo>
                    <a:cubicBezTo>
                      <a:pt x="229" y="7"/>
                      <a:pt x="230" y="6"/>
                      <a:pt x="231" y="7"/>
                    </a:cubicBezTo>
                    <a:cubicBezTo>
                      <a:pt x="232" y="7"/>
                      <a:pt x="233" y="11"/>
                      <a:pt x="231" y="11"/>
                    </a:cubicBezTo>
                    <a:cubicBezTo>
                      <a:pt x="229" y="12"/>
                      <a:pt x="225" y="12"/>
                      <a:pt x="223" y="12"/>
                    </a:cubicBezTo>
                    <a:cubicBezTo>
                      <a:pt x="220" y="12"/>
                      <a:pt x="213" y="13"/>
                      <a:pt x="211" y="12"/>
                    </a:cubicBezTo>
                    <a:cubicBezTo>
                      <a:pt x="209" y="11"/>
                      <a:pt x="206" y="13"/>
                      <a:pt x="205" y="14"/>
                    </a:cubicBezTo>
                    <a:cubicBezTo>
                      <a:pt x="204" y="14"/>
                      <a:pt x="202" y="11"/>
                      <a:pt x="200" y="11"/>
                    </a:cubicBezTo>
                    <a:cubicBezTo>
                      <a:pt x="199" y="11"/>
                      <a:pt x="196" y="14"/>
                      <a:pt x="195" y="15"/>
                    </a:cubicBezTo>
                    <a:cubicBezTo>
                      <a:pt x="195" y="16"/>
                      <a:pt x="195" y="19"/>
                      <a:pt x="193" y="19"/>
                    </a:cubicBezTo>
                    <a:cubicBezTo>
                      <a:pt x="191" y="19"/>
                      <a:pt x="188" y="18"/>
                      <a:pt x="187" y="19"/>
                    </a:cubicBezTo>
                    <a:cubicBezTo>
                      <a:pt x="186" y="19"/>
                      <a:pt x="182" y="21"/>
                      <a:pt x="182" y="23"/>
                    </a:cubicBezTo>
                    <a:cubicBezTo>
                      <a:pt x="182" y="25"/>
                      <a:pt x="183" y="25"/>
                      <a:pt x="182" y="27"/>
                    </a:cubicBezTo>
                    <a:cubicBezTo>
                      <a:pt x="181" y="30"/>
                      <a:pt x="178" y="30"/>
                      <a:pt x="178" y="32"/>
                    </a:cubicBezTo>
                    <a:cubicBezTo>
                      <a:pt x="178" y="34"/>
                      <a:pt x="177" y="37"/>
                      <a:pt x="178" y="39"/>
                    </a:cubicBezTo>
                    <a:cubicBezTo>
                      <a:pt x="179" y="40"/>
                      <a:pt x="182" y="42"/>
                      <a:pt x="185" y="42"/>
                    </a:cubicBezTo>
                    <a:cubicBezTo>
                      <a:pt x="187" y="42"/>
                      <a:pt x="186" y="41"/>
                      <a:pt x="187" y="40"/>
                    </a:cubicBezTo>
                    <a:cubicBezTo>
                      <a:pt x="187" y="40"/>
                      <a:pt x="183" y="38"/>
                      <a:pt x="183" y="35"/>
                    </a:cubicBezTo>
                    <a:cubicBezTo>
                      <a:pt x="184" y="33"/>
                      <a:pt x="189" y="34"/>
                      <a:pt x="189" y="31"/>
                    </a:cubicBezTo>
                    <a:cubicBezTo>
                      <a:pt x="189" y="28"/>
                      <a:pt x="192" y="27"/>
                      <a:pt x="193" y="26"/>
                    </a:cubicBezTo>
                    <a:cubicBezTo>
                      <a:pt x="194" y="24"/>
                      <a:pt x="196" y="23"/>
                      <a:pt x="199" y="22"/>
                    </a:cubicBezTo>
                    <a:cubicBezTo>
                      <a:pt x="201" y="22"/>
                      <a:pt x="205" y="19"/>
                      <a:pt x="206" y="19"/>
                    </a:cubicBezTo>
                    <a:cubicBezTo>
                      <a:pt x="207" y="18"/>
                      <a:pt x="208" y="18"/>
                      <a:pt x="212" y="19"/>
                    </a:cubicBezTo>
                    <a:cubicBezTo>
                      <a:pt x="215" y="19"/>
                      <a:pt x="216" y="17"/>
                      <a:pt x="218" y="18"/>
                    </a:cubicBezTo>
                    <a:cubicBezTo>
                      <a:pt x="221" y="20"/>
                      <a:pt x="220" y="23"/>
                      <a:pt x="221" y="23"/>
                    </a:cubicBezTo>
                    <a:cubicBezTo>
                      <a:pt x="223" y="24"/>
                      <a:pt x="228" y="23"/>
                      <a:pt x="229" y="21"/>
                    </a:cubicBezTo>
                    <a:cubicBezTo>
                      <a:pt x="229" y="19"/>
                      <a:pt x="234" y="15"/>
                      <a:pt x="236" y="14"/>
                    </a:cubicBezTo>
                    <a:cubicBezTo>
                      <a:pt x="239" y="14"/>
                      <a:pt x="240" y="9"/>
                      <a:pt x="241" y="9"/>
                    </a:cubicBezTo>
                    <a:cubicBezTo>
                      <a:pt x="243" y="9"/>
                      <a:pt x="242" y="17"/>
                      <a:pt x="244" y="17"/>
                    </a:cubicBezTo>
                    <a:cubicBezTo>
                      <a:pt x="247" y="18"/>
                      <a:pt x="248" y="16"/>
                      <a:pt x="248" y="19"/>
                    </a:cubicBezTo>
                    <a:cubicBezTo>
                      <a:pt x="248" y="22"/>
                      <a:pt x="246" y="27"/>
                      <a:pt x="248" y="29"/>
                    </a:cubicBezTo>
                    <a:cubicBezTo>
                      <a:pt x="249" y="31"/>
                      <a:pt x="249" y="34"/>
                      <a:pt x="252" y="36"/>
                    </a:cubicBezTo>
                    <a:cubicBezTo>
                      <a:pt x="256" y="39"/>
                      <a:pt x="261" y="40"/>
                      <a:pt x="265" y="42"/>
                    </a:cubicBezTo>
                    <a:cubicBezTo>
                      <a:pt x="268" y="44"/>
                      <a:pt x="272" y="48"/>
                      <a:pt x="274" y="50"/>
                    </a:cubicBezTo>
                    <a:cubicBezTo>
                      <a:pt x="276" y="52"/>
                      <a:pt x="280" y="52"/>
                      <a:pt x="281" y="54"/>
                    </a:cubicBezTo>
                    <a:cubicBezTo>
                      <a:pt x="282" y="55"/>
                      <a:pt x="285" y="68"/>
                      <a:pt x="287" y="68"/>
                    </a:cubicBezTo>
                    <a:cubicBezTo>
                      <a:pt x="290" y="68"/>
                      <a:pt x="294" y="68"/>
                      <a:pt x="294" y="67"/>
                    </a:cubicBezTo>
                    <a:cubicBezTo>
                      <a:pt x="294" y="66"/>
                      <a:pt x="291" y="61"/>
                      <a:pt x="294" y="60"/>
                    </a:cubicBezTo>
                    <a:cubicBezTo>
                      <a:pt x="296" y="60"/>
                      <a:pt x="301" y="60"/>
                      <a:pt x="302" y="58"/>
                    </a:cubicBezTo>
                    <a:cubicBezTo>
                      <a:pt x="304" y="56"/>
                      <a:pt x="310" y="51"/>
                      <a:pt x="311" y="52"/>
                    </a:cubicBezTo>
                    <a:cubicBezTo>
                      <a:pt x="313" y="52"/>
                      <a:pt x="311" y="55"/>
                      <a:pt x="314" y="57"/>
                    </a:cubicBezTo>
                    <a:cubicBezTo>
                      <a:pt x="316" y="59"/>
                      <a:pt x="320" y="60"/>
                      <a:pt x="320" y="63"/>
                    </a:cubicBezTo>
                    <a:cubicBezTo>
                      <a:pt x="321" y="66"/>
                      <a:pt x="318" y="74"/>
                      <a:pt x="318" y="76"/>
                    </a:cubicBezTo>
                    <a:cubicBezTo>
                      <a:pt x="317" y="78"/>
                      <a:pt x="319" y="80"/>
                      <a:pt x="322" y="82"/>
                    </a:cubicBezTo>
                    <a:cubicBezTo>
                      <a:pt x="325" y="84"/>
                      <a:pt x="329" y="85"/>
                      <a:pt x="329" y="87"/>
                    </a:cubicBezTo>
                    <a:cubicBezTo>
                      <a:pt x="330" y="89"/>
                      <a:pt x="336" y="92"/>
                      <a:pt x="334" y="94"/>
                    </a:cubicBezTo>
                    <a:cubicBezTo>
                      <a:pt x="332" y="97"/>
                      <a:pt x="327" y="100"/>
                      <a:pt x="326" y="103"/>
                    </a:cubicBezTo>
                    <a:cubicBezTo>
                      <a:pt x="326" y="106"/>
                      <a:pt x="328" y="108"/>
                      <a:pt x="330" y="110"/>
                    </a:cubicBezTo>
                    <a:cubicBezTo>
                      <a:pt x="333" y="112"/>
                      <a:pt x="339" y="117"/>
                      <a:pt x="341" y="118"/>
                    </a:cubicBezTo>
                    <a:cubicBezTo>
                      <a:pt x="344" y="120"/>
                      <a:pt x="352" y="125"/>
                      <a:pt x="357" y="125"/>
                    </a:cubicBezTo>
                    <a:cubicBezTo>
                      <a:pt x="362" y="125"/>
                      <a:pt x="365" y="121"/>
                      <a:pt x="368" y="121"/>
                    </a:cubicBezTo>
                    <a:cubicBezTo>
                      <a:pt x="370" y="121"/>
                      <a:pt x="372" y="122"/>
                      <a:pt x="372" y="122"/>
                    </a:cubicBezTo>
                    <a:cubicBezTo>
                      <a:pt x="372" y="122"/>
                      <a:pt x="373" y="130"/>
                      <a:pt x="373" y="131"/>
                    </a:cubicBezTo>
                    <a:cubicBezTo>
                      <a:pt x="373" y="133"/>
                      <a:pt x="379" y="157"/>
                      <a:pt x="379" y="160"/>
                    </a:cubicBezTo>
                    <a:cubicBezTo>
                      <a:pt x="380" y="164"/>
                      <a:pt x="388" y="178"/>
                      <a:pt x="388" y="182"/>
                    </a:cubicBezTo>
                    <a:cubicBezTo>
                      <a:pt x="388" y="186"/>
                      <a:pt x="388" y="193"/>
                      <a:pt x="388" y="193"/>
                    </a:cubicBezTo>
                    <a:cubicBezTo>
                      <a:pt x="377" y="197"/>
                      <a:pt x="361" y="207"/>
                      <a:pt x="358" y="207"/>
                    </a:cubicBezTo>
                    <a:cubicBezTo>
                      <a:pt x="358" y="207"/>
                      <a:pt x="356" y="193"/>
                      <a:pt x="355" y="189"/>
                    </a:cubicBezTo>
                    <a:cubicBezTo>
                      <a:pt x="354" y="185"/>
                      <a:pt x="344" y="180"/>
                      <a:pt x="341" y="180"/>
                    </a:cubicBezTo>
                    <a:cubicBezTo>
                      <a:pt x="338" y="180"/>
                      <a:pt x="327" y="184"/>
                      <a:pt x="322" y="184"/>
                    </a:cubicBezTo>
                    <a:cubicBezTo>
                      <a:pt x="318" y="184"/>
                      <a:pt x="306" y="182"/>
                      <a:pt x="302" y="183"/>
                    </a:cubicBezTo>
                    <a:cubicBezTo>
                      <a:pt x="298" y="185"/>
                      <a:pt x="291" y="207"/>
                      <a:pt x="287" y="209"/>
                    </a:cubicBezTo>
                    <a:cubicBezTo>
                      <a:pt x="283" y="212"/>
                      <a:pt x="272" y="207"/>
                      <a:pt x="268" y="207"/>
                    </a:cubicBezTo>
                    <a:cubicBezTo>
                      <a:pt x="263" y="207"/>
                      <a:pt x="248" y="227"/>
                      <a:pt x="244" y="227"/>
                    </a:cubicBezTo>
                    <a:cubicBezTo>
                      <a:pt x="240" y="227"/>
                      <a:pt x="225" y="223"/>
                      <a:pt x="222" y="221"/>
                    </a:cubicBezTo>
                    <a:cubicBezTo>
                      <a:pt x="218" y="218"/>
                      <a:pt x="196" y="211"/>
                      <a:pt x="192" y="211"/>
                    </a:cubicBezTo>
                    <a:cubicBezTo>
                      <a:pt x="187" y="211"/>
                      <a:pt x="178" y="205"/>
                      <a:pt x="171" y="201"/>
                    </a:cubicBezTo>
                    <a:cubicBezTo>
                      <a:pt x="164" y="197"/>
                      <a:pt x="149" y="194"/>
                      <a:pt x="144" y="196"/>
                    </a:cubicBezTo>
                    <a:cubicBezTo>
                      <a:pt x="138" y="198"/>
                      <a:pt x="133" y="210"/>
                      <a:pt x="129" y="214"/>
                    </a:cubicBezTo>
                    <a:cubicBezTo>
                      <a:pt x="125" y="218"/>
                      <a:pt x="111" y="213"/>
                      <a:pt x="104" y="217"/>
                    </a:cubicBezTo>
                    <a:cubicBezTo>
                      <a:pt x="96" y="220"/>
                      <a:pt x="105" y="230"/>
                      <a:pt x="108" y="235"/>
                    </a:cubicBezTo>
                    <a:cubicBezTo>
                      <a:pt x="110" y="239"/>
                      <a:pt x="109" y="247"/>
                      <a:pt x="104" y="252"/>
                    </a:cubicBezTo>
                    <a:cubicBezTo>
                      <a:pt x="102" y="251"/>
                      <a:pt x="91" y="246"/>
                      <a:pt x="87" y="245"/>
                    </a:cubicBezTo>
                    <a:cubicBezTo>
                      <a:pt x="82" y="243"/>
                      <a:pt x="76" y="252"/>
                      <a:pt x="71" y="248"/>
                    </a:cubicBezTo>
                    <a:cubicBezTo>
                      <a:pt x="66" y="244"/>
                      <a:pt x="65" y="234"/>
                      <a:pt x="59" y="231"/>
                    </a:cubicBezTo>
                    <a:cubicBezTo>
                      <a:pt x="52" y="227"/>
                      <a:pt x="49" y="234"/>
                      <a:pt x="45" y="232"/>
                    </a:cubicBezTo>
                    <a:cubicBezTo>
                      <a:pt x="41" y="229"/>
                      <a:pt x="32" y="218"/>
                      <a:pt x="27" y="215"/>
                    </a:cubicBezTo>
                    <a:cubicBezTo>
                      <a:pt x="23" y="212"/>
                      <a:pt x="14" y="208"/>
                      <a:pt x="13" y="205"/>
                    </a:cubicBezTo>
                    <a:cubicBezTo>
                      <a:pt x="12" y="202"/>
                      <a:pt x="14" y="193"/>
                      <a:pt x="9" y="192"/>
                    </a:cubicBezTo>
                    <a:cubicBezTo>
                      <a:pt x="6" y="191"/>
                      <a:pt x="3" y="192"/>
                      <a:pt x="0" y="192"/>
                    </a:cubicBezTo>
                    <a:cubicBezTo>
                      <a:pt x="2" y="179"/>
                      <a:pt x="2" y="179"/>
                      <a:pt x="2" y="179"/>
                    </a:cubicBezTo>
                    <a:cubicBezTo>
                      <a:pt x="2" y="176"/>
                      <a:pt x="14" y="172"/>
                      <a:pt x="18" y="171"/>
                    </a:cubicBezTo>
                    <a:cubicBezTo>
                      <a:pt x="22" y="169"/>
                      <a:pt x="28" y="158"/>
                      <a:pt x="32" y="153"/>
                    </a:cubicBezTo>
                    <a:cubicBezTo>
                      <a:pt x="36" y="149"/>
                      <a:pt x="26" y="137"/>
                      <a:pt x="22" y="137"/>
                    </a:cubicBezTo>
                    <a:cubicBezTo>
                      <a:pt x="18" y="137"/>
                      <a:pt x="14" y="125"/>
                      <a:pt x="15" y="121"/>
                    </a:cubicBezTo>
                    <a:cubicBezTo>
                      <a:pt x="15" y="110"/>
                      <a:pt x="18" y="108"/>
                      <a:pt x="23" y="104"/>
                    </a:cubicBezTo>
                    <a:cubicBezTo>
                      <a:pt x="27" y="99"/>
                      <a:pt x="27" y="94"/>
                      <a:pt x="27" y="94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0" name="Google Shape;454;p35">
              <a:extLst>
                <a:ext uri="{FF2B5EF4-FFF2-40B4-BE49-F238E27FC236}">
                  <a16:creationId xmlns:a16="http://schemas.microsoft.com/office/drawing/2014/main" id="{47745F81-27CB-04EC-B048-4AF00BC3DAE0}"/>
                </a:ext>
              </a:extLst>
            </p:cNvPr>
            <p:cNvSpPr/>
            <p:nvPr/>
          </p:nvSpPr>
          <p:spPr>
            <a:xfrm>
              <a:off x="6139018" y="2732588"/>
              <a:ext cx="910674" cy="1191716"/>
            </a:xfrm>
            <a:custGeom>
              <a:avLst/>
              <a:gdLst/>
              <a:ahLst/>
              <a:cxnLst/>
              <a:rect l="l" t="t" r="r" b="b"/>
              <a:pathLst>
                <a:path w="277" h="362" extrusionOk="0">
                  <a:moveTo>
                    <a:pt x="23" y="35"/>
                  </a:moveTo>
                  <a:cubicBezTo>
                    <a:pt x="25" y="30"/>
                    <a:pt x="38" y="32"/>
                    <a:pt x="42" y="32"/>
                  </a:cubicBezTo>
                  <a:cubicBezTo>
                    <a:pt x="46" y="32"/>
                    <a:pt x="47" y="22"/>
                    <a:pt x="52" y="22"/>
                  </a:cubicBezTo>
                  <a:cubicBezTo>
                    <a:pt x="57" y="22"/>
                    <a:pt x="76" y="28"/>
                    <a:pt x="79" y="26"/>
                  </a:cubicBezTo>
                  <a:cubicBezTo>
                    <a:pt x="82" y="25"/>
                    <a:pt x="97" y="19"/>
                    <a:pt x="101" y="15"/>
                  </a:cubicBezTo>
                  <a:cubicBezTo>
                    <a:pt x="105" y="10"/>
                    <a:pt x="113" y="0"/>
                    <a:pt x="113" y="0"/>
                  </a:cubicBezTo>
                  <a:cubicBezTo>
                    <a:pt x="115" y="1"/>
                    <a:pt x="137" y="21"/>
                    <a:pt x="142" y="23"/>
                  </a:cubicBezTo>
                  <a:cubicBezTo>
                    <a:pt x="147" y="25"/>
                    <a:pt x="173" y="28"/>
                    <a:pt x="174" y="30"/>
                  </a:cubicBezTo>
                  <a:cubicBezTo>
                    <a:pt x="175" y="32"/>
                    <a:pt x="174" y="55"/>
                    <a:pt x="174" y="60"/>
                  </a:cubicBezTo>
                  <a:cubicBezTo>
                    <a:pt x="174" y="65"/>
                    <a:pt x="165" y="79"/>
                    <a:pt x="165" y="82"/>
                  </a:cubicBezTo>
                  <a:cubicBezTo>
                    <a:pt x="165" y="85"/>
                    <a:pt x="185" y="83"/>
                    <a:pt x="184" y="90"/>
                  </a:cubicBezTo>
                  <a:cubicBezTo>
                    <a:pt x="184" y="94"/>
                    <a:pt x="175" y="142"/>
                    <a:pt x="175" y="145"/>
                  </a:cubicBezTo>
                  <a:cubicBezTo>
                    <a:pt x="175" y="148"/>
                    <a:pt x="194" y="169"/>
                    <a:pt x="199" y="175"/>
                  </a:cubicBezTo>
                  <a:cubicBezTo>
                    <a:pt x="204" y="180"/>
                    <a:pt x="222" y="176"/>
                    <a:pt x="226" y="178"/>
                  </a:cubicBezTo>
                  <a:cubicBezTo>
                    <a:pt x="230" y="179"/>
                    <a:pt x="263" y="197"/>
                    <a:pt x="267" y="199"/>
                  </a:cubicBezTo>
                  <a:cubicBezTo>
                    <a:pt x="271" y="202"/>
                    <a:pt x="273" y="214"/>
                    <a:pt x="275" y="223"/>
                  </a:cubicBezTo>
                  <a:cubicBezTo>
                    <a:pt x="277" y="231"/>
                    <a:pt x="269" y="237"/>
                    <a:pt x="265" y="241"/>
                  </a:cubicBezTo>
                  <a:cubicBezTo>
                    <a:pt x="260" y="239"/>
                    <a:pt x="255" y="237"/>
                    <a:pt x="254" y="237"/>
                  </a:cubicBezTo>
                  <a:cubicBezTo>
                    <a:pt x="251" y="237"/>
                    <a:pt x="218" y="243"/>
                    <a:pt x="214" y="244"/>
                  </a:cubicBezTo>
                  <a:cubicBezTo>
                    <a:pt x="210" y="244"/>
                    <a:pt x="177" y="254"/>
                    <a:pt x="177" y="258"/>
                  </a:cubicBezTo>
                  <a:cubicBezTo>
                    <a:pt x="177" y="261"/>
                    <a:pt x="172" y="298"/>
                    <a:pt x="172" y="304"/>
                  </a:cubicBezTo>
                  <a:cubicBezTo>
                    <a:pt x="173" y="309"/>
                    <a:pt x="177" y="327"/>
                    <a:pt x="179" y="330"/>
                  </a:cubicBezTo>
                  <a:cubicBezTo>
                    <a:pt x="179" y="332"/>
                    <a:pt x="182" y="333"/>
                    <a:pt x="185" y="334"/>
                  </a:cubicBezTo>
                  <a:cubicBezTo>
                    <a:pt x="185" y="334"/>
                    <a:pt x="180" y="359"/>
                    <a:pt x="178" y="361"/>
                  </a:cubicBezTo>
                  <a:cubicBezTo>
                    <a:pt x="176" y="362"/>
                    <a:pt x="162" y="359"/>
                    <a:pt x="159" y="359"/>
                  </a:cubicBezTo>
                  <a:cubicBezTo>
                    <a:pt x="156" y="359"/>
                    <a:pt x="133" y="351"/>
                    <a:pt x="129" y="350"/>
                  </a:cubicBezTo>
                  <a:cubicBezTo>
                    <a:pt x="124" y="348"/>
                    <a:pt x="124" y="341"/>
                    <a:pt x="122" y="335"/>
                  </a:cubicBezTo>
                  <a:cubicBezTo>
                    <a:pt x="119" y="330"/>
                    <a:pt x="99" y="336"/>
                    <a:pt x="96" y="333"/>
                  </a:cubicBezTo>
                  <a:cubicBezTo>
                    <a:pt x="92" y="330"/>
                    <a:pt x="76" y="292"/>
                    <a:pt x="74" y="290"/>
                  </a:cubicBezTo>
                  <a:cubicBezTo>
                    <a:pt x="72" y="288"/>
                    <a:pt x="46" y="281"/>
                    <a:pt x="44" y="277"/>
                  </a:cubicBezTo>
                  <a:cubicBezTo>
                    <a:pt x="42" y="274"/>
                    <a:pt x="41" y="253"/>
                    <a:pt x="41" y="250"/>
                  </a:cubicBezTo>
                  <a:cubicBezTo>
                    <a:pt x="41" y="244"/>
                    <a:pt x="22" y="241"/>
                    <a:pt x="15" y="241"/>
                  </a:cubicBezTo>
                  <a:cubicBezTo>
                    <a:pt x="15" y="241"/>
                    <a:pt x="11" y="226"/>
                    <a:pt x="8" y="222"/>
                  </a:cubicBezTo>
                  <a:cubicBezTo>
                    <a:pt x="4" y="219"/>
                    <a:pt x="0" y="209"/>
                    <a:pt x="2" y="206"/>
                  </a:cubicBezTo>
                  <a:cubicBezTo>
                    <a:pt x="5" y="204"/>
                    <a:pt x="11" y="195"/>
                    <a:pt x="10" y="192"/>
                  </a:cubicBezTo>
                  <a:cubicBezTo>
                    <a:pt x="9" y="190"/>
                    <a:pt x="6" y="172"/>
                    <a:pt x="6" y="172"/>
                  </a:cubicBezTo>
                  <a:cubicBezTo>
                    <a:pt x="6" y="172"/>
                    <a:pt x="41" y="168"/>
                    <a:pt x="43" y="168"/>
                  </a:cubicBezTo>
                  <a:cubicBezTo>
                    <a:pt x="45" y="168"/>
                    <a:pt x="53" y="155"/>
                    <a:pt x="53" y="150"/>
                  </a:cubicBezTo>
                  <a:cubicBezTo>
                    <a:pt x="53" y="146"/>
                    <a:pt x="48" y="130"/>
                    <a:pt x="49" y="127"/>
                  </a:cubicBezTo>
                  <a:cubicBezTo>
                    <a:pt x="49" y="124"/>
                    <a:pt x="57" y="115"/>
                    <a:pt x="53" y="110"/>
                  </a:cubicBezTo>
                  <a:cubicBezTo>
                    <a:pt x="50" y="106"/>
                    <a:pt x="41" y="101"/>
                    <a:pt x="40" y="97"/>
                  </a:cubicBezTo>
                  <a:cubicBezTo>
                    <a:pt x="40" y="92"/>
                    <a:pt x="47" y="88"/>
                    <a:pt x="45" y="84"/>
                  </a:cubicBezTo>
                  <a:cubicBezTo>
                    <a:pt x="44" y="81"/>
                    <a:pt x="34" y="61"/>
                    <a:pt x="30" y="57"/>
                  </a:cubicBezTo>
                  <a:cubicBezTo>
                    <a:pt x="26" y="52"/>
                    <a:pt x="21" y="39"/>
                    <a:pt x="23" y="35"/>
                  </a:cubicBez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455;p35">
              <a:extLst>
                <a:ext uri="{FF2B5EF4-FFF2-40B4-BE49-F238E27FC236}">
                  <a16:creationId xmlns:a16="http://schemas.microsoft.com/office/drawing/2014/main" id="{7AB51DBF-8098-88E2-B534-E8D8B346C133}"/>
                </a:ext>
              </a:extLst>
            </p:cNvPr>
            <p:cNvSpPr/>
            <p:nvPr/>
          </p:nvSpPr>
          <p:spPr>
            <a:xfrm>
              <a:off x="5882077" y="3525981"/>
              <a:ext cx="970844" cy="809651"/>
            </a:xfrm>
            <a:custGeom>
              <a:avLst/>
              <a:gdLst/>
              <a:ahLst/>
              <a:cxnLst/>
              <a:rect l="l" t="t" r="r" b="b"/>
              <a:pathLst>
                <a:path w="295" h="246" extrusionOk="0">
                  <a:moveTo>
                    <a:pt x="4" y="165"/>
                  </a:moveTo>
                  <a:cubicBezTo>
                    <a:pt x="0" y="163"/>
                    <a:pt x="18" y="137"/>
                    <a:pt x="19" y="132"/>
                  </a:cubicBezTo>
                  <a:cubicBezTo>
                    <a:pt x="20" y="127"/>
                    <a:pt x="16" y="115"/>
                    <a:pt x="20" y="111"/>
                  </a:cubicBezTo>
                  <a:cubicBezTo>
                    <a:pt x="25" y="107"/>
                    <a:pt x="38" y="110"/>
                    <a:pt x="39" y="106"/>
                  </a:cubicBezTo>
                  <a:cubicBezTo>
                    <a:pt x="40" y="102"/>
                    <a:pt x="42" y="78"/>
                    <a:pt x="42" y="78"/>
                  </a:cubicBezTo>
                  <a:cubicBezTo>
                    <a:pt x="42" y="78"/>
                    <a:pt x="24" y="69"/>
                    <a:pt x="20" y="64"/>
                  </a:cubicBezTo>
                  <a:cubicBezTo>
                    <a:pt x="18" y="60"/>
                    <a:pt x="14" y="51"/>
                    <a:pt x="12" y="46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6" y="41"/>
                    <a:pt x="24" y="36"/>
                    <a:pt x="30" y="36"/>
                  </a:cubicBezTo>
                  <a:cubicBezTo>
                    <a:pt x="38" y="35"/>
                    <a:pt x="47" y="25"/>
                    <a:pt x="51" y="22"/>
                  </a:cubicBezTo>
                  <a:cubicBezTo>
                    <a:pt x="55" y="19"/>
                    <a:pt x="55" y="8"/>
                    <a:pt x="60" y="8"/>
                  </a:cubicBezTo>
                  <a:cubicBezTo>
                    <a:pt x="65" y="8"/>
                    <a:pt x="74" y="16"/>
                    <a:pt x="76" y="14"/>
                  </a:cubicBezTo>
                  <a:cubicBezTo>
                    <a:pt x="79" y="13"/>
                    <a:pt x="93" y="0"/>
                    <a:pt x="93" y="0"/>
                  </a:cubicBezTo>
                  <a:cubicBezTo>
                    <a:pt x="100" y="0"/>
                    <a:pt x="119" y="3"/>
                    <a:pt x="119" y="9"/>
                  </a:cubicBezTo>
                  <a:cubicBezTo>
                    <a:pt x="119" y="12"/>
                    <a:pt x="120" y="33"/>
                    <a:pt x="122" y="36"/>
                  </a:cubicBezTo>
                  <a:cubicBezTo>
                    <a:pt x="124" y="40"/>
                    <a:pt x="150" y="47"/>
                    <a:pt x="152" y="49"/>
                  </a:cubicBezTo>
                  <a:cubicBezTo>
                    <a:pt x="154" y="51"/>
                    <a:pt x="170" y="89"/>
                    <a:pt x="174" y="92"/>
                  </a:cubicBezTo>
                  <a:cubicBezTo>
                    <a:pt x="177" y="95"/>
                    <a:pt x="197" y="89"/>
                    <a:pt x="200" y="94"/>
                  </a:cubicBezTo>
                  <a:cubicBezTo>
                    <a:pt x="202" y="100"/>
                    <a:pt x="202" y="107"/>
                    <a:pt x="207" y="109"/>
                  </a:cubicBezTo>
                  <a:cubicBezTo>
                    <a:pt x="211" y="110"/>
                    <a:pt x="234" y="118"/>
                    <a:pt x="237" y="118"/>
                  </a:cubicBezTo>
                  <a:cubicBezTo>
                    <a:pt x="240" y="118"/>
                    <a:pt x="254" y="121"/>
                    <a:pt x="256" y="120"/>
                  </a:cubicBezTo>
                  <a:cubicBezTo>
                    <a:pt x="258" y="118"/>
                    <a:pt x="263" y="93"/>
                    <a:pt x="263" y="93"/>
                  </a:cubicBezTo>
                  <a:cubicBezTo>
                    <a:pt x="266" y="94"/>
                    <a:pt x="269" y="95"/>
                    <a:pt x="270" y="96"/>
                  </a:cubicBezTo>
                  <a:cubicBezTo>
                    <a:pt x="272" y="97"/>
                    <a:pt x="295" y="125"/>
                    <a:pt x="295" y="125"/>
                  </a:cubicBezTo>
                  <a:cubicBezTo>
                    <a:pt x="263" y="144"/>
                    <a:pt x="263" y="144"/>
                    <a:pt x="263" y="144"/>
                  </a:cubicBezTo>
                  <a:cubicBezTo>
                    <a:pt x="268" y="165"/>
                    <a:pt x="268" y="165"/>
                    <a:pt x="268" y="165"/>
                  </a:cubicBezTo>
                  <a:cubicBezTo>
                    <a:pt x="268" y="165"/>
                    <a:pt x="256" y="175"/>
                    <a:pt x="253" y="177"/>
                  </a:cubicBezTo>
                  <a:cubicBezTo>
                    <a:pt x="250" y="180"/>
                    <a:pt x="239" y="184"/>
                    <a:pt x="235" y="187"/>
                  </a:cubicBezTo>
                  <a:cubicBezTo>
                    <a:pt x="231" y="190"/>
                    <a:pt x="226" y="203"/>
                    <a:pt x="226" y="207"/>
                  </a:cubicBezTo>
                  <a:cubicBezTo>
                    <a:pt x="226" y="207"/>
                    <a:pt x="211" y="211"/>
                    <a:pt x="206" y="213"/>
                  </a:cubicBezTo>
                  <a:cubicBezTo>
                    <a:pt x="201" y="214"/>
                    <a:pt x="188" y="215"/>
                    <a:pt x="186" y="215"/>
                  </a:cubicBezTo>
                  <a:cubicBezTo>
                    <a:pt x="183" y="214"/>
                    <a:pt x="175" y="196"/>
                    <a:pt x="173" y="194"/>
                  </a:cubicBezTo>
                  <a:cubicBezTo>
                    <a:pt x="170" y="192"/>
                    <a:pt x="161" y="194"/>
                    <a:pt x="158" y="196"/>
                  </a:cubicBezTo>
                  <a:cubicBezTo>
                    <a:pt x="155" y="198"/>
                    <a:pt x="157" y="213"/>
                    <a:pt x="157" y="216"/>
                  </a:cubicBezTo>
                  <a:cubicBezTo>
                    <a:pt x="157" y="219"/>
                    <a:pt x="156" y="234"/>
                    <a:pt x="152" y="236"/>
                  </a:cubicBezTo>
                  <a:cubicBezTo>
                    <a:pt x="148" y="238"/>
                    <a:pt x="142" y="228"/>
                    <a:pt x="140" y="224"/>
                  </a:cubicBezTo>
                  <a:cubicBezTo>
                    <a:pt x="138" y="221"/>
                    <a:pt x="127" y="218"/>
                    <a:pt x="126" y="218"/>
                  </a:cubicBezTo>
                  <a:cubicBezTo>
                    <a:pt x="124" y="218"/>
                    <a:pt x="100" y="216"/>
                    <a:pt x="98" y="218"/>
                  </a:cubicBezTo>
                  <a:cubicBezTo>
                    <a:pt x="96" y="220"/>
                    <a:pt x="106" y="232"/>
                    <a:pt x="106" y="232"/>
                  </a:cubicBezTo>
                  <a:cubicBezTo>
                    <a:pt x="107" y="244"/>
                    <a:pt x="107" y="244"/>
                    <a:pt x="107" y="244"/>
                  </a:cubicBezTo>
                  <a:cubicBezTo>
                    <a:pt x="107" y="244"/>
                    <a:pt x="82" y="246"/>
                    <a:pt x="82" y="242"/>
                  </a:cubicBezTo>
                  <a:cubicBezTo>
                    <a:pt x="82" y="238"/>
                    <a:pt x="81" y="230"/>
                    <a:pt x="79" y="226"/>
                  </a:cubicBezTo>
                  <a:cubicBezTo>
                    <a:pt x="77" y="221"/>
                    <a:pt x="58" y="206"/>
                    <a:pt x="54" y="203"/>
                  </a:cubicBezTo>
                  <a:cubicBezTo>
                    <a:pt x="51" y="200"/>
                    <a:pt x="28" y="184"/>
                    <a:pt x="27" y="186"/>
                  </a:cubicBezTo>
                  <a:cubicBezTo>
                    <a:pt x="23" y="182"/>
                    <a:pt x="8" y="168"/>
                    <a:pt x="4" y="165"/>
                  </a:cubicBez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456;p35">
              <a:extLst>
                <a:ext uri="{FF2B5EF4-FFF2-40B4-BE49-F238E27FC236}">
                  <a16:creationId xmlns:a16="http://schemas.microsoft.com/office/drawing/2014/main" id="{DBA7857E-B46F-6151-4FAD-2B2F8329C563}"/>
                </a:ext>
              </a:extLst>
            </p:cNvPr>
            <p:cNvSpPr/>
            <p:nvPr/>
          </p:nvSpPr>
          <p:spPr>
            <a:xfrm>
              <a:off x="5859310" y="2342395"/>
              <a:ext cx="203276" cy="193471"/>
            </a:xfrm>
            <a:custGeom>
              <a:avLst/>
              <a:gdLst/>
              <a:ahLst/>
              <a:cxnLst/>
              <a:rect l="l" t="t" r="r" b="b"/>
              <a:pathLst>
                <a:path w="62" h="59" extrusionOk="0">
                  <a:moveTo>
                    <a:pt x="18" y="53"/>
                  </a:moveTo>
                  <a:cubicBezTo>
                    <a:pt x="12" y="49"/>
                    <a:pt x="5" y="36"/>
                    <a:pt x="5" y="33"/>
                  </a:cubicBezTo>
                  <a:cubicBezTo>
                    <a:pt x="5" y="30"/>
                    <a:pt x="4" y="29"/>
                    <a:pt x="0" y="27"/>
                  </a:cubicBezTo>
                  <a:cubicBezTo>
                    <a:pt x="3" y="23"/>
                    <a:pt x="12" y="15"/>
                    <a:pt x="12" y="15"/>
                  </a:cubicBezTo>
                  <a:cubicBezTo>
                    <a:pt x="14" y="12"/>
                    <a:pt x="27" y="12"/>
                    <a:pt x="30" y="9"/>
                  </a:cubicBezTo>
                  <a:cubicBezTo>
                    <a:pt x="34" y="6"/>
                    <a:pt x="40" y="0"/>
                    <a:pt x="42" y="0"/>
                  </a:cubicBezTo>
                  <a:cubicBezTo>
                    <a:pt x="45" y="0"/>
                    <a:pt x="49" y="1"/>
                    <a:pt x="53" y="1"/>
                  </a:cubicBezTo>
                  <a:cubicBezTo>
                    <a:pt x="57" y="1"/>
                    <a:pt x="56" y="14"/>
                    <a:pt x="54" y="17"/>
                  </a:cubicBezTo>
                  <a:cubicBezTo>
                    <a:pt x="51" y="20"/>
                    <a:pt x="49" y="26"/>
                    <a:pt x="50" y="30"/>
                  </a:cubicBezTo>
                  <a:cubicBezTo>
                    <a:pt x="52" y="34"/>
                    <a:pt x="56" y="39"/>
                    <a:pt x="58" y="42"/>
                  </a:cubicBezTo>
                  <a:cubicBezTo>
                    <a:pt x="60" y="44"/>
                    <a:pt x="62" y="51"/>
                    <a:pt x="62" y="51"/>
                  </a:cubicBezTo>
                  <a:cubicBezTo>
                    <a:pt x="59" y="51"/>
                    <a:pt x="56" y="59"/>
                    <a:pt x="50" y="57"/>
                  </a:cubicBezTo>
                  <a:cubicBezTo>
                    <a:pt x="45" y="55"/>
                    <a:pt x="39" y="47"/>
                    <a:pt x="36" y="49"/>
                  </a:cubicBezTo>
                  <a:cubicBezTo>
                    <a:pt x="33" y="50"/>
                    <a:pt x="24" y="57"/>
                    <a:pt x="18" y="53"/>
                  </a:cubicBez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457;p35">
              <a:extLst>
                <a:ext uri="{FF2B5EF4-FFF2-40B4-BE49-F238E27FC236}">
                  <a16:creationId xmlns:a16="http://schemas.microsoft.com/office/drawing/2014/main" id="{38781449-ACCE-67AA-71A3-1C81142A6B9A}"/>
                </a:ext>
              </a:extLst>
            </p:cNvPr>
            <p:cNvSpPr/>
            <p:nvPr/>
          </p:nvSpPr>
          <p:spPr>
            <a:xfrm>
              <a:off x="5569846" y="4130781"/>
              <a:ext cx="1782320" cy="1876181"/>
            </a:xfrm>
            <a:custGeom>
              <a:avLst/>
              <a:gdLst/>
              <a:ahLst/>
              <a:cxnLst/>
              <a:rect l="l" t="t" r="r" b="b"/>
              <a:pathLst>
                <a:path w="542" h="570" extrusionOk="0">
                  <a:moveTo>
                    <a:pt x="0" y="105"/>
                  </a:moveTo>
                  <a:cubicBezTo>
                    <a:pt x="0" y="102"/>
                    <a:pt x="0" y="78"/>
                    <a:pt x="0" y="78"/>
                  </a:cubicBezTo>
                  <a:cubicBezTo>
                    <a:pt x="0" y="78"/>
                    <a:pt x="21" y="71"/>
                    <a:pt x="25" y="71"/>
                  </a:cubicBezTo>
                  <a:cubicBezTo>
                    <a:pt x="28" y="71"/>
                    <a:pt x="44" y="79"/>
                    <a:pt x="44" y="80"/>
                  </a:cubicBezTo>
                  <a:cubicBezTo>
                    <a:pt x="44" y="81"/>
                    <a:pt x="59" y="79"/>
                    <a:pt x="59" y="79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9" y="54"/>
                    <a:pt x="72" y="54"/>
                    <a:pt x="74" y="54"/>
                  </a:cubicBezTo>
                  <a:cubicBezTo>
                    <a:pt x="76" y="54"/>
                    <a:pt x="85" y="26"/>
                    <a:pt x="85" y="26"/>
                  </a:cubicBezTo>
                  <a:cubicBezTo>
                    <a:pt x="110" y="20"/>
                    <a:pt x="110" y="20"/>
                    <a:pt x="110" y="20"/>
                  </a:cubicBezTo>
                  <a:cubicBezTo>
                    <a:pt x="110" y="20"/>
                    <a:pt x="120" y="3"/>
                    <a:pt x="122" y="2"/>
                  </a:cubicBezTo>
                  <a:cubicBezTo>
                    <a:pt x="123" y="0"/>
                    <a:pt x="146" y="16"/>
                    <a:pt x="149" y="19"/>
                  </a:cubicBezTo>
                  <a:cubicBezTo>
                    <a:pt x="153" y="22"/>
                    <a:pt x="172" y="37"/>
                    <a:pt x="174" y="42"/>
                  </a:cubicBezTo>
                  <a:cubicBezTo>
                    <a:pt x="176" y="46"/>
                    <a:pt x="177" y="54"/>
                    <a:pt x="177" y="58"/>
                  </a:cubicBezTo>
                  <a:cubicBezTo>
                    <a:pt x="177" y="62"/>
                    <a:pt x="202" y="60"/>
                    <a:pt x="202" y="60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201" y="48"/>
                    <a:pt x="191" y="36"/>
                    <a:pt x="193" y="34"/>
                  </a:cubicBezTo>
                  <a:cubicBezTo>
                    <a:pt x="195" y="32"/>
                    <a:pt x="219" y="34"/>
                    <a:pt x="221" y="34"/>
                  </a:cubicBezTo>
                  <a:cubicBezTo>
                    <a:pt x="222" y="34"/>
                    <a:pt x="233" y="37"/>
                    <a:pt x="235" y="40"/>
                  </a:cubicBezTo>
                  <a:cubicBezTo>
                    <a:pt x="237" y="44"/>
                    <a:pt x="243" y="54"/>
                    <a:pt x="247" y="52"/>
                  </a:cubicBezTo>
                  <a:cubicBezTo>
                    <a:pt x="251" y="50"/>
                    <a:pt x="252" y="35"/>
                    <a:pt x="252" y="32"/>
                  </a:cubicBezTo>
                  <a:cubicBezTo>
                    <a:pt x="252" y="29"/>
                    <a:pt x="250" y="14"/>
                    <a:pt x="253" y="12"/>
                  </a:cubicBezTo>
                  <a:cubicBezTo>
                    <a:pt x="256" y="10"/>
                    <a:pt x="265" y="8"/>
                    <a:pt x="268" y="10"/>
                  </a:cubicBezTo>
                  <a:cubicBezTo>
                    <a:pt x="270" y="12"/>
                    <a:pt x="278" y="30"/>
                    <a:pt x="281" y="31"/>
                  </a:cubicBezTo>
                  <a:cubicBezTo>
                    <a:pt x="283" y="31"/>
                    <a:pt x="296" y="30"/>
                    <a:pt x="301" y="29"/>
                  </a:cubicBezTo>
                  <a:cubicBezTo>
                    <a:pt x="306" y="27"/>
                    <a:pt x="321" y="23"/>
                    <a:pt x="321" y="23"/>
                  </a:cubicBezTo>
                  <a:cubicBezTo>
                    <a:pt x="321" y="23"/>
                    <a:pt x="332" y="40"/>
                    <a:pt x="335" y="43"/>
                  </a:cubicBezTo>
                  <a:cubicBezTo>
                    <a:pt x="335" y="43"/>
                    <a:pt x="335" y="49"/>
                    <a:pt x="338" y="54"/>
                  </a:cubicBezTo>
                  <a:cubicBezTo>
                    <a:pt x="339" y="56"/>
                    <a:pt x="348" y="59"/>
                    <a:pt x="349" y="64"/>
                  </a:cubicBezTo>
                  <a:cubicBezTo>
                    <a:pt x="350" y="68"/>
                    <a:pt x="350" y="74"/>
                    <a:pt x="356" y="79"/>
                  </a:cubicBezTo>
                  <a:cubicBezTo>
                    <a:pt x="361" y="84"/>
                    <a:pt x="381" y="98"/>
                    <a:pt x="385" y="101"/>
                  </a:cubicBezTo>
                  <a:cubicBezTo>
                    <a:pt x="389" y="104"/>
                    <a:pt x="396" y="110"/>
                    <a:pt x="394" y="114"/>
                  </a:cubicBezTo>
                  <a:cubicBezTo>
                    <a:pt x="392" y="117"/>
                    <a:pt x="377" y="130"/>
                    <a:pt x="377" y="137"/>
                  </a:cubicBezTo>
                  <a:cubicBezTo>
                    <a:pt x="377" y="144"/>
                    <a:pt x="388" y="144"/>
                    <a:pt x="390" y="151"/>
                  </a:cubicBezTo>
                  <a:cubicBezTo>
                    <a:pt x="391" y="158"/>
                    <a:pt x="395" y="160"/>
                    <a:pt x="395" y="168"/>
                  </a:cubicBezTo>
                  <a:cubicBezTo>
                    <a:pt x="395" y="175"/>
                    <a:pt x="397" y="176"/>
                    <a:pt x="398" y="178"/>
                  </a:cubicBezTo>
                  <a:cubicBezTo>
                    <a:pt x="398" y="180"/>
                    <a:pt x="407" y="174"/>
                    <a:pt x="408" y="178"/>
                  </a:cubicBezTo>
                  <a:cubicBezTo>
                    <a:pt x="408" y="182"/>
                    <a:pt x="406" y="188"/>
                    <a:pt x="410" y="196"/>
                  </a:cubicBezTo>
                  <a:cubicBezTo>
                    <a:pt x="414" y="203"/>
                    <a:pt x="419" y="209"/>
                    <a:pt x="424" y="209"/>
                  </a:cubicBezTo>
                  <a:cubicBezTo>
                    <a:pt x="428" y="209"/>
                    <a:pt x="434" y="204"/>
                    <a:pt x="439" y="206"/>
                  </a:cubicBezTo>
                  <a:cubicBezTo>
                    <a:pt x="444" y="208"/>
                    <a:pt x="454" y="224"/>
                    <a:pt x="458" y="230"/>
                  </a:cubicBezTo>
                  <a:cubicBezTo>
                    <a:pt x="463" y="236"/>
                    <a:pt x="460" y="241"/>
                    <a:pt x="464" y="244"/>
                  </a:cubicBezTo>
                  <a:cubicBezTo>
                    <a:pt x="469" y="248"/>
                    <a:pt x="472" y="243"/>
                    <a:pt x="479" y="246"/>
                  </a:cubicBezTo>
                  <a:cubicBezTo>
                    <a:pt x="486" y="250"/>
                    <a:pt x="492" y="254"/>
                    <a:pt x="492" y="259"/>
                  </a:cubicBezTo>
                  <a:cubicBezTo>
                    <a:pt x="492" y="264"/>
                    <a:pt x="490" y="266"/>
                    <a:pt x="492" y="270"/>
                  </a:cubicBezTo>
                  <a:cubicBezTo>
                    <a:pt x="494" y="274"/>
                    <a:pt x="502" y="278"/>
                    <a:pt x="504" y="278"/>
                  </a:cubicBezTo>
                  <a:cubicBezTo>
                    <a:pt x="507" y="278"/>
                    <a:pt x="510" y="270"/>
                    <a:pt x="512" y="272"/>
                  </a:cubicBezTo>
                  <a:cubicBezTo>
                    <a:pt x="515" y="274"/>
                    <a:pt x="520" y="282"/>
                    <a:pt x="524" y="283"/>
                  </a:cubicBezTo>
                  <a:cubicBezTo>
                    <a:pt x="528" y="284"/>
                    <a:pt x="532" y="280"/>
                    <a:pt x="534" y="285"/>
                  </a:cubicBezTo>
                  <a:cubicBezTo>
                    <a:pt x="536" y="290"/>
                    <a:pt x="541" y="300"/>
                    <a:pt x="541" y="304"/>
                  </a:cubicBezTo>
                  <a:cubicBezTo>
                    <a:pt x="541" y="308"/>
                    <a:pt x="542" y="332"/>
                    <a:pt x="540" y="337"/>
                  </a:cubicBezTo>
                  <a:cubicBezTo>
                    <a:pt x="537" y="342"/>
                    <a:pt x="534" y="348"/>
                    <a:pt x="530" y="348"/>
                  </a:cubicBezTo>
                  <a:cubicBezTo>
                    <a:pt x="527" y="348"/>
                    <a:pt x="510" y="334"/>
                    <a:pt x="507" y="334"/>
                  </a:cubicBezTo>
                  <a:cubicBezTo>
                    <a:pt x="504" y="335"/>
                    <a:pt x="500" y="342"/>
                    <a:pt x="498" y="342"/>
                  </a:cubicBezTo>
                  <a:cubicBezTo>
                    <a:pt x="496" y="343"/>
                    <a:pt x="504" y="367"/>
                    <a:pt x="497" y="372"/>
                  </a:cubicBezTo>
                  <a:cubicBezTo>
                    <a:pt x="490" y="376"/>
                    <a:pt x="486" y="387"/>
                    <a:pt x="480" y="387"/>
                  </a:cubicBezTo>
                  <a:cubicBezTo>
                    <a:pt x="475" y="387"/>
                    <a:pt x="468" y="391"/>
                    <a:pt x="456" y="393"/>
                  </a:cubicBezTo>
                  <a:cubicBezTo>
                    <a:pt x="445" y="395"/>
                    <a:pt x="440" y="404"/>
                    <a:pt x="436" y="406"/>
                  </a:cubicBezTo>
                  <a:cubicBezTo>
                    <a:pt x="431" y="408"/>
                    <a:pt x="426" y="415"/>
                    <a:pt x="423" y="421"/>
                  </a:cubicBezTo>
                  <a:cubicBezTo>
                    <a:pt x="420" y="427"/>
                    <a:pt x="428" y="431"/>
                    <a:pt x="432" y="436"/>
                  </a:cubicBezTo>
                  <a:cubicBezTo>
                    <a:pt x="437" y="442"/>
                    <a:pt x="449" y="459"/>
                    <a:pt x="452" y="464"/>
                  </a:cubicBezTo>
                  <a:cubicBezTo>
                    <a:pt x="456" y="468"/>
                    <a:pt x="442" y="480"/>
                    <a:pt x="442" y="485"/>
                  </a:cubicBezTo>
                  <a:cubicBezTo>
                    <a:pt x="442" y="490"/>
                    <a:pt x="448" y="488"/>
                    <a:pt x="453" y="488"/>
                  </a:cubicBezTo>
                  <a:cubicBezTo>
                    <a:pt x="458" y="487"/>
                    <a:pt x="459" y="486"/>
                    <a:pt x="462" y="491"/>
                  </a:cubicBezTo>
                  <a:cubicBezTo>
                    <a:pt x="466" y="496"/>
                    <a:pt x="461" y="508"/>
                    <a:pt x="460" y="513"/>
                  </a:cubicBezTo>
                  <a:cubicBezTo>
                    <a:pt x="458" y="518"/>
                    <a:pt x="464" y="524"/>
                    <a:pt x="458" y="526"/>
                  </a:cubicBezTo>
                  <a:cubicBezTo>
                    <a:pt x="453" y="529"/>
                    <a:pt x="452" y="532"/>
                    <a:pt x="448" y="530"/>
                  </a:cubicBezTo>
                  <a:cubicBezTo>
                    <a:pt x="444" y="528"/>
                    <a:pt x="436" y="520"/>
                    <a:pt x="432" y="516"/>
                  </a:cubicBezTo>
                  <a:cubicBezTo>
                    <a:pt x="428" y="512"/>
                    <a:pt x="436" y="508"/>
                    <a:pt x="434" y="504"/>
                  </a:cubicBezTo>
                  <a:cubicBezTo>
                    <a:pt x="432" y="500"/>
                    <a:pt x="431" y="497"/>
                    <a:pt x="427" y="495"/>
                  </a:cubicBezTo>
                  <a:cubicBezTo>
                    <a:pt x="423" y="493"/>
                    <a:pt x="416" y="494"/>
                    <a:pt x="411" y="495"/>
                  </a:cubicBezTo>
                  <a:cubicBezTo>
                    <a:pt x="406" y="496"/>
                    <a:pt x="408" y="505"/>
                    <a:pt x="404" y="506"/>
                  </a:cubicBezTo>
                  <a:cubicBezTo>
                    <a:pt x="400" y="506"/>
                    <a:pt x="398" y="508"/>
                    <a:pt x="394" y="506"/>
                  </a:cubicBezTo>
                  <a:cubicBezTo>
                    <a:pt x="390" y="504"/>
                    <a:pt x="390" y="491"/>
                    <a:pt x="386" y="490"/>
                  </a:cubicBezTo>
                  <a:cubicBezTo>
                    <a:pt x="382" y="490"/>
                    <a:pt x="362" y="494"/>
                    <a:pt x="358" y="494"/>
                  </a:cubicBezTo>
                  <a:cubicBezTo>
                    <a:pt x="354" y="494"/>
                    <a:pt x="364" y="508"/>
                    <a:pt x="359" y="508"/>
                  </a:cubicBezTo>
                  <a:cubicBezTo>
                    <a:pt x="354" y="509"/>
                    <a:pt x="324" y="510"/>
                    <a:pt x="316" y="510"/>
                  </a:cubicBezTo>
                  <a:cubicBezTo>
                    <a:pt x="308" y="510"/>
                    <a:pt x="296" y="514"/>
                    <a:pt x="292" y="514"/>
                  </a:cubicBezTo>
                  <a:cubicBezTo>
                    <a:pt x="287" y="514"/>
                    <a:pt x="290" y="526"/>
                    <a:pt x="285" y="526"/>
                  </a:cubicBezTo>
                  <a:cubicBezTo>
                    <a:pt x="280" y="527"/>
                    <a:pt x="272" y="524"/>
                    <a:pt x="268" y="526"/>
                  </a:cubicBezTo>
                  <a:cubicBezTo>
                    <a:pt x="264" y="528"/>
                    <a:pt x="272" y="539"/>
                    <a:pt x="266" y="539"/>
                  </a:cubicBezTo>
                  <a:cubicBezTo>
                    <a:pt x="260" y="539"/>
                    <a:pt x="238" y="544"/>
                    <a:pt x="230" y="545"/>
                  </a:cubicBezTo>
                  <a:cubicBezTo>
                    <a:pt x="222" y="546"/>
                    <a:pt x="222" y="546"/>
                    <a:pt x="219" y="546"/>
                  </a:cubicBezTo>
                  <a:cubicBezTo>
                    <a:pt x="216" y="545"/>
                    <a:pt x="210" y="528"/>
                    <a:pt x="206" y="525"/>
                  </a:cubicBezTo>
                  <a:cubicBezTo>
                    <a:pt x="202" y="522"/>
                    <a:pt x="184" y="514"/>
                    <a:pt x="178" y="516"/>
                  </a:cubicBezTo>
                  <a:cubicBezTo>
                    <a:pt x="172" y="517"/>
                    <a:pt x="168" y="521"/>
                    <a:pt x="166" y="521"/>
                  </a:cubicBezTo>
                  <a:cubicBezTo>
                    <a:pt x="163" y="521"/>
                    <a:pt x="159" y="518"/>
                    <a:pt x="156" y="518"/>
                  </a:cubicBezTo>
                  <a:cubicBezTo>
                    <a:pt x="152" y="519"/>
                    <a:pt x="152" y="525"/>
                    <a:pt x="154" y="528"/>
                  </a:cubicBezTo>
                  <a:cubicBezTo>
                    <a:pt x="156" y="532"/>
                    <a:pt x="160" y="536"/>
                    <a:pt x="156" y="541"/>
                  </a:cubicBezTo>
                  <a:cubicBezTo>
                    <a:pt x="152" y="546"/>
                    <a:pt x="147" y="560"/>
                    <a:pt x="142" y="560"/>
                  </a:cubicBezTo>
                  <a:cubicBezTo>
                    <a:pt x="138" y="560"/>
                    <a:pt x="128" y="570"/>
                    <a:pt x="123" y="566"/>
                  </a:cubicBezTo>
                  <a:cubicBezTo>
                    <a:pt x="118" y="562"/>
                    <a:pt x="132" y="552"/>
                    <a:pt x="128" y="548"/>
                  </a:cubicBezTo>
                  <a:cubicBezTo>
                    <a:pt x="123" y="544"/>
                    <a:pt x="116" y="551"/>
                    <a:pt x="114" y="546"/>
                  </a:cubicBezTo>
                  <a:cubicBezTo>
                    <a:pt x="111" y="542"/>
                    <a:pt x="114" y="537"/>
                    <a:pt x="109" y="531"/>
                  </a:cubicBezTo>
                  <a:cubicBezTo>
                    <a:pt x="104" y="525"/>
                    <a:pt x="103" y="524"/>
                    <a:pt x="98" y="520"/>
                  </a:cubicBezTo>
                  <a:cubicBezTo>
                    <a:pt x="94" y="517"/>
                    <a:pt x="85" y="513"/>
                    <a:pt x="81" y="513"/>
                  </a:cubicBezTo>
                  <a:cubicBezTo>
                    <a:pt x="77" y="513"/>
                    <a:pt x="75" y="524"/>
                    <a:pt x="72" y="525"/>
                  </a:cubicBezTo>
                  <a:cubicBezTo>
                    <a:pt x="68" y="526"/>
                    <a:pt x="52" y="529"/>
                    <a:pt x="52" y="529"/>
                  </a:cubicBezTo>
                  <a:cubicBezTo>
                    <a:pt x="52" y="525"/>
                    <a:pt x="58" y="509"/>
                    <a:pt x="60" y="507"/>
                  </a:cubicBezTo>
                  <a:cubicBezTo>
                    <a:pt x="62" y="505"/>
                    <a:pt x="79" y="492"/>
                    <a:pt x="82" y="491"/>
                  </a:cubicBezTo>
                  <a:cubicBezTo>
                    <a:pt x="85" y="490"/>
                    <a:pt x="113" y="496"/>
                    <a:pt x="116" y="496"/>
                  </a:cubicBezTo>
                  <a:cubicBezTo>
                    <a:pt x="119" y="496"/>
                    <a:pt x="116" y="474"/>
                    <a:pt x="116" y="468"/>
                  </a:cubicBezTo>
                  <a:cubicBezTo>
                    <a:pt x="116" y="462"/>
                    <a:pt x="119" y="432"/>
                    <a:pt x="119" y="427"/>
                  </a:cubicBezTo>
                  <a:cubicBezTo>
                    <a:pt x="120" y="422"/>
                    <a:pt x="107" y="379"/>
                    <a:pt x="106" y="374"/>
                  </a:cubicBezTo>
                  <a:cubicBezTo>
                    <a:pt x="104" y="369"/>
                    <a:pt x="137" y="351"/>
                    <a:pt x="140" y="348"/>
                  </a:cubicBezTo>
                  <a:cubicBezTo>
                    <a:pt x="143" y="346"/>
                    <a:pt x="140" y="333"/>
                    <a:pt x="140" y="330"/>
                  </a:cubicBezTo>
                  <a:cubicBezTo>
                    <a:pt x="139" y="328"/>
                    <a:pt x="160" y="322"/>
                    <a:pt x="161" y="321"/>
                  </a:cubicBezTo>
                  <a:cubicBezTo>
                    <a:pt x="163" y="319"/>
                    <a:pt x="161" y="284"/>
                    <a:pt x="158" y="279"/>
                  </a:cubicBezTo>
                  <a:cubicBezTo>
                    <a:pt x="156" y="275"/>
                    <a:pt x="137" y="256"/>
                    <a:pt x="134" y="252"/>
                  </a:cubicBezTo>
                  <a:cubicBezTo>
                    <a:pt x="131" y="248"/>
                    <a:pt x="123" y="225"/>
                    <a:pt x="123" y="219"/>
                  </a:cubicBezTo>
                  <a:cubicBezTo>
                    <a:pt x="123" y="214"/>
                    <a:pt x="126" y="207"/>
                    <a:pt x="126" y="205"/>
                  </a:cubicBezTo>
                  <a:cubicBezTo>
                    <a:pt x="127" y="203"/>
                    <a:pt x="120" y="181"/>
                    <a:pt x="120" y="181"/>
                  </a:cubicBezTo>
                  <a:cubicBezTo>
                    <a:pt x="100" y="187"/>
                    <a:pt x="100" y="187"/>
                    <a:pt x="100" y="187"/>
                  </a:cubicBezTo>
                  <a:cubicBezTo>
                    <a:pt x="100" y="187"/>
                    <a:pt x="90" y="150"/>
                    <a:pt x="88" y="147"/>
                  </a:cubicBezTo>
                  <a:cubicBezTo>
                    <a:pt x="86" y="144"/>
                    <a:pt x="70" y="147"/>
                    <a:pt x="70" y="147"/>
                  </a:cubicBezTo>
                  <a:cubicBezTo>
                    <a:pt x="69" y="133"/>
                    <a:pt x="69" y="133"/>
                    <a:pt x="69" y="133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6" y="147"/>
                    <a:pt x="36" y="147"/>
                    <a:pt x="36" y="147"/>
                  </a:cubicBezTo>
                  <a:cubicBezTo>
                    <a:pt x="36" y="147"/>
                    <a:pt x="46" y="150"/>
                    <a:pt x="48" y="151"/>
                  </a:cubicBezTo>
                  <a:cubicBezTo>
                    <a:pt x="49" y="151"/>
                    <a:pt x="46" y="160"/>
                    <a:pt x="46" y="162"/>
                  </a:cubicBezTo>
                  <a:cubicBezTo>
                    <a:pt x="46" y="165"/>
                    <a:pt x="14" y="171"/>
                    <a:pt x="11" y="173"/>
                  </a:cubicBezTo>
                  <a:cubicBezTo>
                    <a:pt x="6" y="169"/>
                    <a:pt x="7" y="156"/>
                    <a:pt x="7" y="156"/>
                  </a:cubicBezTo>
                  <a:cubicBezTo>
                    <a:pt x="6" y="149"/>
                    <a:pt x="12" y="139"/>
                    <a:pt x="11" y="134"/>
                  </a:cubicBezTo>
                  <a:cubicBezTo>
                    <a:pt x="9" y="129"/>
                    <a:pt x="0" y="109"/>
                    <a:pt x="0" y="105"/>
                  </a:cubicBezTo>
                  <a:close/>
                </a:path>
              </a:pathLst>
            </a:custGeom>
            <a:solidFill>
              <a:srgbClr val="855C9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4" name="Google Shape;458;p35">
              <a:extLst>
                <a:ext uri="{FF2B5EF4-FFF2-40B4-BE49-F238E27FC236}">
                  <a16:creationId xmlns:a16="http://schemas.microsoft.com/office/drawing/2014/main" id="{F84776D8-EA91-B39D-4BED-5D7DF2CF01C7}"/>
                </a:ext>
              </a:extLst>
            </p:cNvPr>
            <p:cNvGrpSpPr/>
            <p:nvPr/>
          </p:nvGrpSpPr>
          <p:grpSpPr>
            <a:xfrm>
              <a:off x="5399125" y="1571752"/>
              <a:ext cx="1003360" cy="967396"/>
              <a:chOff x="2452" y="935"/>
              <a:chExt cx="617" cy="595"/>
            </a:xfrm>
          </p:grpSpPr>
          <p:sp>
            <p:nvSpPr>
              <p:cNvPr id="28" name="Google Shape;459;p35">
                <a:extLst>
                  <a:ext uri="{FF2B5EF4-FFF2-40B4-BE49-F238E27FC236}">
                    <a16:creationId xmlns:a16="http://schemas.microsoft.com/office/drawing/2014/main" id="{940998D8-DE58-ED70-C6B5-B1B9D53ACAB9}"/>
                  </a:ext>
                </a:extLst>
              </p:cNvPr>
              <p:cNvSpPr/>
              <p:nvPr/>
            </p:nvSpPr>
            <p:spPr>
              <a:xfrm>
                <a:off x="2454" y="1060"/>
                <a:ext cx="22" cy="33"/>
              </a:xfrm>
              <a:custGeom>
                <a:avLst/>
                <a:gdLst/>
                <a:ahLst/>
                <a:cxnLst/>
                <a:rect l="l" t="t" r="r" b="b"/>
                <a:pathLst>
                  <a:path w="11" h="16" extrusionOk="0">
                    <a:moveTo>
                      <a:pt x="4" y="0"/>
                    </a:moveTo>
                    <a:cubicBezTo>
                      <a:pt x="3" y="0"/>
                      <a:pt x="0" y="2"/>
                      <a:pt x="0" y="6"/>
                    </a:cubicBezTo>
                    <a:cubicBezTo>
                      <a:pt x="0" y="11"/>
                      <a:pt x="2" y="16"/>
                      <a:pt x="4" y="16"/>
                    </a:cubicBezTo>
                    <a:cubicBezTo>
                      <a:pt x="5" y="16"/>
                      <a:pt x="6" y="15"/>
                      <a:pt x="8" y="14"/>
                    </a:cubicBezTo>
                    <a:cubicBezTo>
                      <a:pt x="10" y="13"/>
                      <a:pt x="11" y="10"/>
                      <a:pt x="9" y="8"/>
                    </a:cubicBezTo>
                    <a:cubicBezTo>
                      <a:pt x="7" y="6"/>
                      <a:pt x="7" y="5"/>
                      <a:pt x="6" y="3"/>
                    </a:cubicBezTo>
                    <a:cubicBezTo>
                      <a:pt x="6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" name="Google Shape;460;p35">
                <a:extLst>
                  <a:ext uri="{FF2B5EF4-FFF2-40B4-BE49-F238E27FC236}">
                    <a16:creationId xmlns:a16="http://schemas.microsoft.com/office/drawing/2014/main" id="{2B7CC372-A073-BB1C-7CE7-CE8B3BC27752}"/>
                  </a:ext>
                </a:extLst>
              </p:cNvPr>
              <p:cNvSpPr/>
              <p:nvPr/>
            </p:nvSpPr>
            <p:spPr>
              <a:xfrm>
                <a:off x="2478" y="1141"/>
                <a:ext cx="22" cy="19"/>
              </a:xfrm>
              <a:custGeom>
                <a:avLst/>
                <a:gdLst/>
                <a:ahLst/>
                <a:cxnLst/>
                <a:rect l="l" t="t" r="r" b="b"/>
                <a:pathLst>
                  <a:path w="11" h="9" extrusionOk="0">
                    <a:moveTo>
                      <a:pt x="3" y="0"/>
                    </a:moveTo>
                    <a:cubicBezTo>
                      <a:pt x="0" y="0"/>
                      <a:pt x="2" y="2"/>
                      <a:pt x="2" y="4"/>
                    </a:cubicBezTo>
                    <a:cubicBezTo>
                      <a:pt x="2" y="5"/>
                      <a:pt x="4" y="9"/>
                      <a:pt x="6" y="9"/>
                    </a:cubicBezTo>
                    <a:cubicBezTo>
                      <a:pt x="8" y="9"/>
                      <a:pt x="11" y="7"/>
                      <a:pt x="9" y="5"/>
                    </a:cubicBezTo>
                    <a:cubicBezTo>
                      <a:pt x="7" y="2"/>
                      <a:pt x="4" y="0"/>
                      <a:pt x="4" y="0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" name="Google Shape;461;p35">
                <a:extLst>
                  <a:ext uri="{FF2B5EF4-FFF2-40B4-BE49-F238E27FC236}">
                    <a16:creationId xmlns:a16="http://schemas.microsoft.com/office/drawing/2014/main" id="{B319ABA7-3594-7C7D-9B9C-3EABB76E5C99}"/>
                  </a:ext>
                </a:extLst>
              </p:cNvPr>
              <p:cNvSpPr/>
              <p:nvPr/>
            </p:nvSpPr>
            <p:spPr>
              <a:xfrm>
                <a:off x="3002" y="1127"/>
                <a:ext cx="67" cy="49"/>
              </a:xfrm>
              <a:custGeom>
                <a:avLst/>
                <a:gdLst/>
                <a:ahLst/>
                <a:cxnLst/>
                <a:rect l="l" t="t" r="r" b="b"/>
                <a:pathLst>
                  <a:path w="33" h="24" extrusionOk="0">
                    <a:moveTo>
                      <a:pt x="24" y="5"/>
                    </a:moveTo>
                    <a:cubicBezTo>
                      <a:pt x="26" y="8"/>
                      <a:pt x="27" y="11"/>
                      <a:pt x="28" y="14"/>
                    </a:cubicBezTo>
                    <a:cubicBezTo>
                      <a:pt x="29" y="17"/>
                      <a:pt x="33" y="22"/>
                      <a:pt x="32" y="23"/>
                    </a:cubicBezTo>
                    <a:cubicBezTo>
                      <a:pt x="32" y="24"/>
                      <a:pt x="24" y="19"/>
                      <a:pt x="22" y="19"/>
                    </a:cubicBezTo>
                    <a:cubicBezTo>
                      <a:pt x="20" y="19"/>
                      <a:pt x="17" y="20"/>
                      <a:pt x="14" y="19"/>
                    </a:cubicBezTo>
                    <a:cubicBezTo>
                      <a:pt x="11" y="18"/>
                      <a:pt x="11" y="13"/>
                      <a:pt x="9" y="14"/>
                    </a:cubicBezTo>
                    <a:cubicBezTo>
                      <a:pt x="6" y="14"/>
                      <a:pt x="4" y="17"/>
                      <a:pt x="2" y="16"/>
                    </a:cubicBezTo>
                    <a:cubicBezTo>
                      <a:pt x="0" y="15"/>
                      <a:pt x="3" y="7"/>
                      <a:pt x="3" y="7"/>
                    </a:cubicBezTo>
                    <a:cubicBezTo>
                      <a:pt x="4" y="5"/>
                      <a:pt x="5" y="0"/>
                      <a:pt x="8" y="0"/>
                    </a:cubicBezTo>
                    <a:cubicBezTo>
                      <a:pt x="11" y="0"/>
                      <a:pt x="21" y="3"/>
                      <a:pt x="24" y="5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" name="Google Shape;462;p35">
                <a:extLst>
                  <a:ext uri="{FF2B5EF4-FFF2-40B4-BE49-F238E27FC236}">
                    <a16:creationId xmlns:a16="http://schemas.microsoft.com/office/drawing/2014/main" id="{32AC9B5E-D03F-6FAA-771C-4476B7F49832}"/>
                  </a:ext>
                </a:extLst>
              </p:cNvPr>
              <p:cNvSpPr/>
              <p:nvPr/>
            </p:nvSpPr>
            <p:spPr>
              <a:xfrm>
                <a:off x="2510" y="988"/>
                <a:ext cx="524" cy="542"/>
              </a:xfrm>
              <a:custGeom>
                <a:avLst/>
                <a:gdLst/>
                <a:ahLst/>
                <a:cxnLst/>
                <a:rect l="l" t="t" r="r" b="b"/>
                <a:pathLst>
                  <a:path w="259" h="268" extrusionOk="0">
                    <a:moveTo>
                      <a:pt x="0" y="106"/>
                    </a:moveTo>
                    <a:cubicBezTo>
                      <a:pt x="0" y="104"/>
                      <a:pt x="3" y="90"/>
                      <a:pt x="6" y="89"/>
                    </a:cubicBezTo>
                    <a:cubicBezTo>
                      <a:pt x="13" y="86"/>
                      <a:pt x="23" y="88"/>
                      <a:pt x="27" y="88"/>
                    </a:cubicBezTo>
                    <a:cubicBezTo>
                      <a:pt x="31" y="87"/>
                      <a:pt x="36" y="84"/>
                      <a:pt x="38" y="82"/>
                    </a:cubicBezTo>
                    <a:cubicBezTo>
                      <a:pt x="39" y="80"/>
                      <a:pt x="45" y="78"/>
                      <a:pt x="45" y="76"/>
                    </a:cubicBezTo>
                    <a:cubicBezTo>
                      <a:pt x="45" y="74"/>
                      <a:pt x="44" y="70"/>
                      <a:pt x="42" y="69"/>
                    </a:cubicBezTo>
                    <a:cubicBezTo>
                      <a:pt x="41" y="67"/>
                      <a:pt x="35" y="77"/>
                      <a:pt x="33" y="77"/>
                    </a:cubicBezTo>
                    <a:cubicBezTo>
                      <a:pt x="30" y="77"/>
                      <a:pt x="23" y="77"/>
                      <a:pt x="23" y="72"/>
                    </a:cubicBezTo>
                    <a:cubicBezTo>
                      <a:pt x="23" y="68"/>
                      <a:pt x="23" y="69"/>
                      <a:pt x="26" y="68"/>
                    </a:cubicBezTo>
                    <a:cubicBezTo>
                      <a:pt x="29" y="66"/>
                      <a:pt x="36" y="66"/>
                      <a:pt x="37" y="65"/>
                    </a:cubicBezTo>
                    <a:cubicBezTo>
                      <a:pt x="38" y="64"/>
                      <a:pt x="36" y="63"/>
                      <a:pt x="34" y="59"/>
                    </a:cubicBezTo>
                    <a:cubicBezTo>
                      <a:pt x="32" y="56"/>
                      <a:pt x="32" y="55"/>
                      <a:pt x="31" y="54"/>
                    </a:cubicBezTo>
                    <a:cubicBezTo>
                      <a:pt x="30" y="53"/>
                      <a:pt x="25" y="56"/>
                      <a:pt x="24" y="54"/>
                    </a:cubicBezTo>
                    <a:cubicBezTo>
                      <a:pt x="23" y="52"/>
                      <a:pt x="28" y="50"/>
                      <a:pt x="26" y="47"/>
                    </a:cubicBezTo>
                    <a:cubicBezTo>
                      <a:pt x="25" y="43"/>
                      <a:pt x="21" y="42"/>
                      <a:pt x="19" y="39"/>
                    </a:cubicBezTo>
                    <a:cubicBezTo>
                      <a:pt x="17" y="36"/>
                      <a:pt x="15" y="34"/>
                      <a:pt x="14" y="31"/>
                    </a:cubicBezTo>
                    <a:cubicBezTo>
                      <a:pt x="13" y="29"/>
                      <a:pt x="19" y="28"/>
                      <a:pt x="16" y="25"/>
                    </a:cubicBezTo>
                    <a:cubicBezTo>
                      <a:pt x="13" y="21"/>
                      <a:pt x="11" y="19"/>
                      <a:pt x="8" y="14"/>
                    </a:cubicBezTo>
                    <a:cubicBezTo>
                      <a:pt x="6" y="9"/>
                      <a:pt x="6" y="7"/>
                      <a:pt x="6" y="5"/>
                    </a:cubicBezTo>
                    <a:cubicBezTo>
                      <a:pt x="6" y="3"/>
                      <a:pt x="9" y="0"/>
                      <a:pt x="9" y="0"/>
                    </a:cubicBezTo>
                    <a:cubicBezTo>
                      <a:pt x="9" y="0"/>
                      <a:pt x="23" y="0"/>
                      <a:pt x="26" y="1"/>
                    </a:cubicBezTo>
                    <a:cubicBezTo>
                      <a:pt x="29" y="1"/>
                      <a:pt x="39" y="3"/>
                      <a:pt x="43" y="5"/>
                    </a:cubicBezTo>
                    <a:cubicBezTo>
                      <a:pt x="47" y="6"/>
                      <a:pt x="57" y="6"/>
                      <a:pt x="61" y="9"/>
                    </a:cubicBezTo>
                    <a:cubicBezTo>
                      <a:pt x="64" y="12"/>
                      <a:pt x="72" y="17"/>
                      <a:pt x="72" y="19"/>
                    </a:cubicBezTo>
                    <a:cubicBezTo>
                      <a:pt x="72" y="22"/>
                      <a:pt x="78" y="21"/>
                      <a:pt x="80" y="20"/>
                    </a:cubicBezTo>
                    <a:cubicBezTo>
                      <a:pt x="81" y="19"/>
                      <a:pt x="82" y="14"/>
                      <a:pt x="85" y="14"/>
                    </a:cubicBezTo>
                    <a:cubicBezTo>
                      <a:pt x="88" y="14"/>
                      <a:pt x="89" y="14"/>
                      <a:pt x="91" y="14"/>
                    </a:cubicBezTo>
                    <a:cubicBezTo>
                      <a:pt x="93" y="14"/>
                      <a:pt x="92" y="17"/>
                      <a:pt x="94" y="16"/>
                    </a:cubicBezTo>
                    <a:cubicBezTo>
                      <a:pt x="96" y="16"/>
                      <a:pt x="100" y="12"/>
                      <a:pt x="103" y="14"/>
                    </a:cubicBezTo>
                    <a:cubicBezTo>
                      <a:pt x="106" y="16"/>
                      <a:pt x="119" y="19"/>
                      <a:pt x="121" y="22"/>
                    </a:cubicBezTo>
                    <a:cubicBezTo>
                      <a:pt x="123" y="24"/>
                      <a:pt x="126" y="29"/>
                      <a:pt x="129" y="29"/>
                    </a:cubicBezTo>
                    <a:cubicBezTo>
                      <a:pt x="132" y="29"/>
                      <a:pt x="134" y="24"/>
                      <a:pt x="134" y="23"/>
                    </a:cubicBezTo>
                    <a:cubicBezTo>
                      <a:pt x="135" y="22"/>
                      <a:pt x="137" y="21"/>
                      <a:pt x="138" y="24"/>
                    </a:cubicBezTo>
                    <a:cubicBezTo>
                      <a:pt x="140" y="27"/>
                      <a:pt x="140" y="34"/>
                      <a:pt x="142" y="35"/>
                    </a:cubicBezTo>
                    <a:cubicBezTo>
                      <a:pt x="143" y="37"/>
                      <a:pt x="147" y="39"/>
                      <a:pt x="147" y="42"/>
                    </a:cubicBezTo>
                    <a:cubicBezTo>
                      <a:pt x="147" y="44"/>
                      <a:pt x="146" y="63"/>
                      <a:pt x="145" y="65"/>
                    </a:cubicBezTo>
                    <a:cubicBezTo>
                      <a:pt x="145" y="67"/>
                      <a:pt x="135" y="74"/>
                      <a:pt x="133" y="75"/>
                    </a:cubicBezTo>
                    <a:cubicBezTo>
                      <a:pt x="130" y="76"/>
                      <a:pt x="127" y="77"/>
                      <a:pt x="126" y="77"/>
                    </a:cubicBezTo>
                    <a:cubicBezTo>
                      <a:pt x="125" y="77"/>
                      <a:pt x="126" y="82"/>
                      <a:pt x="129" y="83"/>
                    </a:cubicBezTo>
                    <a:cubicBezTo>
                      <a:pt x="131" y="84"/>
                      <a:pt x="133" y="82"/>
                      <a:pt x="136" y="82"/>
                    </a:cubicBezTo>
                    <a:cubicBezTo>
                      <a:pt x="139" y="81"/>
                      <a:pt x="151" y="77"/>
                      <a:pt x="154" y="77"/>
                    </a:cubicBezTo>
                    <a:cubicBezTo>
                      <a:pt x="156" y="77"/>
                      <a:pt x="162" y="79"/>
                      <a:pt x="163" y="81"/>
                    </a:cubicBezTo>
                    <a:cubicBezTo>
                      <a:pt x="163" y="84"/>
                      <a:pt x="158" y="84"/>
                      <a:pt x="158" y="86"/>
                    </a:cubicBezTo>
                    <a:cubicBezTo>
                      <a:pt x="158" y="89"/>
                      <a:pt x="161" y="90"/>
                      <a:pt x="159" y="92"/>
                    </a:cubicBezTo>
                    <a:cubicBezTo>
                      <a:pt x="158" y="94"/>
                      <a:pt x="155" y="96"/>
                      <a:pt x="155" y="99"/>
                    </a:cubicBezTo>
                    <a:cubicBezTo>
                      <a:pt x="155" y="102"/>
                      <a:pt x="155" y="101"/>
                      <a:pt x="154" y="103"/>
                    </a:cubicBezTo>
                    <a:cubicBezTo>
                      <a:pt x="153" y="105"/>
                      <a:pt x="154" y="107"/>
                      <a:pt x="155" y="107"/>
                    </a:cubicBezTo>
                    <a:cubicBezTo>
                      <a:pt x="156" y="107"/>
                      <a:pt x="158" y="105"/>
                      <a:pt x="159" y="103"/>
                    </a:cubicBezTo>
                    <a:cubicBezTo>
                      <a:pt x="161" y="102"/>
                      <a:pt x="162" y="98"/>
                      <a:pt x="163" y="97"/>
                    </a:cubicBezTo>
                    <a:cubicBezTo>
                      <a:pt x="163" y="95"/>
                      <a:pt x="166" y="90"/>
                      <a:pt x="168" y="89"/>
                    </a:cubicBezTo>
                    <a:cubicBezTo>
                      <a:pt x="169" y="89"/>
                      <a:pt x="174" y="87"/>
                      <a:pt x="175" y="86"/>
                    </a:cubicBezTo>
                    <a:cubicBezTo>
                      <a:pt x="176" y="85"/>
                      <a:pt x="179" y="87"/>
                      <a:pt x="180" y="88"/>
                    </a:cubicBezTo>
                    <a:cubicBezTo>
                      <a:pt x="182" y="88"/>
                      <a:pt x="186" y="91"/>
                      <a:pt x="189" y="93"/>
                    </a:cubicBezTo>
                    <a:cubicBezTo>
                      <a:pt x="192" y="94"/>
                      <a:pt x="202" y="96"/>
                      <a:pt x="204" y="98"/>
                    </a:cubicBezTo>
                    <a:cubicBezTo>
                      <a:pt x="205" y="100"/>
                      <a:pt x="209" y="107"/>
                      <a:pt x="211" y="107"/>
                    </a:cubicBezTo>
                    <a:cubicBezTo>
                      <a:pt x="213" y="107"/>
                      <a:pt x="220" y="109"/>
                      <a:pt x="222" y="107"/>
                    </a:cubicBezTo>
                    <a:cubicBezTo>
                      <a:pt x="226" y="104"/>
                      <a:pt x="230" y="99"/>
                      <a:pt x="234" y="97"/>
                    </a:cubicBezTo>
                    <a:cubicBezTo>
                      <a:pt x="237" y="95"/>
                      <a:pt x="240" y="94"/>
                      <a:pt x="242" y="96"/>
                    </a:cubicBezTo>
                    <a:cubicBezTo>
                      <a:pt x="245" y="97"/>
                      <a:pt x="245" y="97"/>
                      <a:pt x="248" y="97"/>
                    </a:cubicBezTo>
                    <a:cubicBezTo>
                      <a:pt x="250" y="96"/>
                      <a:pt x="253" y="93"/>
                      <a:pt x="254" y="93"/>
                    </a:cubicBezTo>
                    <a:cubicBezTo>
                      <a:pt x="255" y="93"/>
                      <a:pt x="259" y="96"/>
                      <a:pt x="255" y="100"/>
                    </a:cubicBezTo>
                    <a:cubicBezTo>
                      <a:pt x="251" y="103"/>
                      <a:pt x="252" y="106"/>
                      <a:pt x="252" y="107"/>
                    </a:cubicBezTo>
                    <a:cubicBezTo>
                      <a:pt x="252" y="109"/>
                      <a:pt x="254" y="126"/>
                      <a:pt x="254" y="127"/>
                    </a:cubicBezTo>
                    <a:cubicBezTo>
                      <a:pt x="253" y="128"/>
                      <a:pt x="254" y="129"/>
                      <a:pt x="249" y="130"/>
                    </a:cubicBezTo>
                    <a:cubicBezTo>
                      <a:pt x="243" y="132"/>
                      <a:pt x="239" y="136"/>
                      <a:pt x="237" y="138"/>
                    </a:cubicBezTo>
                    <a:cubicBezTo>
                      <a:pt x="236" y="141"/>
                      <a:pt x="233" y="146"/>
                      <a:pt x="231" y="146"/>
                    </a:cubicBezTo>
                    <a:cubicBezTo>
                      <a:pt x="229" y="146"/>
                      <a:pt x="224" y="144"/>
                      <a:pt x="223" y="145"/>
                    </a:cubicBezTo>
                    <a:cubicBezTo>
                      <a:pt x="222" y="146"/>
                      <a:pt x="217" y="151"/>
                      <a:pt x="218" y="154"/>
                    </a:cubicBezTo>
                    <a:cubicBezTo>
                      <a:pt x="220" y="157"/>
                      <a:pt x="220" y="162"/>
                      <a:pt x="223" y="162"/>
                    </a:cubicBezTo>
                    <a:cubicBezTo>
                      <a:pt x="226" y="162"/>
                      <a:pt x="226" y="162"/>
                      <a:pt x="228" y="163"/>
                    </a:cubicBezTo>
                    <a:cubicBezTo>
                      <a:pt x="230" y="163"/>
                      <a:pt x="230" y="169"/>
                      <a:pt x="232" y="169"/>
                    </a:cubicBezTo>
                    <a:cubicBezTo>
                      <a:pt x="232" y="169"/>
                      <a:pt x="232" y="174"/>
                      <a:pt x="228" y="179"/>
                    </a:cubicBezTo>
                    <a:cubicBezTo>
                      <a:pt x="223" y="183"/>
                      <a:pt x="220" y="185"/>
                      <a:pt x="220" y="196"/>
                    </a:cubicBezTo>
                    <a:cubicBezTo>
                      <a:pt x="219" y="200"/>
                      <a:pt x="223" y="212"/>
                      <a:pt x="227" y="212"/>
                    </a:cubicBezTo>
                    <a:cubicBezTo>
                      <a:pt x="231" y="212"/>
                      <a:pt x="241" y="224"/>
                      <a:pt x="237" y="228"/>
                    </a:cubicBezTo>
                    <a:cubicBezTo>
                      <a:pt x="233" y="233"/>
                      <a:pt x="227" y="244"/>
                      <a:pt x="223" y="246"/>
                    </a:cubicBezTo>
                    <a:cubicBezTo>
                      <a:pt x="219" y="247"/>
                      <a:pt x="207" y="251"/>
                      <a:pt x="207" y="254"/>
                    </a:cubicBezTo>
                    <a:cubicBezTo>
                      <a:pt x="205" y="267"/>
                      <a:pt x="205" y="267"/>
                      <a:pt x="205" y="267"/>
                    </a:cubicBezTo>
                    <a:cubicBezTo>
                      <a:pt x="200" y="268"/>
                      <a:pt x="194" y="268"/>
                      <a:pt x="192" y="266"/>
                    </a:cubicBezTo>
                    <a:cubicBezTo>
                      <a:pt x="187" y="263"/>
                      <a:pt x="177" y="259"/>
                      <a:pt x="173" y="259"/>
                    </a:cubicBezTo>
                    <a:cubicBezTo>
                      <a:pt x="173" y="259"/>
                      <a:pt x="171" y="252"/>
                      <a:pt x="169" y="250"/>
                    </a:cubicBezTo>
                    <a:cubicBezTo>
                      <a:pt x="167" y="247"/>
                      <a:pt x="163" y="242"/>
                      <a:pt x="161" y="238"/>
                    </a:cubicBezTo>
                    <a:cubicBezTo>
                      <a:pt x="160" y="234"/>
                      <a:pt x="162" y="228"/>
                      <a:pt x="165" y="225"/>
                    </a:cubicBezTo>
                    <a:cubicBezTo>
                      <a:pt x="167" y="222"/>
                      <a:pt x="168" y="209"/>
                      <a:pt x="164" y="209"/>
                    </a:cubicBezTo>
                    <a:cubicBezTo>
                      <a:pt x="160" y="209"/>
                      <a:pt x="156" y="208"/>
                      <a:pt x="153" y="208"/>
                    </a:cubicBezTo>
                    <a:cubicBezTo>
                      <a:pt x="151" y="208"/>
                      <a:pt x="145" y="214"/>
                      <a:pt x="141" y="217"/>
                    </a:cubicBezTo>
                    <a:cubicBezTo>
                      <a:pt x="138" y="220"/>
                      <a:pt x="125" y="220"/>
                      <a:pt x="123" y="223"/>
                    </a:cubicBezTo>
                    <a:cubicBezTo>
                      <a:pt x="123" y="223"/>
                      <a:pt x="114" y="231"/>
                      <a:pt x="111" y="235"/>
                    </a:cubicBezTo>
                    <a:cubicBezTo>
                      <a:pt x="106" y="233"/>
                      <a:pt x="95" y="228"/>
                      <a:pt x="92" y="219"/>
                    </a:cubicBezTo>
                    <a:cubicBezTo>
                      <a:pt x="89" y="211"/>
                      <a:pt x="90" y="210"/>
                      <a:pt x="86" y="201"/>
                    </a:cubicBezTo>
                    <a:cubicBezTo>
                      <a:pt x="83" y="193"/>
                      <a:pt x="82" y="182"/>
                      <a:pt x="77" y="180"/>
                    </a:cubicBezTo>
                    <a:cubicBezTo>
                      <a:pt x="73" y="178"/>
                      <a:pt x="69" y="178"/>
                      <a:pt x="69" y="178"/>
                    </a:cubicBezTo>
                    <a:cubicBezTo>
                      <a:pt x="51" y="178"/>
                      <a:pt x="51" y="178"/>
                      <a:pt x="51" y="178"/>
                    </a:cubicBezTo>
                    <a:cubicBezTo>
                      <a:pt x="51" y="178"/>
                      <a:pt x="40" y="177"/>
                      <a:pt x="38" y="176"/>
                    </a:cubicBezTo>
                    <a:cubicBezTo>
                      <a:pt x="37" y="176"/>
                      <a:pt x="23" y="155"/>
                      <a:pt x="24" y="153"/>
                    </a:cubicBezTo>
                    <a:cubicBezTo>
                      <a:pt x="25" y="150"/>
                      <a:pt x="27" y="150"/>
                      <a:pt x="29" y="150"/>
                    </a:cubicBezTo>
                    <a:cubicBezTo>
                      <a:pt x="31" y="150"/>
                      <a:pt x="36" y="156"/>
                      <a:pt x="39" y="154"/>
                    </a:cubicBezTo>
                    <a:cubicBezTo>
                      <a:pt x="42" y="153"/>
                      <a:pt x="43" y="144"/>
                      <a:pt x="43" y="143"/>
                    </a:cubicBezTo>
                    <a:cubicBezTo>
                      <a:pt x="43" y="143"/>
                      <a:pt x="41" y="135"/>
                      <a:pt x="38" y="135"/>
                    </a:cubicBezTo>
                    <a:cubicBezTo>
                      <a:pt x="34" y="134"/>
                      <a:pt x="29" y="138"/>
                      <a:pt x="26" y="137"/>
                    </a:cubicBezTo>
                    <a:cubicBezTo>
                      <a:pt x="24" y="136"/>
                      <a:pt x="22" y="124"/>
                      <a:pt x="24" y="122"/>
                    </a:cubicBezTo>
                    <a:cubicBezTo>
                      <a:pt x="26" y="119"/>
                      <a:pt x="26" y="114"/>
                      <a:pt x="28" y="114"/>
                    </a:cubicBezTo>
                    <a:cubicBezTo>
                      <a:pt x="31" y="113"/>
                      <a:pt x="35" y="110"/>
                      <a:pt x="35" y="108"/>
                    </a:cubicBezTo>
                    <a:cubicBezTo>
                      <a:pt x="35" y="106"/>
                      <a:pt x="36" y="104"/>
                      <a:pt x="36" y="104"/>
                    </a:cubicBezTo>
                    <a:cubicBezTo>
                      <a:pt x="36" y="104"/>
                      <a:pt x="27" y="105"/>
                      <a:pt x="23" y="106"/>
                    </a:cubicBezTo>
                    <a:cubicBezTo>
                      <a:pt x="19" y="107"/>
                      <a:pt x="13" y="109"/>
                      <a:pt x="11" y="110"/>
                    </a:cubicBezTo>
                    <a:cubicBezTo>
                      <a:pt x="9" y="111"/>
                      <a:pt x="0" y="109"/>
                      <a:pt x="0" y="106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" name="Google Shape;463;p35">
                <a:extLst>
                  <a:ext uri="{FF2B5EF4-FFF2-40B4-BE49-F238E27FC236}">
                    <a16:creationId xmlns:a16="http://schemas.microsoft.com/office/drawing/2014/main" id="{AC7CC454-21EC-EB64-BCE5-BA640812BD54}"/>
                  </a:ext>
                </a:extLst>
              </p:cNvPr>
              <p:cNvSpPr/>
              <p:nvPr/>
            </p:nvSpPr>
            <p:spPr>
              <a:xfrm>
                <a:off x="2512" y="1107"/>
                <a:ext cx="31" cy="30"/>
              </a:xfrm>
              <a:custGeom>
                <a:avLst/>
                <a:gdLst/>
                <a:ahLst/>
                <a:cxnLst/>
                <a:rect l="l" t="t" r="r" b="b"/>
                <a:pathLst>
                  <a:path w="15" h="15" extrusionOk="0">
                    <a:moveTo>
                      <a:pt x="3" y="14"/>
                    </a:moveTo>
                    <a:cubicBezTo>
                      <a:pt x="1" y="14"/>
                      <a:pt x="0" y="8"/>
                      <a:pt x="0" y="6"/>
                    </a:cubicBezTo>
                    <a:cubicBezTo>
                      <a:pt x="0" y="4"/>
                      <a:pt x="2" y="3"/>
                      <a:pt x="5" y="2"/>
                    </a:cubicBezTo>
                    <a:cubicBezTo>
                      <a:pt x="5" y="2"/>
                      <a:pt x="13" y="0"/>
                      <a:pt x="14" y="1"/>
                    </a:cubicBezTo>
                    <a:cubicBezTo>
                      <a:pt x="15" y="2"/>
                      <a:pt x="11" y="9"/>
                      <a:pt x="11" y="12"/>
                    </a:cubicBezTo>
                    <a:cubicBezTo>
                      <a:pt x="10" y="15"/>
                      <a:pt x="5" y="14"/>
                      <a:pt x="3" y="14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" name="Google Shape;464;p35">
                <a:extLst>
                  <a:ext uri="{FF2B5EF4-FFF2-40B4-BE49-F238E27FC236}">
                    <a16:creationId xmlns:a16="http://schemas.microsoft.com/office/drawing/2014/main" id="{AAE1059F-E282-B4AE-970D-4443EBFC029C}"/>
                  </a:ext>
                </a:extLst>
              </p:cNvPr>
              <p:cNvSpPr/>
              <p:nvPr/>
            </p:nvSpPr>
            <p:spPr>
              <a:xfrm>
                <a:off x="2470" y="1040"/>
                <a:ext cx="46" cy="31"/>
              </a:xfrm>
              <a:custGeom>
                <a:avLst/>
                <a:gdLst/>
                <a:ahLst/>
                <a:cxnLst/>
                <a:rect l="l" t="t" r="r" b="b"/>
                <a:pathLst>
                  <a:path w="23" h="15" extrusionOk="0">
                    <a:moveTo>
                      <a:pt x="12" y="14"/>
                    </a:moveTo>
                    <a:cubicBezTo>
                      <a:pt x="11" y="13"/>
                      <a:pt x="10" y="10"/>
                      <a:pt x="10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8"/>
                      <a:pt x="0" y="3"/>
                      <a:pt x="5" y="2"/>
                    </a:cubicBezTo>
                    <a:cubicBezTo>
                      <a:pt x="10" y="1"/>
                      <a:pt x="14" y="1"/>
                      <a:pt x="18" y="1"/>
                    </a:cubicBezTo>
                    <a:cubicBezTo>
                      <a:pt x="21" y="0"/>
                      <a:pt x="22" y="1"/>
                      <a:pt x="22" y="5"/>
                    </a:cubicBezTo>
                    <a:cubicBezTo>
                      <a:pt x="23" y="9"/>
                      <a:pt x="21" y="11"/>
                      <a:pt x="21" y="13"/>
                    </a:cubicBezTo>
                    <a:cubicBezTo>
                      <a:pt x="20" y="15"/>
                      <a:pt x="14" y="14"/>
                      <a:pt x="12" y="14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465;p35">
                <a:extLst>
                  <a:ext uri="{FF2B5EF4-FFF2-40B4-BE49-F238E27FC236}">
                    <a16:creationId xmlns:a16="http://schemas.microsoft.com/office/drawing/2014/main" id="{468E5CA6-C287-1530-BEBE-3851ABB54FA2}"/>
                  </a:ext>
                </a:extLst>
              </p:cNvPr>
              <p:cNvSpPr/>
              <p:nvPr/>
            </p:nvSpPr>
            <p:spPr>
              <a:xfrm>
                <a:off x="2452" y="935"/>
                <a:ext cx="46" cy="105"/>
              </a:xfrm>
              <a:custGeom>
                <a:avLst/>
                <a:gdLst/>
                <a:ahLst/>
                <a:cxnLst/>
                <a:rect l="l" t="t" r="r" b="b"/>
                <a:pathLst>
                  <a:path w="23" h="52" extrusionOk="0">
                    <a:moveTo>
                      <a:pt x="8" y="31"/>
                    </a:moveTo>
                    <a:cubicBezTo>
                      <a:pt x="6" y="31"/>
                      <a:pt x="7" y="33"/>
                      <a:pt x="6" y="36"/>
                    </a:cubicBezTo>
                    <a:cubicBezTo>
                      <a:pt x="5" y="39"/>
                      <a:pt x="5" y="42"/>
                      <a:pt x="5" y="47"/>
                    </a:cubicBezTo>
                    <a:cubicBezTo>
                      <a:pt x="5" y="51"/>
                      <a:pt x="4" y="52"/>
                      <a:pt x="2" y="52"/>
                    </a:cubicBezTo>
                    <a:cubicBezTo>
                      <a:pt x="0" y="52"/>
                      <a:pt x="1" y="51"/>
                      <a:pt x="1" y="50"/>
                    </a:cubicBezTo>
                    <a:cubicBezTo>
                      <a:pt x="1" y="48"/>
                      <a:pt x="0" y="39"/>
                      <a:pt x="0" y="36"/>
                    </a:cubicBezTo>
                    <a:cubicBezTo>
                      <a:pt x="0" y="32"/>
                      <a:pt x="1" y="26"/>
                      <a:pt x="2" y="22"/>
                    </a:cubicBezTo>
                    <a:cubicBezTo>
                      <a:pt x="4" y="18"/>
                      <a:pt x="7" y="11"/>
                      <a:pt x="8" y="9"/>
                    </a:cubicBezTo>
                    <a:cubicBezTo>
                      <a:pt x="9" y="7"/>
                      <a:pt x="12" y="0"/>
                      <a:pt x="15" y="0"/>
                    </a:cubicBezTo>
                    <a:cubicBezTo>
                      <a:pt x="17" y="0"/>
                      <a:pt x="20" y="6"/>
                      <a:pt x="20" y="6"/>
                    </a:cubicBezTo>
                    <a:cubicBezTo>
                      <a:pt x="20" y="6"/>
                      <a:pt x="18" y="9"/>
                      <a:pt x="15" y="10"/>
                    </a:cubicBezTo>
                    <a:cubicBezTo>
                      <a:pt x="13" y="12"/>
                      <a:pt x="11" y="15"/>
                      <a:pt x="11" y="18"/>
                    </a:cubicBezTo>
                    <a:cubicBezTo>
                      <a:pt x="11" y="21"/>
                      <a:pt x="11" y="25"/>
                      <a:pt x="14" y="27"/>
                    </a:cubicBezTo>
                    <a:cubicBezTo>
                      <a:pt x="17" y="29"/>
                      <a:pt x="23" y="30"/>
                      <a:pt x="23" y="32"/>
                    </a:cubicBezTo>
                    <a:cubicBezTo>
                      <a:pt x="23" y="33"/>
                      <a:pt x="16" y="36"/>
                      <a:pt x="13" y="36"/>
                    </a:cubicBezTo>
                    <a:cubicBezTo>
                      <a:pt x="12" y="36"/>
                      <a:pt x="9" y="31"/>
                      <a:pt x="8" y="31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5" name="Google Shape;466;p35">
              <a:extLst>
                <a:ext uri="{FF2B5EF4-FFF2-40B4-BE49-F238E27FC236}">
                  <a16:creationId xmlns:a16="http://schemas.microsoft.com/office/drawing/2014/main" id="{67CF9542-B466-6AE2-2C3A-7C2269D0E56A}"/>
                </a:ext>
              </a:extLst>
            </p:cNvPr>
            <p:cNvSpPr/>
            <p:nvPr/>
          </p:nvSpPr>
          <p:spPr>
            <a:xfrm>
              <a:off x="5116135" y="3499969"/>
              <a:ext cx="904169" cy="1233987"/>
            </a:xfrm>
            <a:custGeom>
              <a:avLst/>
              <a:gdLst/>
              <a:ahLst/>
              <a:cxnLst/>
              <a:rect l="l" t="t" r="r" b="b"/>
              <a:pathLst>
                <a:path w="275" h="375" extrusionOk="0">
                  <a:moveTo>
                    <a:pt x="50" y="278"/>
                  </a:moveTo>
                  <a:cubicBezTo>
                    <a:pt x="46" y="277"/>
                    <a:pt x="17" y="288"/>
                    <a:pt x="12" y="286"/>
                  </a:cubicBezTo>
                  <a:cubicBezTo>
                    <a:pt x="7" y="285"/>
                    <a:pt x="0" y="266"/>
                    <a:pt x="4" y="264"/>
                  </a:cubicBezTo>
                  <a:cubicBezTo>
                    <a:pt x="9" y="261"/>
                    <a:pt x="16" y="258"/>
                    <a:pt x="18" y="256"/>
                  </a:cubicBezTo>
                  <a:cubicBezTo>
                    <a:pt x="20" y="254"/>
                    <a:pt x="36" y="240"/>
                    <a:pt x="38" y="237"/>
                  </a:cubicBezTo>
                  <a:cubicBezTo>
                    <a:pt x="40" y="233"/>
                    <a:pt x="27" y="214"/>
                    <a:pt x="27" y="211"/>
                  </a:cubicBezTo>
                  <a:cubicBezTo>
                    <a:pt x="27" y="208"/>
                    <a:pt x="31" y="191"/>
                    <a:pt x="34" y="190"/>
                  </a:cubicBezTo>
                  <a:cubicBezTo>
                    <a:pt x="37" y="188"/>
                    <a:pt x="47" y="187"/>
                    <a:pt x="48" y="183"/>
                  </a:cubicBezTo>
                  <a:cubicBezTo>
                    <a:pt x="48" y="181"/>
                    <a:pt x="46" y="175"/>
                    <a:pt x="42" y="168"/>
                  </a:cubicBezTo>
                  <a:cubicBezTo>
                    <a:pt x="45" y="165"/>
                    <a:pt x="55" y="157"/>
                    <a:pt x="55" y="157"/>
                  </a:cubicBezTo>
                  <a:cubicBezTo>
                    <a:pt x="55" y="157"/>
                    <a:pt x="52" y="144"/>
                    <a:pt x="55" y="141"/>
                  </a:cubicBezTo>
                  <a:cubicBezTo>
                    <a:pt x="59" y="137"/>
                    <a:pt x="78" y="134"/>
                    <a:pt x="81" y="131"/>
                  </a:cubicBezTo>
                  <a:cubicBezTo>
                    <a:pt x="84" y="127"/>
                    <a:pt x="92" y="100"/>
                    <a:pt x="92" y="100"/>
                  </a:cubicBezTo>
                  <a:cubicBezTo>
                    <a:pt x="92" y="100"/>
                    <a:pt x="105" y="95"/>
                    <a:pt x="109" y="95"/>
                  </a:cubicBezTo>
                  <a:cubicBezTo>
                    <a:pt x="112" y="95"/>
                    <a:pt x="115" y="75"/>
                    <a:pt x="114" y="71"/>
                  </a:cubicBezTo>
                  <a:cubicBezTo>
                    <a:pt x="113" y="68"/>
                    <a:pt x="94" y="67"/>
                    <a:pt x="97" y="63"/>
                  </a:cubicBezTo>
                  <a:cubicBezTo>
                    <a:pt x="100" y="59"/>
                    <a:pt x="113" y="46"/>
                    <a:pt x="118" y="46"/>
                  </a:cubicBezTo>
                  <a:cubicBezTo>
                    <a:pt x="124" y="46"/>
                    <a:pt x="136" y="48"/>
                    <a:pt x="138" y="46"/>
                  </a:cubicBezTo>
                  <a:cubicBezTo>
                    <a:pt x="140" y="45"/>
                    <a:pt x="132" y="28"/>
                    <a:pt x="137" y="27"/>
                  </a:cubicBezTo>
                  <a:cubicBezTo>
                    <a:pt x="142" y="26"/>
                    <a:pt x="152" y="28"/>
                    <a:pt x="155" y="28"/>
                  </a:cubicBezTo>
                  <a:cubicBezTo>
                    <a:pt x="158" y="28"/>
                    <a:pt x="155" y="41"/>
                    <a:pt x="159" y="41"/>
                  </a:cubicBezTo>
                  <a:cubicBezTo>
                    <a:pt x="163" y="41"/>
                    <a:pt x="174" y="25"/>
                    <a:pt x="178" y="22"/>
                  </a:cubicBezTo>
                  <a:cubicBezTo>
                    <a:pt x="180" y="19"/>
                    <a:pt x="184" y="7"/>
                    <a:pt x="185" y="0"/>
                  </a:cubicBezTo>
                  <a:cubicBezTo>
                    <a:pt x="185" y="0"/>
                    <a:pt x="200" y="5"/>
                    <a:pt x="203" y="5"/>
                  </a:cubicBezTo>
                  <a:cubicBezTo>
                    <a:pt x="206" y="5"/>
                    <a:pt x="221" y="15"/>
                    <a:pt x="220" y="18"/>
                  </a:cubicBezTo>
                  <a:cubicBezTo>
                    <a:pt x="218" y="21"/>
                    <a:pt x="207" y="23"/>
                    <a:pt x="208" y="25"/>
                  </a:cubicBezTo>
                  <a:cubicBezTo>
                    <a:pt x="209" y="27"/>
                    <a:pt x="210" y="42"/>
                    <a:pt x="210" y="42"/>
                  </a:cubicBezTo>
                  <a:cubicBezTo>
                    <a:pt x="210" y="42"/>
                    <a:pt x="195" y="55"/>
                    <a:pt x="198" y="57"/>
                  </a:cubicBezTo>
                  <a:cubicBezTo>
                    <a:pt x="200" y="59"/>
                    <a:pt x="211" y="71"/>
                    <a:pt x="213" y="71"/>
                  </a:cubicBezTo>
                  <a:cubicBezTo>
                    <a:pt x="215" y="71"/>
                    <a:pt x="225" y="68"/>
                    <a:pt x="225" y="66"/>
                  </a:cubicBezTo>
                  <a:cubicBezTo>
                    <a:pt x="225" y="63"/>
                    <a:pt x="220" y="54"/>
                    <a:pt x="223" y="54"/>
                  </a:cubicBezTo>
                  <a:cubicBezTo>
                    <a:pt x="227" y="54"/>
                    <a:pt x="242" y="45"/>
                    <a:pt x="243" y="49"/>
                  </a:cubicBezTo>
                  <a:cubicBezTo>
                    <a:pt x="243" y="50"/>
                    <a:pt x="244" y="52"/>
                    <a:pt x="245" y="54"/>
                  </a:cubicBezTo>
                  <a:cubicBezTo>
                    <a:pt x="247" y="59"/>
                    <a:pt x="251" y="68"/>
                    <a:pt x="253" y="72"/>
                  </a:cubicBezTo>
                  <a:cubicBezTo>
                    <a:pt x="257" y="77"/>
                    <a:pt x="275" y="86"/>
                    <a:pt x="275" y="86"/>
                  </a:cubicBezTo>
                  <a:cubicBezTo>
                    <a:pt x="275" y="86"/>
                    <a:pt x="273" y="110"/>
                    <a:pt x="272" y="114"/>
                  </a:cubicBezTo>
                  <a:cubicBezTo>
                    <a:pt x="271" y="118"/>
                    <a:pt x="258" y="115"/>
                    <a:pt x="253" y="119"/>
                  </a:cubicBezTo>
                  <a:cubicBezTo>
                    <a:pt x="249" y="123"/>
                    <a:pt x="253" y="135"/>
                    <a:pt x="252" y="140"/>
                  </a:cubicBezTo>
                  <a:cubicBezTo>
                    <a:pt x="251" y="145"/>
                    <a:pt x="233" y="171"/>
                    <a:pt x="237" y="173"/>
                  </a:cubicBezTo>
                  <a:cubicBezTo>
                    <a:pt x="241" y="176"/>
                    <a:pt x="256" y="190"/>
                    <a:pt x="260" y="194"/>
                  </a:cubicBezTo>
                  <a:cubicBezTo>
                    <a:pt x="258" y="195"/>
                    <a:pt x="248" y="212"/>
                    <a:pt x="248" y="212"/>
                  </a:cubicBezTo>
                  <a:cubicBezTo>
                    <a:pt x="223" y="218"/>
                    <a:pt x="223" y="218"/>
                    <a:pt x="223" y="218"/>
                  </a:cubicBezTo>
                  <a:cubicBezTo>
                    <a:pt x="223" y="218"/>
                    <a:pt x="214" y="246"/>
                    <a:pt x="212" y="246"/>
                  </a:cubicBezTo>
                  <a:cubicBezTo>
                    <a:pt x="210" y="246"/>
                    <a:pt x="197" y="246"/>
                    <a:pt x="197" y="246"/>
                  </a:cubicBezTo>
                  <a:cubicBezTo>
                    <a:pt x="197" y="271"/>
                    <a:pt x="197" y="271"/>
                    <a:pt x="197" y="271"/>
                  </a:cubicBezTo>
                  <a:cubicBezTo>
                    <a:pt x="197" y="271"/>
                    <a:pt x="182" y="273"/>
                    <a:pt x="182" y="272"/>
                  </a:cubicBezTo>
                  <a:cubicBezTo>
                    <a:pt x="182" y="271"/>
                    <a:pt x="166" y="263"/>
                    <a:pt x="163" y="263"/>
                  </a:cubicBezTo>
                  <a:cubicBezTo>
                    <a:pt x="159" y="263"/>
                    <a:pt x="138" y="270"/>
                    <a:pt x="138" y="270"/>
                  </a:cubicBezTo>
                  <a:cubicBezTo>
                    <a:pt x="138" y="270"/>
                    <a:pt x="138" y="294"/>
                    <a:pt x="138" y="297"/>
                  </a:cubicBezTo>
                  <a:cubicBezTo>
                    <a:pt x="138" y="301"/>
                    <a:pt x="147" y="321"/>
                    <a:pt x="149" y="326"/>
                  </a:cubicBezTo>
                  <a:cubicBezTo>
                    <a:pt x="150" y="331"/>
                    <a:pt x="144" y="341"/>
                    <a:pt x="145" y="348"/>
                  </a:cubicBezTo>
                  <a:cubicBezTo>
                    <a:pt x="145" y="348"/>
                    <a:pt x="144" y="361"/>
                    <a:pt x="149" y="365"/>
                  </a:cubicBezTo>
                  <a:cubicBezTo>
                    <a:pt x="147" y="367"/>
                    <a:pt x="130" y="375"/>
                    <a:pt x="127" y="375"/>
                  </a:cubicBezTo>
                  <a:cubicBezTo>
                    <a:pt x="125" y="375"/>
                    <a:pt x="112" y="369"/>
                    <a:pt x="110" y="368"/>
                  </a:cubicBezTo>
                  <a:cubicBezTo>
                    <a:pt x="108" y="366"/>
                    <a:pt x="99" y="351"/>
                    <a:pt x="99" y="351"/>
                  </a:cubicBezTo>
                  <a:cubicBezTo>
                    <a:pt x="99" y="351"/>
                    <a:pt x="72" y="359"/>
                    <a:pt x="70" y="359"/>
                  </a:cubicBezTo>
                  <a:cubicBezTo>
                    <a:pt x="70" y="353"/>
                    <a:pt x="63" y="338"/>
                    <a:pt x="63" y="338"/>
                  </a:cubicBezTo>
                  <a:cubicBezTo>
                    <a:pt x="75" y="325"/>
                    <a:pt x="75" y="325"/>
                    <a:pt x="75" y="325"/>
                  </a:cubicBezTo>
                  <a:cubicBezTo>
                    <a:pt x="73" y="321"/>
                    <a:pt x="64" y="296"/>
                    <a:pt x="63" y="291"/>
                  </a:cubicBezTo>
                  <a:cubicBezTo>
                    <a:pt x="62" y="286"/>
                    <a:pt x="54" y="280"/>
                    <a:pt x="50" y="278"/>
                  </a:cubicBez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" name="Google Shape;467;p35">
              <a:extLst>
                <a:ext uri="{FF2B5EF4-FFF2-40B4-BE49-F238E27FC236}">
                  <a16:creationId xmlns:a16="http://schemas.microsoft.com/office/drawing/2014/main" id="{E098D67D-4F31-1FFA-49EE-36E43DC21F91}"/>
                </a:ext>
              </a:extLst>
            </p:cNvPr>
            <p:cNvSpPr/>
            <p:nvPr/>
          </p:nvSpPr>
          <p:spPr>
            <a:xfrm>
              <a:off x="4950263" y="4566498"/>
              <a:ext cx="1156232" cy="1305523"/>
            </a:xfrm>
            <a:custGeom>
              <a:avLst/>
              <a:gdLst/>
              <a:ahLst/>
              <a:cxnLst/>
              <a:rect l="l" t="t" r="r" b="b"/>
              <a:pathLst>
                <a:path w="351" h="397" extrusionOk="0">
                  <a:moveTo>
                    <a:pt x="30" y="378"/>
                  </a:moveTo>
                  <a:cubicBezTo>
                    <a:pt x="28" y="381"/>
                    <a:pt x="24" y="383"/>
                    <a:pt x="20" y="381"/>
                  </a:cubicBezTo>
                  <a:cubicBezTo>
                    <a:pt x="17" y="379"/>
                    <a:pt x="13" y="376"/>
                    <a:pt x="10" y="372"/>
                  </a:cubicBezTo>
                  <a:cubicBezTo>
                    <a:pt x="8" y="368"/>
                    <a:pt x="0" y="357"/>
                    <a:pt x="0" y="352"/>
                  </a:cubicBezTo>
                  <a:cubicBezTo>
                    <a:pt x="0" y="348"/>
                    <a:pt x="8" y="349"/>
                    <a:pt x="9" y="342"/>
                  </a:cubicBezTo>
                  <a:cubicBezTo>
                    <a:pt x="10" y="336"/>
                    <a:pt x="6" y="323"/>
                    <a:pt x="11" y="318"/>
                  </a:cubicBezTo>
                  <a:cubicBezTo>
                    <a:pt x="16" y="314"/>
                    <a:pt x="18" y="311"/>
                    <a:pt x="18" y="306"/>
                  </a:cubicBezTo>
                  <a:cubicBezTo>
                    <a:pt x="18" y="300"/>
                    <a:pt x="10" y="296"/>
                    <a:pt x="11" y="292"/>
                  </a:cubicBezTo>
                  <a:cubicBezTo>
                    <a:pt x="12" y="289"/>
                    <a:pt x="14" y="281"/>
                    <a:pt x="14" y="281"/>
                  </a:cubicBezTo>
                  <a:cubicBezTo>
                    <a:pt x="18" y="271"/>
                    <a:pt x="27" y="268"/>
                    <a:pt x="28" y="262"/>
                  </a:cubicBezTo>
                  <a:cubicBezTo>
                    <a:pt x="29" y="257"/>
                    <a:pt x="33" y="247"/>
                    <a:pt x="33" y="242"/>
                  </a:cubicBezTo>
                  <a:cubicBezTo>
                    <a:pt x="33" y="237"/>
                    <a:pt x="35" y="223"/>
                    <a:pt x="38" y="220"/>
                  </a:cubicBezTo>
                  <a:cubicBezTo>
                    <a:pt x="41" y="217"/>
                    <a:pt x="43" y="212"/>
                    <a:pt x="43" y="208"/>
                  </a:cubicBezTo>
                  <a:cubicBezTo>
                    <a:pt x="43" y="204"/>
                    <a:pt x="43" y="197"/>
                    <a:pt x="47" y="194"/>
                  </a:cubicBezTo>
                  <a:cubicBezTo>
                    <a:pt x="51" y="191"/>
                    <a:pt x="55" y="186"/>
                    <a:pt x="59" y="184"/>
                  </a:cubicBezTo>
                  <a:cubicBezTo>
                    <a:pt x="62" y="181"/>
                    <a:pt x="62" y="172"/>
                    <a:pt x="65" y="170"/>
                  </a:cubicBezTo>
                  <a:cubicBezTo>
                    <a:pt x="67" y="169"/>
                    <a:pt x="78" y="169"/>
                    <a:pt x="78" y="164"/>
                  </a:cubicBezTo>
                  <a:cubicBezTo>
                    <a:pt x="78" y="157"/>
                    <a:pt x="92" y="138"/>
                    <a:pt x="92" y="138"/>
                  </a:cubicBezTo>
                  <a:cubicBezTo>
                    <a:pt x="98" y="132"/>
                    <a:pt x="113" y="108"/>
                    <a:pt x="113" y="104"/>
                  </a:cubicBezTo>
                  <a:cubicBezTo>
                    <a:pt x="113" y="100"/>
                    <a:pt x="125" y="83"/>
                    <a:pt x="125" y="83"/>
                  </a:cubicBezTo>
                  <a:cubicBezTo>
                    <a:pt x="125" y="83"/>
                    <a:pt x="127" y="68"/>
                    <a:pt x="128" y="63"/>
                  </a:cubicBezTo>
                  <a:cubicBezTo>
                    <a:pt x="128" y="58"/>
                    <a:pt x="118" y="35"/>
                    <a:pt x="120" y="35"/>
                  </a:cubicBezTo>
                  <a:cubicBezTo>
                    <a:pt x="122" y="35"/>
                    <a:pt x="149" y="27"/>
                    <a:pt x="149" y="27"/>
                  </a:cubicBezTo>
                  <a:cubicBezTo>
                    <a:pt x="149" y="27"/>
                    <a:pt x="158" y="42"/>
                    <a:pt x="160" y="44"/>
                  </a:cubicBezTo>
                  <a:cubicBezTo>
                    <a:pt x="162" y="45"/>
                    <a:pt x="175" y="51"/>
                    <a:pt x="177" y="51"/>
                  </a:cubicBezTo>
                  <a:cubicBezTo>
                    <a:pt x="180" y="51"/>
                    <a:pt x="197" y="43"/>
                    <a:pt x="199" y="41"/>
                  </a:cubicBezTo>
                  <a:cubicBezTo>
                    <a:pt x="202" y="39"/>
                    <a:pt x="234" y="33"/>
                    <a:pt x="234" y="30"/>
                  </a:cubicBezTo>
                  <a:cubicBezTo>
                    <a:pt x="234" y="28"/>
                    <a:pt x="237" y="19"/>
                    <a:pt x="236" y="19"/>
                  </a:cubicBezTo>
                  <a:cubicBezTo>
                    <a:pt x="234" y="18"/>
                    <a:pt x="224" y="15"/>
                    <a:pt x="224" y="1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57" y="1"/>
                    <a:pt x="257" y="1"/>
                    <a:pt x="257" y="1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8" y="15"/>
                    <a:pt x="274" y="12"/>
                    <a:pt x="276" y="15"/>
                  </a:cubicBezTo>
                  <a:cubicBezTo>
                    <a:pt x="278" y="18"/>
                    <a:pt x="288" y="55"/>
                    <a:pt x="288" y="55"/>
                  </a:cubicBezTo>
                  <a:cubicBezTo>
                    <a:pt x="308" y="49"/>
                    <a:pt x="308" y="49"/>
                    <a:pt x="308" y="49"/>
                  </a:cubicBezTo>
                  <a:cubicBezTo>
                    <a:pt x="308" y="49"/>
                    <a:pt x="315" y="71"/>
                    <a:pt x="314" y="73"/>
                  </a:cubicBezTo>
                  <a:cubicBezTo>
                    <a:pt x="314" y="75"/>
                    <a:pt x="311" y="82"/>
                    <a:pt x="311" y="87"/>
                  </a:cubicBezTo>
                  <a:cubicBezTo>
                    <a:pt x="311" y="93"/>
                    <a:pt x="319" y="116"/>
                    <a:pt x="322" y="120"/>
                  </a:cubicBezTo>
                  <a:cubicBezTo>
                    <a:pt x="325" y="124"/>
                    <a:pt x="344" y="143"/>
                    <a:pt x="346" y="147"/>
                  </a:cubicBezTo>
                  <a:cubicBezTo>
                    <a:pt x="349" y="152"/>
                    <a:pt x="351" y="187"/>
                    <a:pt x="349" y="189"/>
                  </a:cubicBezTo>
                  <a:cubicBezTo>
                    <a:pt x="348" y="190"/>
                    <a:pt x="327" y="196"/>
                    <a:pt x="328" y="198"/>
                  </a:cubicBezTo>
                  <a:cubicBezTo>
                    <a:pt x="328" y="201"/>
                    <a:pt x="331" y="214"/>
                    <a:pt x="328" y="216"/>
                  </a:cubicBezTo>
                  <a:cubicBezTo>
                    <a:pt x="325" y="219"/>
                    <a:pt x="292" y="237"/>
                    <a:pt x="294" y="242"/>
                  </a:cubicBezTo>
                  <a:cubicBezTo>
                    <a:pt x="295" y="247"/>
                    <a:pt x="308" y="290"/>
                    <a:pt x="307" y="295"/>
                  </a:cubicBezTo>
                  <a:cubicBezTo>
                    <a:pt x="307" y="300"/>
                    <a:pt x="304" y="330"/>
                    <a:pt x="304" y="336"/>
                  </a:cubicBezTo>
                  <a:cubicBezTo>
                    <a:pt x="304" y="342"/>
                    <a:pt x="307" y="364"/>
                    <a:pt x="304" y="364"/>
                  </a:cubicBezTo>
                  <a:cubicBezTo>
                    <a:pt x="301" y="364"/>
                    <a:pt x="273" y="358"/>
                    <a:pt x="270" y="359"/>
                  </a:cubicBezTo>
                  <a:cubicBezTo>
                    <a:pt x="267" y="360"/>
                    <a:pt x="250" y="373"/>
                    <a:pt x="248" y="375"/>
                  </a:cubicBezTo>
                  <a:cubicBezTo>
                    <a:pt x="246" y="377"/>
                    <a:pt x="240" y="393"/>
                    <a:pt x="240" y="397"/>
                  </a:cubicBezTo>
                  <a:cubicBezTo>
                    <a:pt x="240" y="397"/>
                    <a:pt x="228" y="396"/>
                    <a:pt x="223" y="391"/>
                  </a:cubicBezTo>
                  <a:cubicBezTo>
                    <a:pt x="218" y="386"/>
                    <a:pt x="219" y="380"/>
                    <a:pt x="212" y="377"/>
                  </a:cubicBezTo>
                  <a:cubicBezTo>
                    <a:pt x="205" y="374"/>
                    <a:pt x="196" y="366"/>
                    <a:pt x="190" y="365"/>
                  </a:cubicBezTo>
                  <a:cubicBezTo>
                    <a:pt x="184" y="364"/>
                    <a:pt x="172" y="365"/>
                    <a:pt x="168" y="366"/>
                  </a:cubicBezTo>
                  <a:cubicBezTo>
                    <a:pt x="164" y="368"/>
                    <a:pt x="158" y="365"/>
                    <a:pt x="152" y="362"/>
                  </a:cubicBezTo>
                  <a:cubicBezTo>
                    <a:pt x="145" y="358"/>
                    <a:pt x="144" y="352"/>
                    <a:pt x="144" y="350"/>
                  </a:cubicBezTo>
                  <a:cubicBezTo>
                    <a:pt x="143" y="348"/>
                    <a:pt x="140" y="341"/>
                    <a:pt x="136" y="340"/>
                  </a:cubicBezTo>
                  <a:cubicBezTo>
                    <a:pt x="131" y="340"/>
                    <a:pt x="126" y="338"/>
                    <a:pt x="122" y="341"/>
                  </a:cubicBezTo>
                  <a:cubicBezTo>
                    <a:pt x="119" y="344"/>
                    <a:pt x="114" y="346"/>
                    <a:pt x="112" y="350"/>
                  </a:cubicBezTo>
                  <a:cubicBezTo>
                    <a:pt x="109" y="354"/>
                    <a:pt x="105" y="360"/>
                    <a:pt x="108" y="362"/>
                  </a:cubicBezTo>
                  <a:cubicBezTo>
                    <a:pt x="108" y="363"/>
                    <a:pt x="109" y="364"/>
                    <a:pt x="110" y="364"/>
                  </a:cubicBezTo>
                  <a:cubicBezTo>
                    <a:pt x="111" y="365"/>
                    <a:pt x="116" y="364"/>
                    <a:pt x="118" y="364"/>
                  </a:cubicBezTo>
                  <a:cubicBezTo>
                    <a:pt x="120" y="364"/>
                    <a:pt x="122" y="360"/>
                    <a:pt x="125" y="360"/>
                  </a:cubicBezTo>
                  <a:cubicBezTo>
                    <a:pt x="127" y="361"/>
                    <a:pt x="132" y="362"/>
                    <a:pt x="132" y="363"/>
                  </a:cubicBezTo>
                  <a:cubicBezTo>
                    <a:pt x="133" y="364"/>
                    <a:pt x="129" y="374"/>
                    <a:pt x="128" y="376"/>
                  </a:cubicBezTo>
                  <a:cubicBezTo>
                    <a:pt x="127" y="378"/>
                    <a:pt x="120" y="371"/>
                    <a:pt x="119" y="372"/>
                  </a:cubicBezTo>
                  <a:cubicBezTo>
                    <a:pt x="117" y="372"/>
                    <a:pt x="114" y="374"/>
                    <a:pt x="113" y="374"/>
                  </a:cubicBezTo>
                  <a:cubicBezTo>
                    <a:pt x="112" y="375"/>
                    <a:pt x="114" y="379"/>
                    <a:pt x="111" y="380"/>
                  </a:cubicBezTo>
                  <a:cubicBezTo>
                    <a:pt x="110" y="380"/>
                    <a:pt x="103" y="380"/>
                    <a:pt x="103" y="380"/>
                  </a:cubicBezTo>
                  <a:cubicBezTo>
                    <a:pt x="99" y="380"/>
                    <a:pt x="96" y="378"/>
                    <a:pt x="94" y="375"/>
                  </a:cubicBezTo>
                  <a:cubicBezTo>
                    <a:pt x="92" y="370"/>
                    <a:pt x="89" y="368"/>
                    <a:pt x="85" y="370"/>
                  </a:cubicBezTo>
                  <a:cubicBezTo>
                    <a:pt x="81" y="371"/>
                    <a:pt x="71" y="378"/>
                    <a:pt x="65" y="378"/>
                  </a:cubicBezTo>
                  <a:cubicBezTo>
                    <a:pt x="59" y="379"/>
                    <a:pt x="52" y="379"/>
                    <a:pt x="50" y="379"/>
                  </a:cubicBezTo>
                  <a:cubicBezTo>
                    <a:pt x="47" y="379"/>
                    <a:pt x="49" y="372"/>
                    <a:pt x="44" y="371"/>
                  </a:cubicBezTo>
                  <a:cubicBezTo>
                    <a:pt x="40" y="370"/>
                    <a:pt x="33" y="374"/>
                    <a:pt x="30" y="378"/>
                  </a:cubicBez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468;p35">
              <a:extLst>
                <a:ext uri="{FF2B5EF4-FFF2-40B4-BE49-F238E27FC236}">
                  <a16:creationId xmlns:a16="http://schemas.microsoft.com/office/drawing/2014/main" id="{EEEC5AD0-4236-6FA5-9EDE-CA998507281A}"/>
                </a:ext>
              </a:extLst>
            </p:cNvPr>
            <p:cNvSpPr/>
            <p:nvPr/>
          </p:nvSpPr>
          <p:spPr>
            <a:xfrm>
              <a:off x="4519318" y="3901542"/>
              <a:ext cx="852131" cy="1118555"/>
            </a:xfrm>
            <a:custGeom>
              <a:avLst/>
              <a:gdLst/>
              <a:ahLst/>
              <a:cxnLst/>
              <a:rect l="l" t="t" r="r" b="b"/>
              <a:pathLst>
                <a:path w="259" h="340" extrusionOk="0">
                  <a:moveTo>
                    <a:pt x="56" y="232"/>
                  </a:moveTo>
                  <a:cubicBezTo>
                    <a:pt x="49" y="232"/>
                    <a:pt x="22" y="232"/>
                    <a:pt x="22" y="232"/>
                  </a:cubicBezTo>
                  <a:cubicBezTo>
                    <a:pt x="24" y="221"/>
                    <a:pt x="24" y="221"/>
                    <a:pt x="24" y="221"/>
                  </a:cubicBezTo>
                  <a:cubicBezTo>
                    <a:pt x="24" y="221"/>
                    <a:pt x="29" y="211"/>
                    <a:pt x="30" y="208"/>
                  </a:cubicBezTo>
                  <a:cubicBezTo>
                    <a:pt x="32" y="206"/>
                    <a:pt x="38" y="201"/>
                    <a:pt x="38" y="198"/>
                  </a:cubicBezTo>
                  <a:cubicBezTo>
                    <a:pt x="38" y="195"/>
                    <a:pt x="41" y="186"/>
                    <a:pt x="41" y="186"/>
                  </a:cubicBezTo>
                  <a:cubicBezTo>
                    <a:pt x="41" y="186"/>
                    <a:pt x="36" y="184"/>
                    <a:pt x="32" y="182"/>
                  </a:cubicBezTo>
                  <a:cubicBezTo>
                    <a:pt x="28" y="180"/>
                    <a:pt x="22" y="179"/>
                    <a:pt x="16" y="174"/>
                  </a:cubicBezTo>
                  <a:cubicBezTo>
                    <a:pt x="12" y="168"/>
                    <a:pt x="10" y="160"/>
                    <a:pt x="7" y="158"/>
                  </a:cubicBezTo>
                  <a:cubicBezTo>
                    <a:pt x="4" y="155"/>
                    <a:pt x="0" y="150"/>
                    <a:pt x="0" y="146"/>
                  </a:cubicBezTo>
                  <a:cubicBezTo>
                    <a:pt x="0" y="141"/>
                    <a:pt x="0" y="129"/>
                    <a:pt x="2" y="125"/>
                  </a:cubicBezTo>
                  <a:cubicBezTo>
                    <a:pt x="4" y="122"/>
                    <a:pt x="7" y="118"/>
                    <a:pt x="7" y="118"/>
                  </a:cubicBezTo>
                  <a:cubicBezTo>
                    <a:pt x="7" y="118"/>
                    <a:pt x="8" y="112"/>
                    <a:pt x="8" y="109"/>
                  </a:cubicBezTo>
                  <a:cubicBezTo>
                    <a:pt x="8" y="107"/>
                    <a:pt x="17" y="105"/>
                    <a:pt x="18" y="103"/>
                  </a:cubicBezTo>
                  <a:cubicBezTo>
                    <a:pt x="22" y="100"/>
                    <a:pt x="32" y="92"/>
                    <a:pt x="32" y="9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1"/>
                    <a:pt x="78" y="91"/>
                    <a:pt x="79" y="91"/>
                  </a:cubicBezTo>
                  <a:cubicBezTo>
                    <a:pt x="82" y="88"/>
                    <a:pt x="80" y="72"/>
                    <a:pt x="83" y="68"/>
                  </a:cubicBezTo>
                  <a:cubicBezTo>
                    <a:pt x="85" y="64"/>
                    <a:pt x="107" y="58"/>
                    <a:pt x="110" y="55"/>
                  </a:cubicBezTo>
                  <a:cubicBezTo>
                    <a:pt x="112" y="53"/>
                    <a:pt x="130" y="53"/>
                    <a:pt x="135" y="52"/>
                  </a:cubicBezTo>
                  <a:cubicBezTo>
                    <a:pt x="141" y="51"/>
                    <a:pt x="141" y="40"/>
                    <a:pt x="144" y="40"/>
                  </a:cubicBezTo>
                  <a:cubicBezTo>
                    <a:pt x="148" y="40"/>
                    <a:pt x="164" y="32"/>
                    <a:pt x="168" y="30"/>
                  </a:cubicBezTo>
                  <a:cubicBezTo>
                    <a:pt x="171" y="28"/>
                    <a:pt x="182" y="22"/>
                    <a:pt x="181" y="20"/>
                  </a:cubicBezTo>
                  <a:cubicBezTo>
                    <a:pt x="179" y="18"/>
                    <a:pt x="179" y="2"/>
                    <a:pt x="182" y="2"/>
                  </a:cubicBezTo>
                  <a:cubicBezTo>
                    <a:pt x="185" y="2"/>
                    <a:pt x="196" y="0"/>
                    <a:pt x="197" y="4"/>
                  </a:cubicBezTo>
                  <a:cubicBezTo>
                    <a:pt x="199" y="7"/>
                    <a:pt x="208" y="15"/>
                    <a:pt x="210" y="19"/>
                  </a:cubicBezTo>
                  <a:cubicBezTo>
                    <a:pt x="210" y="21"/>
                    <a:pt x="218" y="35"/>
                    <a:pt x="223" y="46"/>
                  </a:cubicBezTo>
                  <a:cubicBezTo>
                    <a:pt x="227" y="53"/>
                    <a:pt x="229" y="59"/>
                    <a:pt x="229" y="61"/>
                  </a:cubicBezTo>
                  <a:cubicBezTo>
                    <a:pt x="228" y="65"/>
                    <a:pt x="218" y="66"/>
                    <a:pt x="215" y="68"/>
                  </a:cubicBezTo>
                  <a:cubicBezTo>
                    <a:pt x="212" y="69"/>
                    <a:pt x="208" y="86"/>
                    <a:pt x="208" y="89"/>
                  </a:cubicBezTo>
                  <a:cubicBezTo>
                    <a:pt x="208" y="92"/>
                    <a:pt x="221" y="111"/>
                    <a:pt x="219" y="115"/>
                  </a:cubicBezTo>
                  <a:cubicBezTo>
                    <a:pt x="217" y="118"/>
                    <a:pt x="201" y="132"/>
                    <a:pt x="199" y="134"/>
                  </a:cubicBezTo>
                  <a:cubicBezTo>
                    <a:pt x="197" y="136"/>
                    <a:pt x="190" y="139"/>
                    <a:pt x="185" y="142"/>
                  </a:cubicBezTo>
                  <a:cubicBezTo>
                    <a:pt x="181" y="144"/>
                    <a:pt x="188" y="163"/>
                    <a:pt x="193" y="164"/>
                  </a:cubicBezTo>
                  <a:cubicBezTo>
                    <a:pt x="198" y="166"/>
                    <a:pt x="227" y="155"/>
                    <a:pt x="231" y="156"/>
                  </a:cubicBezTo>
                  <a:cubicBezTo>
                    <a:pt x="235" y="158"/>
                    <a:pt x="243" y="164"/>
                    <a:pt x="244" y="169"/>
                  </a:cubicBezTo>
                  <a:cubicBezTo>
                    <a:pt x="245" y="174"/>
                    <a:pt x="254" y="199"/>
                    <a:pt x="256" y="203"/>
                  </a:cubicBezTo>
                  <a:cubicBezTo>
                    <a:pt x="244" y="216"/>
                    <a:pt x="244" y="216"/>
                    <a:pt x="244" y="216"/>
                  </a:cubicBezTo>
                  <a:cubicBezTo>
                    <a:pt x="244" y="216"/>
                    <a:pt x="251" y="231"/>
                    <a:pt x="251" y="237"/>
                  </a:cubicBezTo>
                  <a:cubicBezTo>
                    <a:pt x="249" y="237"/>
                    <a:pt x="259" y="260"/>
                    <a:pt x="259" y="265"/>
                  </a:cubicBezTo>
                  <a:cubicBezTo>
                    <a:pt x="258" y="270"/>
                    <a:pt x="256" y="285"/>
                    <a:pt x="256" y="285"/>
                  </a:cubicBezTo>
                  <a:cubicBezTo>
                    <a:pt x="256" y="285"/>
                    <a:pt x="244" y="302"/>
                    <a:pt x="244" y="306"/>
                  </a:cubicBezTo>
                  <a:cubicBezTo>
                    <a:pt x="244" y="310"/>
                    <a:pt x="229" y="334"/>
                    <a:pt x="223" y="340"/>
                  </a:cubicBezTo>
                  <a:cubicBezTo>
                    <a:pt x="223" y="340"/>
                    <a:pt x="211" y="335"/>
                    <a:pt x="208" y="333"/>
                  </a:cubicBezTo>
                  <a:cubicBezTo>
                    <a:pt x="204" y="331"/>
                    <a:pt x="198" y="324"/>
                    <a:pt x="194" y="324"/>
                  </a:cubicBezTo>
                  <a:cubicBezTo>
                    <a:pt x="189" y="323"/>
                    <a:pt x="178" y="323"/>
                    <a:pt x="174" y="322"/>
                  </a:cubicBezTo>
                  <a:cubicBezTo>
                    <a:pt x="170" y="322"/>
                    <a:pt x="162" y="323"/>
                    <a:pt x="160" y="321"/>
                  </a:cubicBezTo>
                  <a:cubicBezTo>
                    <a:pt x="156" y="319"/>
                    <a:pt x="150" y="317"/>
                    <a:pt x="148" y="313"/>
                  </a:cubicBezTo>
                  <a:cubicBezTo>
                    <a:pt x="146" y="309"/>
                    <a:pt x="144" y="300"/>
                    <a:pt x="142" y="299"/>
                  </a:cubicBezTo>
                  <a:cubicBezTo>
                    <a:pt x="141" y="298"/>
                    <a:pt x="124" y="302"/>
                    <a:pt x="124" y="302"/>
                  </a:cubicBezTo>
                  <a:cubicBezTo>
                    <a:pt x="130" y="266"/>
                    <a:pt x="130" y="266"/>
                    <a:pt x="130" y="266"/>
                  </a:cubicBezTo>
                  <a:cubicBezTo>
                    <a:pt x="119" y="232"/>
                    <a:pt x="119" y="232"/>
                    <a:pt x="119" y="232"/>
                  </a:cubicBezTo>
                  <a:cubicBezTo>
                    <a:pt x="119" y="232"/>
                    <a:pt x="98" y="219"/>
                    <a:pt x="91" y="219"/>
                  </a:cubicBezTo>
                  <a:cubicBezTo>
                    <a:pt x="84" y="219"/>
                    <a:pt x="62" y="232"/>
                    <a:pt x="56" y="232"/>
                  </a:cubicBez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469;p35">
              <a:extLst>
                <a:ext uri="{FF2B5EF4-FFF2-40B4-BE49-F238E27FC236}">
                  <a16:creationId xmlns:a16="http://schemas.microsoft.com/office/drawing/2014/main" id="{2FC9D845-B1B5-DEBF-B7E4-F505D06E51AE}"/>
                </a:ext>
              </a:extLst>
            </p:cNvPr>
            <p:cNvSpPr/>
            <p:nvPr/>
          </p:nvSpPr>
          <p:spPr>
            <a:xfrm>
              <a:off x="4585993" y="4621774"/>
              <a:ext cx="361017" cy="295897"/>
            </a:xfrm>
            <a:custGeom>
              <a:avLst/>
              <a:gdLst/>
              <a:ahLst/>
              <a:cxnLst/>
              <a:rect l="l" t="t" r="r" b="b"/>
              <a:pathLst>
                <a:path w="110" h="90" extrusionOk="0">
                  <a:moveTo>
                    <a:pt x="2" y="13"/>
                  </a:moveTo>
                  <a:cubicBezTo>
                    <a:pt x="2" y="13"/>
                    <a:pt x="29" y="13"/>
                    <a:pt x="36" y="13"/>
                  </a:cubicBezTo>
                  <a:cubicBezTo>
                    <a:pt x="42" y="13"/>
                    <a:pt x="64" y="0"/>
                    <a:pt x="71" y="0"/>
                  </a:cubicBezTo>
                  <a:cubicBezTo>
                    <a:pt x="78" y="0"/>
                    <a:pt x="99" y="13"/>
                    <a:pt x="99" y="13"/>
                  </a:cubicBezTo>
                  <a:cubicBezTo>
                    <a:pt x="110" y="47"/>
                    <a:pt x="110" y="47"/>
                    <a:pt x="110" y="47"/>
                  </a:cubicBezTo>
                  <a:cubicBezTo>
                    <a:pt x="104" y="83"/>
                    <a:pt x="104" y="83"/>
                    <a:pt x="104" y="83"/>
                  </a:cubicBezTo>
                  <a:cubicBezTo>
                    <a:pt x="99" y="89"/>
                    <a:pt x="99" y="89"/>
                    <a:pt x="99" y="89"/>
                  </a:cubicBezTo>
                  <a:cubicBezTo>
                    <a:pt x="96" y="90"/>
                    <a:pt x="75" y="89"/>
                    <a:pt x="73" y="88"/>
                  </a:cubicBezTo>
                  <a:cubicBezTo>
                    <a:pt x="71" y="86"/>
                    <a:pt x="73" y="77"/>
                    <a:pt x="70" y="75"/>
                  </a:cubicBezTo>
                  <a:cubicBezTo>
                    <a:pt x="67" y="73"/>
                    <a:pt x="54" y="69"/>
                    <a:pt x="52" y="69"/>
                  </a:cubicBezTo>
                  <a:cubicBezTo>
                    <a:pt x="50" y="69"/>
                    <a:pt x="52" y="81"/>
                    <a:pt x="50" y="81"/>
                  </a:cubicBezTo>
                  <a:cubicBezTo>
                    <a:pt x="48" y="81"/>
                    <a:pt x="39" y="78"/>
                    <a:pt x="36" y="76"/>
                  </a:cubicBezTo>
                  <a:cubicBezTo>
                    <a:pt x="34" y="73"/>
                    <a:pt x="23" y="52"/>
                    <a:pt x="22" y="49"/>
                  </a:cubicBezTo>
                  <a:cubicBezTo>
                    <a:pt x="21" y="46"/>
                    <a:pt x="20" y="35"/>
                    <a:pt x="18" y="33"/>
                  </a:cubicBezTo>
                  <a:cubicBezTo>
                    <a:pt x="16" y="30"/>
                    <a:pt x="8" y="25"/>
                    <a:pt x="5" y="25"/>
                  </a:cubicBezTo>
                  <a:cubicBezTo>
                    <a:pt x="2" y="25"/>
                    <a:pt x="0" y="24"/>
                    <a:pt x="0" y="24"/>
                  </a:cubicBezTo>
                  <a:cubicBezTo>
                    <a:pt x="0" y="21"/>
                    <a:pt x="2" y="13"/>
                    <a:pt x="2" y="13"/>
                  </a:cubicBez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470;p35">
              <a:extLst>
                <a:ext uri="{FF2B5EF4-FFF2-40B4-BE49-F238E27FC236}">
                  <a16:creationId xmlns:a16="http://schemas.microsoft.com/office/drawing/2014/main" id="{C9834EB6-EFCF-20D3-191E-8C52DE8A26F8}"/>
                </a:ext>
              </a:extLst>
            </p:cNvPr>
            <p:cNvSpPr/>
            <p:nvPr/>
          </p:nvSpPr>
          <p:spPr>
            <a:xfrm>
              <a:off x="4464027" y="3005724"/>
              <a:ext cx="1286327" cy="1198219"/>
            </a:xfrm>
            <a:custGeom>
              <a:avLst/>
              <a:gdLst/>
              <a:ahLst/>
              <a:cxnLst/>
              <a:rect l="l" t="t" r="r" b="b"/>
              <a:pathLst>
                <a:path w="391" h="364" extrusionOk="0">
                  <a:moveTo>
                    <a:pt x="41" y="96"/>
                  </a:moveTo>
                  <a:cubicBezTo>
                    <a:pt x="43" y="96"/>
                    <a:pt x="61" y="106"/>
                    <a:pt x="64" y="107"/>
                  </a:cubicBezTo>
                  <a:cubicBezTo>
                    <a:pt x="67" y="108"/>
                    <a:pt x="95" y="99"/>
                    <a:pt x="98" y="99"/>
                  </a:cubicBezTo>
                  <a:cubicBezTo>
                    <a:pt x="101" y="98"/>
                    <a:pt x="115" y="94"/>
                    <a:pt x="113" y="86"/>
                  </a:cubicBezTo>
                  <a:cubicBezTo>
                    <a:pt x="110" y="79"/>
                    <a:pt x="101" y="75"/>
                    <a:pt x="99" y="74"/>
                  </a:cubicBezTo>
                  <a:cubicBezTo>
                    <a:pt x="97" y="72"/>
                    <a:pt x="106" y="63"/>
                    <a:pt x="106" y="61"/>
                  </a:cubicBezTo>
                  <a:cubicBezTo>
                    <a:pt x="107" y="60"/>
                    <a:pt x="119" y="60"/>
                    <a:pt x="120" y="59"/>
                  </a:cubicBezTo>
                  <a:cubicBezTo>
                    <a:pt x="121" y="58"/>
                    <a:pt x="136" y="45"/>
                    <a:pt x="137" y="43"/>
                  </a:cubicBezTo>
                  <a:cubicBezTo>
                    <a:pt x="139" y="41"/>
                    <a:pt x="140" y="36"/>
                    <a:pt x="140" y="36"/>
                  </a:cubicBezTo>
                  <a:cubicBezTo>
                    <a:pt x="166" y="41"/>
                    <a:pt x="166" y="41"/>
                    <a:pt x="166" y="41"/>
                  </a:cubicBezTo>
                  <a:cubicBezTo>
                    <a:pt x="173" y="41"/>
                    <a:pt x="196" y="27"/>
                    <a:pt x="196" y="25"/>
                  </a:cubicBezTo>
                  <a:cubicBezTo>
                    <a:pt x="197" y="23"/>
                    <a:pt x="200" y="7"/>
                    <a:pt x="200" y="7"/>
                  </a:cubicBezTo>
                  <a:cubicBezTo>
                    <a:pt x="230" y="20"/>
                    <a:pt x="230" y="20"/>
                    <a:pt x="230" y="20"/>
                  </a:cubicBezTo>
                  <a:cubicBezTo>
                    <a:pt x="236" y="36"/>
                    <a:pt x="236" y="36"/>
                    <a:pt x="236" y="36"/>
                  </a:cubicBezTo>
                  <a:cubicBezTo>
                    <a:pt x="226" y="69"/>
                    <a:pt x="226" y="69"/>
                    <a:pt x="226" y="69"/>
                  </a:cubicBezTo>
                  <a:cubicBezTo>
                    <a:pt x="226" y="69"/>
                    <a:pt x="234" y="83"/>
                    <a:pt x="236" y="81"/>
                  </a:cubicBezTo>
                  <a:cubicBezTo>
                    <a:pt x="238" y="79"/>
                    <a:pt x="260" y="70"/>
                    <a:pt x="263" y="68"/>
                  </a:cubicBezTo>
                  <a:cubicBezTo>
                    <a:pt x="266" y="66"/>
                    <a:pt x="273" y="70"/>
                    <a:pt x="278" y="70"/>
                  </a:cubicBezTo>
                  <a:cubicBezTo>
                    <a:pt x="283" y="70"/>
                    <a:pt x="289" y="63"/>
                    <a:pt x="289" y="63"/>
                  </a:cubicBezTo>
                  <a:cubicBezTo>
                    <a:pt x="289" y="63"/>
                    <a:pt x="287" y="45"/>
                    <a:pt x="287" y="38"/>
                  </a:cubicBezTo>
                  <a:cubicBezTo>
                    <a:pt x="287" y="31"/>
                    <a:pt x="273" y="25"/>
                    <a:pt x="273" y="25"/>
                  </a:cubicBezTo>
                  <a:cubicBezTo>
                    <a:pt x="272" y="13"/>
                    <a:pt x="272" y="13"/>
                    <a:pt x="272" y="13"/>
                  </a:cubicBezTo>
                  <a:cubicBezTo>
                    <a:pt x="272" y="13"/>
                    <a:pt x="307" y="0"/>
                    <a:pt x="309" y="1"/>
                  </a:cubicBezTo>
                  <a:cubicBezTo>
                    <a:pt x="312" y="3"/>
                    <a:pt x="316" y="23"/>
                    <a:pt x="318" y="23"/>
                  </a:cubicBezTo>
                  <a:cubicBezTo>
                    <a:pt x="320" y="23"/>
                    <a:pt x="334" y="24"/>
                    <a:pt x="337" y="22"/>
                  </a:cubicBezTo>
                  <a:cubicBezTo>
                    <a:pt x="340" y="20"/>
                    <a:pt x="349" y="5"/>
                    <a:pt x="349" y="5"/>
                  </a:cubicBezTo>
                  <a:cubicBezTo>
                    <a:pt x="363" y="14"/>
                    <a:pt x="363" y="14"/>
                    <a:pt x="363" y="14"/>
                  </a:cubicBezTo>
                  <a:cubicBezTo>
                    <a:pt x="363" y="14"/>
                    <a:pt x="356" y="30"/>
                    <a:pt x="353" y="33"/>
                  </a:cubicBezTo>
                  <a:cubicBezTo>
                    <a:pt x="351" y="36"/>
                    <a:pt x="345" y="38"/>
                    <a:pt x="345" y="40"/>
                  </a:cubicBezTo>
                  <a:cubicBezTo>
                    <a:pt x="345" y="42"/>
                    <a:pt x="345" y="67"/>
                    <a:pt x="345" y="67"/>
                  </a:cubicBezTo>
                  <a:cubicBezTo>
                    <a:pt x="345" y="67"/>
                    <a:pt x="359" y="67"/>
                    <a:pt x="359" y="70"/>
                  </a:cubicBezTo>
                  <a:cubicBezTo>
                    <a:pt x="359" y="72"/>
                    <a:pt x="362" y="93"/>
                    <a:pt x="365" y="96"/>
                  </a:cubicBezTo>
                  <a:cubicBezTo>
                    <a:pt x="367" y="100"/>
                    <a:pt x="375" y="115"/>
                    <a:pt x="375" y="115"/>
                  </a:cubicBezTo>
                  <a:cubicBezTo>
                    <a:pt x="391" y="117"/>
                    <a:pt x="391" y="117"/>
                    <a:pt x="391" y="117"/>
                  </a:cubicBezTo>
                  <a:cubicBezTo>
                    <a:pt x="391" y="117"/>
                    <a:pt x="386" y="142"/>
                    <a:pt x="385" y="146"/>
                  </a:cubicBezTo>
                  <a:cubicBezTo>
                    <a:pt x="384" y="147"/>
                    <a:pt x="384" y="148"/>
                    <a:pt x="383" y="150"/>
                  </a:cubicBezTo>
                  <a:cubicBezTo>
                    <a:pt x="382" y="157"/>
                    <a:pt x="378" y="169"/>
                    <a:pt x="376" y="172"/>
                  </a:cubicBezTo>
                  <a:cubicBezTo>
                    <a:pt x="372" y="175"/>
                    <a:pt x="361" y="191"/>
                    <a:pt x="357" y="191"/>
                  </a:cubicBezTo>
                  <a:cubicBezTo>
                    <a:pt x="353" y="191"/>
                    <a:pt x="356" y="178"/>
                    <a:pt x="353" y="178"/>
                  </a:cubicBezTo>
                  <a:cubicBezTo>
                    <a:pt x="350" y="178"/>
                    <a:pt x="340" y="176"/>
                    <a:pt x="335" y="177"/>
                  </a:cubicBezTo>
                  <a:cubicBezTo>
                    <a:pt x="330" y="178"/>
                    <a:pt x="338" y="195"/>
                    <a:pt x="336" y="196"/>
                  </a:cubicBezTo>
                  <a:cubicBezTo>
                    <a:pt x="334" y="198"/>
                    <a:pt x="322" y="196"/>
                    <a:pt x="316" y="196"/>
                  </a:cubicBezTo>
                  <a:cubicBezTo>
                    <a:pt x="311" y="196"/>
                    <a:pt x="298" y="209"/>
                    <a:pt x="295" y="213"/>
                  </a:cubicBezTo>
                  <a:cubicBezTo>
                    <a:pt x="292" y="217"/>
                    <a:pt x="311" y="218"/>
                    <a:pt x="312" y="221"/>
                  </a:cubicBezTo>
                  <a:cubicBezTo>
                    <a:pt x="313" y="225"/>
                    <a:pt x="310" y="245"/>
                    <a:pt x="307" y="245"/>
                  </a:cubicBezTo>
                  <a:cubicBezTo>
                    <a:pt x="303" y="245"/>
                    <a:pt x="290" y="250"/>
                    <a:pt x="290" y="250"/>
                  </a:cubicBezTo>
                  <a:cubicBezTo>
                    <a:pt x="290" y="250"/>
                    <a:pt x="282" y="277"/>
                    <a:pt x="279" y="281"/>
                  </a:cubicBezTo>
                  <a:cubicBezTo>
                    <a:pt x="276" y="284"/>
                    <a:pt x="257" y="287"/>
                    <a:pt x="253" y="291"/>
                  </a:cubicBezTo>
                  <a:cubicBezTo>
                    <a:pt x="250" y="294"/>
                    <a:pt x="253" y="307"/>
                    <a:pt x="253" y="307"/>
                  </a:cubicBezTo>
                  <a:cubicBezTo>
                    <a:pt x="253" y="307"/>
                    <a:pt x="243" y="315"/>
                    <a:pt x="240" y="318"/>
                  </a:cubicBezTo>
                  <a:cubicBezTo>
                    <a:pt x="235" y="307"/>
                    <a:pt x="227" y="293"/>
                    <a:pt x="227" y="291"/>
                  </a:cubicBezTo>
                  <a:cubicBezTo>
                    <a:pt x="225" y="287"/>
                    <a:pt x="216" y="279"/>
                    <a:pt x="214" y="276"/>
                  </a:cubicBezTo>
                  <a:cubicBezTo>
                    <a:pt x="213" y="272"/>
                    <a:pt x="202" y="274"/>
                    <a:pt x="199" y="274"/>
                  </a:cubicBezTo>
                  <a:cubicBezTo>
                    <a:pt x="196" y="274"/>
                    <a:pt x="196" y="290"/>
                    <a:pt x="198" y="292"/>
                  </a:cubicBezTo>
                  <a:cubicBezTo>
                    <a:pt x="199" y="294"/>
                    <a:pt x="188" y="300"/>
                    <a:pt x="185" y="302"/>
                  </a:cubicBezTo>
                  <a:cubicBezTo>
                    <a:pt x="181" y="304"/>
                    <a:pt x="165" y="312"/>
                    <a:pt x="161" y="312"/>
                  </a:cubicBezTo>
                  <a:cubicBezTo>
                    <a:pt x="158" y="312"/>
                    <a:pt x="158" y="323"/>
                    <a:pt x="152" y="324"/>
                  </a:cubicBezTo>
                  <a:cubicBezTo>
                    <a:pt x="147" y="325"/>
                    <a:pt x="129" y="325"/>
                    <a:pt x="127" y="327"/>
                  </a:cubicBezTo>
                  <a:cubicBezTo>
                    <a:pt x="124" y="330"/>
                    <a:pt x="102" y="336"/>
                    <a:pt x="100" y="340"/>
                  </a:cubicBezTo>
                  <a:cubicBezTo>
                    <a:pt x="97" y="344"/>
                    <a:pt x="99" y="360"/>
                    <a:pt x="96" y="363"/>
                  </a:cubicBezTo>
                  <a:cubicBezTo>
                    <a:pt x="95" y="363"/>
                    <a:pt x="74" y="363"/>
                    <a:pt x="74" y="363"/>
                  </a:cubicBezTo>
                  <a:cubicBezTo>
                    <a:pt x="49" y="364"/>
                    <a:pt x="49" y="364"/>
                    <a:pt x="49" y="364"/>
                  </a:cubicBezTo>
                  <a:cubicBezTo>
                    <a:pt x="44" y="356"/>
                    <a:pt x="44" y="356"/>
                    <a:pt x="44" y="356"/>
                  </a:cubicBezTo>
                  <a:cubicBezTo>
                    <a:pt x="42" y="354"/>
                    <a:pt x="50" y="348"/>
                    <a:pt x="47" y="343"/>
                  </a:cubicBezTo>
                  <a:cubicBezTo>
                    <a:pt x="44" y="338"/>
                    <a:pt x="35" y="336"/>
                    <a:pt x="34" y="336"/>
                  </a:cubicBezTo>
                  <a:cubicBezTo>
                    <a:pt x="33" y="336"/>
                    <a:pt x="29" y="328"/>
                    <a:pt x="28" y="326"/>
                  </a:cubicBezTo>
                  <a:cubicBezTo>
                    <a:pt x="28" y="323"/>
                    <a:pt x="35" y="321"/>
                    <a:pt x="35" y="320"/>
                  </a:cubicBezTo>
                  <a:cubicBezTo>
                    <a:pt x="35" y="319"/>
                    <a:pt x="25" y="299"/>
                    <a:pt x="23" y="297"/>
                  </a:cubicBezTo>
                  <a:cubicBezTo>
                    <a:pt x="20" y="295"/>
                    <a:pt x="16" y="297"/>
                    <a:pt x="14" y="296"/>
                  </a:cubicBezTo>
                  <a:cubicBezTo>
                    <a:pt x="13" y="295"/>
                    <a:pt x="11" y="285"/>
                    <a:pt x="10" y="283"/>
                  </a:cubicBezTo>
                  <a:cubicBezTo>
                    <a:pt x="10" y="280"/>
                    <a:pt x="18" y="274"/>
                    <a:pt x="19" y="274"/>
                  </a:cubicBezTo>
                  <a:cubicBezTo>
                    <a:pt x="21" y="274"/>
                    <a:pt x="21" y="265"/>
                    <a:pt x="21" y="263"/>
                  </a:cubicBezTo>
                  <a:cubicBezTo>
                    <a:pt x="21" y="261"/>
                    <a:pt x="15" y="260"/>
                    <a:pt x="15" y="258"/>
                  </a:cubicBezTo>
                  <a:cubicBezTo>
                    <a:pt x="14" y="257"/>
                    <a:pt x="14" y="252"/>
                    <a:pt x="14" y="251"/>
                  </a:cubicBezTo>
                  <a:cubicBezTo>
                    <a:pt x="14" y="251"/>
                    <a:pt x="4" y="251"/>
                    <a:pt x="3" y="250"/>
                  </a:cubicBezTo>
                  <a:cubicBezTo>
                    <a:pt x="2" y="250"/>
                    <a:pt x="0" y="243"/>
                    <a:pt x="0" y="240"/>
                  </a:cubicBezTo>
                  <a:cubicBezTo>
                    <a:pt x="0" y="238"/>
                    <a:pt x="31" y="227"/>
                    <a:pt x="33" y="226"/>
                  </a:cubicBezTo>
                  <a:cubicBezTo>
                    <a:pt x="35" y="225"/>
                    <a:pt x="34" y="218"/>
                    <a:pt x="33" y="217"/>
                  </a:cubicBezTo>
                  <a:cubicBezTo>
                    <a:pt x="32" y="216"/>
                    <a:pt x="26" y="219"/>
                    <a:pt x="25" y="219"/>
                  </a:cubicBezTo>
                  <a:cubicBezTo>
                    <a:pt x="23" y="219"/>
                    <a:pt x="23" y="208"/>
                    <a:pt x="23" y="207"/>
                  </a:cubicBezTo>
                  <a:cubicBezTo>
                    <a:pt x="24" y="206"/>
                    <a:pt x="40" y="193"/>
                    <a:pt x="40" y="190"/>
                  </a:cubicBezTo>
                  <a:cubicBezTo>
                    <a:pt x="41" y="187"/>
                    <a:pt x="42" y="179"/>
                    <a:pt x="42" y="175"/>
                  </a:cubicBezTo>
                  <a:cubicBezTo>
                    <a:pt x="42" y="171"/>
                    <a:pt x="44" y="163"/>
                    <a:pt x="42" y="160"/>
                  </a:cubicBezTo>
                  <a:cubicBezTo>
                    <a:pt x="39" y="157"/>
                    <a:pt x="32" y="148"/>
                    <a:pt x="32" y="146"/>
                  </a:cubicBezTo>
                  <a:cubicBezTo>
                    <a:pt x="32" y="144"/>
                    <a:pt x="35" y="139"/>
                    <a:pt x="34" y="137"/>
                  </a:cubicBezTo>
                  <a:cubicBezTo>
                    <a:pt x="32" y="135"/>
                    <a:pt x="27" y="136"/>
                    <a:pt x="25" y="133"/>
                  </a:cubicBezTo>
                  <a:cubicBezTo>
                    <a:pt x="24" y="129"/>
                    <a:pt x="28" y="125"/>
                    <a:pt x="25" y="123"/>
                  </a:cubicBezTo>
                  <a:cubicBezTo>
                    <a:pt x="22" y="121"/>
                    <a:pt x="19" y="121"/>
                    <a:pt x="19" y="118"/>
                  </a:cubicBezTo>
                  <a:cubicBezTo>
                    <a:pt x="19" y="115"/>
                    <a:pt x="18" y="107"/>
                    <a:pt x="18" y="107"/>
                  </a:cubicBezTo>
                  <a:cubicBezTo>
                    <a:pt x="18" y="107"/>
                    <a:pt x="30" y="102"/>
                    <a:pt x="30" y="101"/>
                  </a:cubicBezTo>
                  <a:cubicBezTo>
                    <a:pt x="31" y="100"/>
                    <a:pt x="40" y="97"/>
                    <a:pt x="41" y="96"/>
                  </a:cubicBezTo>
                  <a:close/>
                </a:path>
              </a:pathLst>
            </a:custGeom>
            <a:solidFill>
              <a:srgbClr val="855C9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0" name="Google Shape;471;p35">
              <a:extLst>
                <a:ext uri="{FF2B5EF4-FFF2-40B4-BE49-F238E27FC236}">
                  <a16:creationId xmlns:a16="http://schemas.microsoft.com/office/drawing/2014/main" id="{5672B004-F7D6-D643-CBB9-6AFD31F5347B}"/>
                </a:ext>
              </a:extLst>
            </p:cNvPr>
            <p:cNvGrpSpPr/>
            <p:nvPr/>
          </p:nvGrpSpPr>
          <p:grpSpPr>
            <a:xfrm>
              <a:off x="4805530" y="2236716"/>
              <a:ext cx="1703701" cy="1497977"/>
              <a:chOff x="2087" y="1344"/>
              <a:chExt cx="1048" cy="921"/>
            </a:xfrm>
          </p:grpSpPr>
          <p:sp>
            <p:nvSpPr>
              <p:cNvPr id="23" name="Google Shape;472;p35">
                <a:extLst>
                  <a:ext uri="{FF2B5EF4-FFF2-40B4-BE49-F238E27FC236}">
                    <a16:creationId xmlns:a16="http://schemas.microsoft.com/office/drawing/2014/main" id="{4B6D2520-3BDE-4010-80E9-8C7E7803A423}"/>
                  </a:ext>
                </a:extLst>
              </p:cNvPr>
              <p:cNvSpPr/>
              <p:nvPr/>
            </p:nvSpPr>
            <p:spPr>
              <a:xfrm>
                <a:off x="2087" y="1344"/>
                <a:ext cx="1048" cy="921"/>
              </a:xfrm>
              <a:custGeom>
                <a:avLst/>
                <a:gdLst/>
                <a:ahLst/>
                <a:cxnLst/>
                <a:rect l="l" t="t" r="r" b="b"/>
                <a:pathLst>
                  <a:path w="518" h="455" extrusionOk="0">
                    <a:moveTo>
                      <a:pt x="92" y="259"/>
                    </a:moveTo>
                    <a:cubicBezTo>
                      <a:pt x="92" y="261"/>
                      <a:pt x="69" y="275"/>
                      <a:pt x="62" y="275"/>
                    </a:cubicBezTo>
                    <a:cubicBezTo>
                      <a:pt x="36" y="270"/>
                      <a:pt x="36" y="270"/>
                      <a:pt x="36" y="270"/>
                    </a:cubicBezTo>
                    <a:cubicBezTo>
                      <a:pt x="36" y="267"/>
                      <a:pt x="38" y="255"/>
                      <a:pt x="38" y="251"/>
                    </a:cubicBezTo>
                    <a:cubicBezTo>
                      <a:pt x="38" y="249"/>
                      <a:pt x="31" y="242"/>
                      <a:pt x="27" y="241"/>
                    </a:cubicBezTo>
                    <a:cubicBezTo>
                      <a:pt x="23" y="240"/>
                      <a:pt x="6" y="236"/>
                      <a:pt x="3" y="234"/>
                    </a:cubicBezTo>
                    <a:cubicBezTo>
                      <a:pt x="0" y="232"/>
                      <a:pt x="1" y="225"/>
                      <a:pt x="2" y="222"/>
                    </a:cubicBezTo>
                    <a:cubicBezTo>
                      <a:pt x="3" y="218"/>
                      <a:pt x="5" y="208"/>
                      <a:pt x="6" y="206"/>
                    </a:cubicBezTo>
                    <a:cubicBezTo>
                      <a:pt x="7" y="205"/>
                      <a:pt x="34" y="208"/>
                      <a:pt x="37" y="208"/>
                    </a:cubicBezTo>
                    <a:cubicBezTo>
                      <a:pt x="39" y="208"/>
                      <a:pt x="43" y="179"/>
                      <a:pt x="44" y="178"/>
                    </a:cubicBezTo>
                    <a:cubicBezTo>
                      <a:pt x="45" y="176"/>
                      <a:pt x="60" y="151"/>
                      <a:pt x="60" y="146"/>
                    </a:cubicBezTo>
                    <a:cubicBezTo>
                      <a:pt x="60" y="142"/>
                      <a:pt x="55" y="128"/>
                      <a:pt x="57" y="123"/>
                    </a:cubicBezTo>
                    <a:cubicBezTo>
                      <a:pt x="59" y="118"/>
                      <a:pt x="60" y="108"/>
                      <a:pt x="61" y="106"/>
                    </a:cubicBezTo>
                    <a:cubicBezTo>
                      <a:pt x="63" y="104"/>
                      <a:pt x="67" y="93"/>
                      <a:pt x="67" y="91"/>
                    </a:cubicBezTo>
                    <a:cubicBezTo>
                      <a:pt x="67" y="89"/>
                      <a:pt x="45" y="89"/>
                      <a:pt x="43" y="87"/>
                    </a:cubicBezTo>
                    <a:cubicBezTo>
                      <a:pt x="40" y="84"/>
                      <a:pt x="41" y="84"/>
                      <a:pt x="42" y="79"/>
                    </a:cubicBezTo>
                    <a:cubicBezTo>
                      <a:pt x="43" y="74"/>
                      <a:pt x="44" y="62"/>
                      <a:pt x="46" y="60"/>
                    </a:cubicBezTo>
                    <a:cubicBezTo>
                      <a:pt x="48" y="59"/>
                      <a:pt x="50" y="58"/>
                      <a:pt x="52" y="58"/>
                    </a:cubicBezTo>
                    <a:cubicBezTo>
                      <a:pt x="53" y="58"/>
                      <a:pt x="56" y="56"/>
                      <a:pt x="56" y="54"/>
                    </a:cubicBezTo>
                    <a:cubicBezTo>
                      <a:pt x="57" y="53"/>
                      <a:pt x="51" y="49"/>
                      <a:pt x="51" y="48"/>
                    </a:cubicBezTo>
                    <a:cubicBezTo>
                      <a:pt x="51" y="46"/>
                      <a:pt x="58" y="41"/>
                      <a:pt x="60" y="38"/>
                    </a:cubicBezTo>
                    <a:cubicBezTo>
                      <a:pt x="62" y="36"/>
                      <a:pt x="70" y="30"/>
                      <a:pt x="76" y="30"/>
                    </a:cubicBezTo>
                    <a:cubicBezTo>
                      <a:pt x="82" y="30"/>
                      <a:pt x="92" y="30"/>
                      <a:pt x="94" y="31"/>
                    </a:cubicBezTo>
                    <a:cubicBezTo>
                      <a:pt x="95" y="32"/>
                      <a:pt x="96" y="35"/>
                      <a:pt x="99" y="34"/>
                    </a:cubicBezTo>
                    <a:cubicBezTo>
                      <a:pt x="101" y="34"/>
                      <a:pt x="110" y="30"/>
                      <a:pt x="112" y="29"/>
                    </a:cubicBezTo>
                    <a:cubicBezTo>
                      <a:pt x="114" y="29"/>
                      <a:pt x="126" y="28"/>
                      <a:pt x="129" y="28"/>
                    </a:cubicBezTo>
                    <a:cubicBezTo>
                      <a:pt x="132" y="28"/>
                      <a:pt x="144" y="28"/>
                      <a:pt x="147" y="29"/>
                    </a:cubicBezTo>
                    <a:cubicBezTo>
                      <a:pt x="149" y="30"/>
                      <a:pt x="147" y="37"/>
                      <a:pt x="148" y="40"/>
                    </a:cubicBezTo>
                    <a:cubicBezTo>
                      <a:pt x="148" y="42"/>
                      <a:pt x="153" y="40"/>
                      <a:pt x="153" y="40"/>
                    </a:cubicBezTo>
                    <a:cubicBezTo>
                      <a:pt x="153" y="40"/>
                      <a:pt x="160" y="52"/>
                      <a:pt x="160" y="54"/>
                    </a:cubicBezTo>
                    <a:cubicBezTo>
                      <a:pt x="160" y="57"/>
                      <a:pt x="160" y="62"/>
                      <a:pt x="157" y="62"/>
                    </a:cubicBezTo>
                    <a:cubicBezTo>
                      <a:pt x="154" y="62"/>
                      <a:pt x="151" y="64"/>
                      <a:pt x="150" y="64"/>
                    </a:cubicBezTo>
                    <a:cubicBezTo>
                      <a:pt x="149" y="64"/>
                      <a:pt x="150" y="73"/>
                      <a:pt x="152" y="74"/>
                    </a:cubicBezTo>
                    <a:cubicBezTo>
                      <a:pt x="155" y="75"/>
                      <a:pt x="158" y="72"/>
                      <a:pt x="159" y="74"/>
                    </a:cubicBezTo>
                    <a:cubicBezTo>
                      <a:pt x="160" y="75"/>
                      <a:pt x="163" y="83"/>
                      <a:pt x="166" y="83"/>
                    </a:cubicBezTo>
                    <a:cubicBezTo>
                      <a:pt x="170" y="83"/>
                      <a:pt x="174" y="80"/>
                      <a:pt x="175" y="78"/>
                    </a:cubicBezTo>
                    <a:cubicBezTo>
                      <a:pt x="175" y="76"/>
                      <a:pt x="177" y="65"/>
                      <a:pt x="177" y="63"/>
                    </a:cubicBezTo>
                    <a:cubicBezTo>
                      <a:pt x="177" y="61"/>
                      <a:pt x="169" y="61"/>
                      <a:pt x="168" y="61"/>
                    </a:cubicBezTo>
                    <a:cubicBezTo>
                      <a:pt x="168" y="61"/>
                      <a:pt x="169" y="51"/>
                      <a:pt x="171" y="49"/>
                    </a:cubicBezTo>
                    <a:cubicBezTo>
                      <a:pt x="173" y="46"/>
                      <a:pt x="178" y="45"/>
                      <a:pt x="180" y="47"/>
                    </a:cubicBezTo>
                    <a:cubicBezTo>
                      <a:pt x="182" y="49"/>
                      <a:pt x="183" y="53"/>
                      <a:pt x="188" y="55"/>
                    </a:cubicBezTo>
                    <a:cubicBezTo>
                      <a:pt x="192" y="57"/>
                      <a:pt x="198" y="58"/>
                      <a:pt x="200" y="59"/>
                    </a:cubicBezTo>
                    <a:cubicBezTo>
                      <a:pt x="201" y="61"/>
                      <a:pt x="199" y="65"/>
                      <a:pt x="199" y="65"/>
                    </a:cubicBezTo>
                    <a:cubicBezTo>
                      <a:pt x="200" y="66"/>
                      <a:pt x="200" y="66"/>
                      <a:pt x="200" y="66"/>
                    </a:cubicBezTo>
                    <a:cubicBezTo>
                      <a:pt x="200" y="66"/>
                      <a:pt x="204" y="64"/>
                      <a:pt x="204" y="62"/>
                    </a:cubicBezTo>
                    <a:cubicBezTo>
                      <a:pt x="204" y="59"/>
                      <a:pt x="195" y="38"/>
                      <a:pt x="195" y="37"/>
                    </a:cubicBezTo>
                    <a:cubicBezTo>
                      <a:pt x="195" y="34"/>
                      <a:pt x="207" y="3"/>
                      <a:pt x="209" y="2"/>
                    </a:cubicBezTo>
                    <a:cubicBezTo>
                      <a:pt x="210" y="0"/>
                      <a:pt x="214" y="0"/>
                      <a:pt x="215" y="0"/>
                    </a:cubicBezTo>
                    <a:cubicBezTo>
                      <a:pt x="217" y="0"/>
                      <a:pt x="219" y="6"/>
                      <a:pt x="221" y="6"/>
                    </a:cubicBezTo>
                    <a:cubicBezTo>
                      <a:pt x="222" y="6"/>
                      <a:pt x="231" y="11"/>
                      <a:pt x="235" y="11"/>
                    </a:cubicBezTo>
                    <a:cubicBezTo>
                      <a:pt x="238" y="11"/>
                      <a:pt x="247" y="10"/>
                      <a:pt x="251" y="10"/>
                    </a:cubicBezTo>
                    <a:cubicBezTo>
                      <a:pt x="253" y="10"/>
                      <a:pt x="260" y="2"/>
                      <a:pt x="260" y="2"/>
                    </a:cubicBezTo>
                    <a:cubicBezTo>
                      <a:pt x="278" y="2"/>
                      <a:pt x="278" y="2"/>
                      <a:pt x="278" y="2"/>
                    </a:cubicBezTo>
                    <a:cubicBezTo>
                      <a:pt x="278" y="2"/>
                      <a:pt x="282" y="2"/>
                      <a:pt x="286" y="4"/>
                    </a:cubicBezTo>
                    <a:cubicBezTo>
                      <a:pt x="291" y="6"/>
                      <a:pt x="292" y="17"/>
                      <a:pt x="295" y="25"/>
                    </a:cubicBezTo>
                    <a:cubicBezTo>
                      <a:pt x="299" y="34"/>
                      <a:pt x="298" y="35"/>
                      <a:pt x="301" y="43"/>
                    </a:cubicBezTo>
                    <a:cubicBezTo>
                      <a:pt x="304" y="52"/>
                      <a:pt x="315" y="57"/>
                      <a:pt x="320" y="59"/>
                    </a:cubicBezTo>
                    <a:cubicBezTo>
                      <a:pt x="324" y="61"/>
                      <a:pt x="325" y="62"/>
                      <a:pt x="325" y="65"/>
                    </a:cubicBezTo>
                    <a:cubicBezTo>
                      <a:pt x="325" y="68"/>
                      <a:pt x="332" y="81"/>
                      <a:pt x="338" y="85"/>
                    </a:cubicBezTo>
                    <a:cubicBezTo>
                      <a:pt x="344" y="89"/>
                      <a:pt x="353" y="82"/>
                      <a:pt x="356" y="81"/>
                    </a:cubicBezTo>
                    <a:cubicBezTo>
                      <a:pt x="359" y="79"/>
                      <a:pt x="365" y="87"/>
                      <a:pt x="370" y="89"/>
                    </a:cubicBezTo>
                    <a:cubicBezTo>
                      <a:pt x="376" y="91"/>
                      <a:pt x="379" y="83"/>
                      <a:pt x="382" y="83"/>
                    </a:cubicBezTo>
                    <a:cubicBezTo>
                      <a:pt x="386" y="83"/>
                      <a:pt x="396" y="87"/>
                      <a:pt x="401" y="90"/>
                    </a:cubicBezTo>
                    <a:cubicBezTo>
                      <a:pt x="403" y="92"/>
                      <a:pt x="409" y="92"/>
                      <a:pt x="414" y="91"/>
                    </a:cubicBezTo>
                    <a:cubicBezTo>
                      <a:pt x="417" y="91"/>
                      <a:pt x="420" y="90"/>
                      <a:pt x="423" y="91"/>
                    </a:cubicBezTo>
                    <a:cubicBezTo>
                      <a:pt x="428" y="92"/>
                      <a:pt x="426" y="101"/>
                      <a:pt x="427" y="104"/>
                    </a:cubicBezTo>
                    <a:cubicBezTo>
                      <a:pt x="428" y="107"/>
                      <a:pt x="437" y="111"/>
                      <a:pt x="441" y="114"/>
                    </a:cubicBezTo>
                    <a:cubicBezTo>
                      <a:pt x="446" y="117"/>
                      <a:pt x="455" y="128"/>
                      <a:pt x="459" y="131"/>
                    </a:cubicBezTo>
                    <a:cubicBezTo>
                      <a:pt x="463" y="133"/>
                      <a:pt x="466" y="126"/>
                      <a:pt x="473" y="130"/>
                    </a:cubicBezTo>
                    <a:cubicBezTo>
                      <a:pt x="479" y="133"/>
                      <a:pt x="480" y="143"/>
                      <a:pt x="485" y="147"/>
                    </a:cubicBezTo>
                    <a:cubicBezTo>
                      <a:pt x="490" y="151"/>
                      <a:pt x="496" y="142"/>
                      <a:pt x="501" y="144"/>
                    </a:cubicBezTo>
                    <a:cubicBezTo>
                      <a:pt x="505" y="145"/>
                      <a:pt x="516" y="150"/>
                      <a:pt x="518" y="151"/>
                    </a:cubicBezTo>
                    <a:cubicBezTo>
                      <a:pt x="518" y="151"/>
                      <a:pt x="510" y="161"/>
                      <a:pt x="506" y="166"/>
                    </a:cubicBezTo>
                    <a:cubicBezTo>
                      <a:pt x="502" y="170"/>
                      <a:pt x="487" y="176"/>
                      <a:pt x="484" y="177"/>
                    </a:cubicBezTo>
                    <a:cubicBezTo>
                      <a:pt x="481" y="179"/>
                      <a:pt x="462" y="173"/>
                      <a:pt x="457" y="173"/>
                    </a:cubicBezTo>
                    <a:cubicBezTo>
                      <a:pt x="452" y="173"/>
                      <a:pt x="451" y="183"/>
                      <a:pt x="447" y="183"/>
                    </a:cubicBezTo>
                    <a:cubicBezTo>
                      <a:pt x="443" y="183"/>
                      <a:pt x="430" y="181"/>
                      <a:pt x="428" y="186"/>
                    </a:cubicBezTo>
                    <a:cubicBezTo>
                      <a:pt x="426" y="190"/>
                      <a:pt x="431" y="203"/>
                      <a:pt x="435" y="208"/>
                    </a:cubicBezTo>
                    <a:cubicBezTo>
                      <a:pt x="439" y="212"/>
                      <a:pt x="449" y="232"/>
                      <a:pt x="450" y="235"/>
                    </a:cubicBezTo>
                    <a:cubicBezTo>
                      <a:pt x="452" y="239"/>
                      <a:pt x="445" y="243"/>
                      <a:pt x="445" y="248"/>
                    </a:cubicBezTo>
                    <a:cubicBezTo>
                      <a:pt x="446" y="252"/>
                      <a:pt x="455" y="257"/>
                      <a:pt x="458" y="261"/>
                    </a:cubicBezTo>
                    <a:cubicBezTo>
                      <a:pt x="462" y="266"/>
                      <a:pt x="454" y="275"/>
                      <a:pt x="454" y="278"/>
                    </a:cubicBezTo>
                    <a:cubicBezTo>
                      <a:pt x="453" y="281"/>
                      <a:pt x="458" y="297"/>
                      <a:pt x="458" y="301"/>
                    </a:cubicBezTo>
                    <a:cubicBezTo>
                      <a:pt x="458" y="306"/>
                      <a:pt x="450" y="319"/>
                      <a:pt x="448" y="319"/>
                    </a:cubicBezTo>
                    <a:cubicBezTo>
                      <a:pt x="446" y="319"/>
                      <a:pt x="411" y="323"/>
                      <a:pt x="411" y="323"/>
                    </a:cubicBezTo>
                    <a:cubicBezTo>
                      <a:pt x="411" y="323"/>
                      <a:pt x="414" y="341"/>
                      <a:pt x="415" y="343"/>
                    </a:cubicBezTo>
                    <a:cubicBezTo>
                      <a:pt x="416" y="346"/>
                      <a:pt x="410" y="355"/>
                      <a:pt x="407" y="357"/>
                    </a:cubicBezTo>
                    <a:cubicBezTo>
                      <a:pt x="405" y="360"/>
                      <a:pt x="409" y="370"/>
                      <a:pt x="413" y="373"/>
                    </a:cubicBezTo>
                    <a:cubicBezTo>
                      <a:pt x="416" y="377"/>
                      <a:pt x="420" y="392"/>
                      <a:pt x="420" y="392"/>
                    </a:cubicBezTo>
                    <a:cubicBezTo>
                      <a:pt x="420" y="392"/>
                      <a:pt x="406" y="405"/>
                      <a:pt x="403" y="406"/>
                    </a:cubicBezTo>
                    <a:cubicBezTo>
                      <a:pt x="401" y="408"/>
                      <a:pt x="392" y="400"/>
                      <a:pt x="387" y="400"/>
                    </a:cubicBezTo>
                    <a:cubicBezTo>
                      <a:pt x="382" y="400"/>
                      <a:pt x="382" y="411"/>
                      <a:pt x="378" y="414"/>
                    </a:cubicBezTo>
                    <a:cubicBezTo>
                      <a:pt x="374" y="417"/>
                      <a:pt x="365" y="427"/>
                      <a:pt x="357" y="428"/>
                    </a:cubicBezTo>
                    <a:cubicBezTo>
                      <a:pt x="351" y="428"/>
                      <a:pt x="343" y="433"/>
                      <a:pt x="339" y="438"/>
                    </a:cubicBezTo>
                    <a:cubicBezTo>
                      <a:pt x="339" y="438"/>
                      <a:pt x="339" y="438"/>
                      <a:pt x="339" y="438"/>
                    </a:cubicBezTo>
                    <a:cubicBezTo>
                      <a:pt x="338" y="436"/>
                      <a:pt x="337" y="434"/>
                      <a:pt x="337" y="433"/>
                    </a:cubicBezTo>
                    <a:cubicBezTo>
                      <a:pt x="336" y="429"/>
                      <a:pt x="321" y="438"/>
                      <a:pt x="317" y="438"/>
                    </a:cubicBezTo>
                    <a:cubicBezTo>
                      <a:pt x="314" y="438"/>
                      <a:pt x="319" y="447"/>
                      <a:pt x="319" y="450"/>
                    </a:cubicBezTo>
                    <a:cubicBezTo>
                      <a:pt x="319" y="452"/>
                      <a:pt x="309" y="455"/>
                      <a:pt x="307" y="455"/>
                    </a:cubicBezTo>
                    <a:cubicBezTo>
                      <a:pt x="305" y="455"/>
                      <a:pt x="294" y="443"/>
                      <a:pt x="292" y="441"/>
                    </a:cubicBezTo>
                    <a:cubicBezTo>
                      <a:pt x="289" y="439"/>
                      <a:pt x="304" y="426"/>
                      <a:pt x="304" y="426"/>
                    </a:cubicBezTo>
                    <a:cubicBezTo>
                      <a:pt x="304" y="426"/>
                      <a:pt x="303" y="411"/>
                      <a:pt x="302" y="409"/>
                    </a:cubicBezTo>
                    <a:cubicBezTo>
                      <a:pt x="301" y="407"/>
                      <a:pt x="312" y="405"/>
                      <a:pt x="314" y="402"/>
                    </a:cubicBezTo>
                    <a:cubicBezTo>
                      <a:pt x="315" y="399"/>
                      <a:pt x="300" y="389"/>
                      <a:pt x="297" y="389"/>
                    </a:cubicBezTo>
                    <a:cubicBezTo>
                      <a:pt x="294" y="389"/>
                      <a:pt x="279" y="384"/>
                      <a:pt x="279" y="384"/>
                    </a:cubicBezTo>
                    <a:cubicBezTo>
                      <a:pt x="280" y="382"/>
                      <a:pt x="280" y="381"/>
                      <a:pt x="281" y="380"/>
                    </a:cubicBezTo>
                    <a:cubicBezTo>
                      <a:pt x="282" y="376"/>
                      <a:pt x="287" y="351"/>
                      <a:pt x="287" y="351"/>
                    </a:cubicBezTo>
                    <a:cubicBezTo>
                      <a:pt x="271" y="349"/>
                      <a:pt x="271" y="349"/>
                      <a:pt x="271" y="349"/>
                    </a:cubicBezTo>
                    <a:cubicBezTo>
                      <a:pt x="271" y="349"/>
                      <a:pt x="263" y="334"/>
                      <a:pt x="261" y="330"/>
                    </a:cubicBezTo>
                    <a:cubicBezTo>
                      <a:pt x="258" y="327"/>
                      <a:pt x="255" y="306"/>
                      <a:pt x="255" y="304"/>
                    </a:cubicBezTo>
                    <a:cubicBezTo>
                      <a:pt x="255" y="301"/>
                      <a:pt x="241" y="301"/>
                      <a:pt x="241" y="301"/>
                    </a:cubicBezTo>
                    <a:cubicBezTo>
                      <a:pt x="241" y="301"/>
                      <a:pt x="241" y="276"/>
                      <a:pt x="241" y="274"/>
                    </a:cubicBezTo>
                    <a:cubicBezTo>
                      <a:pt x="241" y="272"/>
                      <a:pt x="247" y="270"/>
                      <a:pt x="249" y="267"/>
                    </a:cubicBezTo>
                    <a:cubicBezTo>
                      <a:pt x="252" y="264"/>
                      <a:pt x="259" y="248"/>
                      <a:pt x="259" y="248"/>
                    </a:cubicBezTo>
                    <a:cubicBezTo>
                      <a:pt x="245" y="239"/>
                      <a:pt x="245" y="239"/>
                      <a:pt x="245" y="239"/>
                    </a:cubicBezTo>
                    <a:cubicBezTo>
                      <a:pt x="245" y="239"/>
                      <a:pt x="236" y="254"/>
                      <a:pt x="233" y="256"/>
                    </a:cubicBezTo>
                    <a:cubicBezTo>
                      <a:pt x="230" y="258"/>
                      <a:pt x="216" y="257"/>
                      <a:pt x="214" y="257"/>
                    </a:cubicBezTo>
                    <a:cubicBezTo>
                      <a:pt x="212" y="257"/>
                      <a:pt x="208" y="237"/>
                      <a:pt x="205" y="235"/>
                    </a:cubicBezTo>
                    <a:cubicBezTo>
                      <a:pt x="203" y="234"/>
                      <a:pt x="168" y="247"/>
                      <a:pt x="168" y="247"/>
                    </a:cubicBezTo>
                    <a:cubicBezTo>
                      <a:pt x="169" y="259"/>
                      <a:pt x="169" y="259"/>
                      <a:pt x="169" y="259"/>
                    </a:cubicBezTo>
                    <a:cubicBezTo>
                      <a:pt x="169" y="259"/>
                      <a:pt x="183" y="265"/>
                      <a:pt x="183" y="272"/>
                    </a:cubicBezTo>
                    <a:cubicBezTo>
                      <a:pt x="183" y="279"/>
                      <a:pt x="185" y="297"/>
                      <a:pt x="185" y="297"/>
                    </a:cubicBezTo>
                    <a:cubicBezTo>
                      <a:pt x="185" y="297"/>
                      <a:pt x="179" y="304"/>
                      <a:pt x="174" y="304"/>
                    </a:cubicBezTo>
                    <a:cubicBezTo>
                      <a:pt x="169" y="304"/>
                      <a:pt x="162" y="300"/>
                      <a:pt x="159" y="302"/>
                    </a:cubicBezTo>
                    <a:cubicBezTo>
                      <a:pt x="156" y="304"/>
                      <a:pt x="134" y="313"/>
                      <a:pt x="132" y="315"/>
                    </a:cubicBezTo>
                    <a:cubicBezTo>
                      <a:pt x="130" y="317"/>
                      <a:pt x="122" y="303"/>
                      <a:pt x="122" y="303"/>
                    </a:cubicBezTo>
                    <a:cubicBezTo>
                      <a:pt x="132" y="270"/>
                      <a:pt x="132" y="270"/>
                      <a:pt x="132" y="270"/>
                    </a:cubicBezTo>
                    <a:cubicBezTo>
                      <a:pt x="126" y="254"/>
                      <a:pt x="126" y="254"/>
                      <a:pt x="126" y="254"/>
                    </a:cubicBezTo>
                    <a:cubicBezTo>
                      <a:pt x="96" y="241"/>
                      <a:pt x="96" y="241"/>
                      <a:pt x="96" y="241"/>
                    </a:cubicBezTo>
                    <a:cubicBezTo>
                      <a:pt x="96" y="241"/>
                      <a:pt x="93" y="257"/>
                      <a:pt x="92" y="259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4" name="Google Shape;473;p35">
                <a:extLst>
                  <a:ext uri="{FF2B5EF4-FFF2-40B4-BE49-F238E27FC236}">
                    <a16:creationId xmlns:a16="http://schemas.microsoft.com/office/drawing/2014/main" id="{EF1AA049-4E5B-9B60-E5DA-FB4C224884CD}"/>
                  </a:ext>
                </a:extLst>
              </p:cNvPr>
              <p:cNvSpPr/>
              <p:nvPr/>
            </p:nvSpPr>
            <p:spPr>
              <a:xfrm>
                <a:off x="2097" y="1413"/>
                <a:ext cx="53" cy="32"/>
              </a:xfrm>
              <a:custGeom>
                <a:avLst/>
                <a:gdLst/>
                <a:ahLst/>
                <a:cxnLst/>
                <a:rect l="l" t="t" r="r" b="b"/>
                <a:pathLst>
                  <a:path w="26" h="16" extrusionOk="0">
                    <a:moveTo>
                      <a:pt x="13" y="14"/>
                    </a:moveTo>
                    <a:cubicBezTo>
                      <a:pt x="11" y="16"/>
                      <a:pt x="8" y="15"/>
                      <a:pt x="6" y="13"/>
                    </a:cubicBezTo>
                    <a:cubicBezTo>
                      <a:pt x="4" y="10"/>
                      <a:pt x="0" y="7"/>
                      <a:pt x="3" y="5"/>
                    </a:cubicBezTo>
                    <a:cubicBezTo>
                      <a:pt x="6" y="3"/>
                      <a:pt x="15" y="0"/>
                      <a:pt x="18" y="0"/>
                    </a:cubicBezTo>
                    <a:cubicBezTo>
                      <a:pt x="20" y="0"/>
                      <a:pt x="23" y="1"/>
                      <a:pt x="25" y="3"/>
                    </a:cubicBezTo>
                    <a:cubicBezTo>
                      <a:pt x="26" y="4"/>
                      <a:pt x="25" y="7"/>
                      <a:pt x="23" y="7"/>
                    </a:cubicBezTo>
                    <a:cubicBezTo>
                      <a:pt x="22" y="7"/>
                      <a:pt x="19" y="6"/>
                      <a:pt x="17" y="6"/>
                    </a:cubicBezTo>
                    <a:cubicBezTo>
                      <a:pt x="15" y="7"/>
                      <a:pt x="12" y="10"/>
                      <a:pt x="12" y="10"/>
                    </a:cubicBezTo>
                    <a:cubicBezTo>
                      <a:pt x="12" y="11"/>
                      <a:pt x="14" y="13"/>
                      <a:pt x="13" y="14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" name="Google Shape;474;p35">
                <a:extLst>
                  <a:ext uri="{FF2B5EF4-FFF2-40B4-BE49-F238E27FC236}">
                    <a16:creationId xmlns:a16="http://schemas.microsoft.com/office/drawing/2014/main" id="{891AA9FB-2293-E6A2-3857-8AF803681475}"/>
                  </a:ext>
                </a:extLst>
              </p:cNvPr>
              <p:cNvSpPr/>
              <p:nvPr/>
            </p:nvSpPr>
            <p:spPr>
              <a:xfrm>
                <a:off x="2205" y="1372"/>
                <a:ext cx="66" cy="24"/>
              </a:xfrm>
              <a:custGeom>
                <a:avLst/>
                <a:gdLst/>
                <a:ahLst/>
                <a:cxnLst/>
                <a:rect l="l" t="t" r="r" b="b"/>
                <a:pathLst>
                  <a:path w="33" h="12" extrusionOk="0">
                    <a:moveTo>
                      <a:pt x="1" y="7"/>
                    </a:moveTo>
                    <a:cubicBezTo>
                      <a:pt x="1" y="9"/>
                      <a:pt x="4" y="12"/>
                      <a:pt x="5" y="11"/>
                    </a:cubicBezTo>
                    <a:cubicBezTo>
                      <a:pt x="6" y="9"/>
                      <a:pt x="13" y="8"/>
                      <a:pt x="16" y="7"/>
                    </a:cubicBezTo>
                    <a:cubicBezTo>
                      <a:pt x="19" y="7"/>
                      <a:pt x="27" y="6"/>
                      <a:pt x="29" y="6"/>
                    </a:cubicBezTo>
                    <a:cubicBezTo>
                      <a:pt x="32" y="6"/>
                      <a:pt x="33" y="4"/>
                      <a:pt x="33" y="3"/>
                    </a:cubicBezTo>
                    <a:cubicBezTo>
                      <a:pt x="33" y="1"/>
                      <a:pt x="31" y="2"/>
                      <a:pt x="27" y="1"/>
                    </a:cubicBezTo>
                    <a:cubicBezTo>
                      <a:pt x="23" y="0"/>
                      <a:pt x="18" y="0"/>
                      <a:pt x="15" y="0"/>
                    </a:cubicBezTo>
                    <a:cubicBezTo>
                      <a:pt x="12" y="0"/>
                      <a:pt x="6" y="1"/>
                      <a:pt x="4" y="2"/>
                    </a:cubicBezTo>
                    <a:cubicBezTo>
                      <a:pt x="2" y="2"/>
                      <a:pt x="0" y="3"/>
                      <a:pt x="1" y="7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" name="Google Shape;475;p35">
                <a:extLst>
                  <a:ext uri="{FF2B5EF4-FFF2-40B4-BE49-F238E27FC236}">
                    <a16:creationId xmlns:a16="http://schemas.microsoft.com/office/drawing/2014/main" id="{8CC38A7D-B9D8-286A-7486-1A8DBE4B874F}"/>
                  </a:ext>
                </a:extLst>
              </p:cNvPr>
              <p:cNvSpPr/>
              <p:nvPr/>
            </p:nvSpPr>
            <p:spPr>
              <a:xfrm>
                <a:off x="2296" y="1364"/>
                <a:ext cx="69" cy="22"/>
              </a:xfrm>
              <a:custGeom>
                <a:avLst/>
                <a:gdLst/>
                <a:ahLst/>
                <a:cxnLst/>
                <a:rect l="l" t="t" r="r" b="b"/>
                <a:pathLst>
                  <a:path w="34" h="11" extrusionOk="0">
                    <a:moveTo>
                      <a:pt x="2" y="11"/>
                    </a:moveTo>
                    <a:cubicBezTo>
                      <a:pt x="5" y="9"/>
                      <a:pt x="6" y="11"/>
                      <a:pt x="7" y="11"/>
                    </a:cubicBezTo>
                    <a:cubicBezTo>
                      <a:pt x="8" y="11"/>
                      <a:pt x="10" y="7"/>
                      <a:pt x="10" y="7"/>
                    </a:cubicBezTo>
                    <a:cubicBezTo>
                      <a:pt x="10" y="6"/>
                      <a:pt x="19" y="5"/>
                      <a:pt x="23" y="6"/>
                    </a:cubicBezTo>
                    <a:cubicBezTo>
                      <a:pt x="28" y="6"/>
                      <a:pt x="33" y="7"/>
                      <a:pt x="33" y="6"/>
                    </a:cubicBezTo>
                    <a:cubicBezTo>
                      <a:pt x="33" y="6"/>
                      <a:pt x="34" y="3"/>
                      <a:pt x="33" y="2"/>
                    </a:cubicBezTo>
                    <a:cubicBezTo>
                      <a:pt x="31" y="1"/>
                      <a:pt x="20" y="0"/>
                      <a:pt x="15" y="0"/>
                    </a:cubicBezTo>
                    <a:cubicBezTo>
                      <a:pt x="11" y="0"/>
                      <a:pt x="3" y="0"/>
                      <a:pt x="2" y="2"/>
                    </a:cubicBezTo>
                    <a:cubicBezTo>
                      <a:pt x="1" y="3"/>
                      <a:pt x="0" y="7"/>
                      <a:pt x="0" y="8"/>
                    </a:cubicBezTo>
                    <a:cubicBezTo>
                      <a:pt x="0" y="9"/>
                      <a:pt x="1" y="11"/>
                      <a:pt x="2" y="11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" name="Google Shape;476;p35">
                <a:extLst>
                  <a:ext uri="{FF2B5EF4-FFF2-40B4-BE49-F238E27FC236}">
                    <a16:creationId xmlns:a16="http://schemas.microsoft.com/office/drawing/2014/main" id="{F18A8DDE-E46C-31F5-3FE8-C3F875236975}"/>
                  </a:ext>
                </a:extLst>
              </p:cNvPr>
              <p:cNvSpPr/>
              <p:nvPr/>
            </p:nvSpPr>
            <p:spPr>
              <a:xfrm>
                <a:off x="2146" y="1386"/>
                <a:ext cx="40" cy="16"/>
              </a:xfrm>
              <a:custGeom>
                <a:avLst/>
                <a:gdLst/>
                <a:ahLst/>
                <a:cxnLst/>
                <a:rect l="l" t="t" r="r" b="b"/>
                <a:pathLst>
                  <a:path w="20" h="8" extrusionOk="0">
                    <a:moveTo>
                      <a:pt x="1" y="4"/>
                    </a:moveTo>
                    <a:cubicBezTo>
                      <a:pt x="0" y="7"/>
                      <a:pt x="8" y="8"/>
                      <a:pt x="12" y="8"/>
                    </a:cubicBezTo>
                    <a:cubicBezTo>
                      <a:pt x="16" y="8"/>
                      <a:pt x="20" y="5"/>
                      <a:pt x="20" y="3"/>
                    </a:cubicBezTo>
                    <a:cubicBezTo>
                      <a:pt x="20" y="0"/>
                      <a:pt x="2" y="1"/>
                      <a:pt x="1" y="4"/>
                    </a:cubicBezTo>
                    <a:close/>
                  </a:path>
                </a:pathLst>
              </a:custGeom>
              <a:solidFill>
                <a:srgbClr val="7F7F7F"/>
              </a:solidFill>
              <a:ln w="952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/>
                <a:endParaRPr sz="1467">
                  <a:solidFill>
                    <a:srgbClr val="26103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1" name="Google Shape;477;p35">
              <a:extLst>
                <a:ext uri="{FF2B5EF4-FFF2-40B4-BE49-F238E27FC236}">
                  <a16:creationId xmlns:a16="http://schemas.microsoft.com/office/drawing/2014/main" id="{755F7557-4417-D001-68D1-D7656970EFC6}"/>
                </a:ext>
              </a:extLst>
            </p:cNvPr>
            <p:cNvSpPr/>
            <p:nvPr/>
          </p:nvSpPr>
          <p:spPr>
            <a:xfrm>
              <a:off x="5505921" y="2532826"/>
              <a:ext cx="157181" cy="157181"/>
            </a:xfrm>
            <a:custGeom>
              <a:avLst/>
              <a:gdLst/>
              <a:ahLst/>
              <a:cxnLst/>
              <a:rect l="l" t="t" r="r" b="b"/>
              <a:pathLst>
                <a:path w="99" h="99" extrusionOk="0">
                  <a:moveTo>
                    <a:pt x="12" y="23"/>
                  </a:moveTo>
                  <a:lnTo>
                    <a:pt x="0" y="12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3" y="17"/>
                  </a:lnTo>
                  <a:lnTo>
                    <a:pt x="35" y="17"/>
                  </a:lnTo>
                  <a:lnTo>
                    <a:pt x="47" y="17"/>
                  </a:lnTo>
                  <a:lnTo>
                    <a:pt x="64" y="41"/>
                  </a:lnTo>
                  <a:lnTo>
                    <a:pt x="64" y="35"/>
                  </a:lnTo>
                  <a:lnTo>
                    <a:pt x="76" y="41"/>
                  </a:lnTo>
                  <a:lnTo>
                    <a:pt x="81" y="35"/>
                  </a:lnTo>
                  <a:lnTo>
                    <a:pt x="99" y="35"/>
                  </a:lnTo>
                  <a:lnTo>
                    <a:pt x="99" y="46"/>
                  </a:lnTo>
                  <a:lnTo>
                    <a:pt x="87" y="52"/>
                  </a:lnTo>
                  <a:lnTo>
                    <a:pt x="99" y="64"/>
                  </a:lnTo>
                  <a:lnTo>
                    <a:pt x="93" y="75"/>
                  </a:lnTo>
                  <a:lnTo>
                    <a:pt x="87" y="70"/>
                  </a:lnTo>
                  <a:lnTo>
                    <a:pt x="93" y="99"/>
                  </a:lnTo>
                  <a:lnTo>
                    <a:pt x="81" y="93"/>
                  </a:lnTo>
                  <a:lnTo>
                    <a:pt x="76" y="70"/>
                  </a:lnTo>
                  <a:lnTo>
                    <a:pt x="70" y="75"/>
                  </a:lnTo>
                  <a:lnTo>
                    <a:pt x="58" y="81"/>
                  </a:lnTo>
                  <a:lnTo>
                    <a:pt x="41" y="81"/>
                  </a:lnTo>
                  <a:lnTo>
                    <a:pt x="35" y="70"/>
                  </a:lnTo>
                  <a:lnTo>
                    <a:pt x="35" y="58"/>
                  </a:lnTo>
                  <a:lnTo>
                    <a:pt x="29" y="46"/>
                  </a:lnTo>
                  <a:lnTo>
                    <a:pt x="23" y="35"/>
                  </a:lnTo>
                  <a:lnTo>
                    <a:pt x="12" y="23"/>
                  </a:ln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478;p35">
              <a:extLst>
                <a:ext uri="{FF2B5EF4-FFF2-40B4-BE49-F238E27FC236}">
                  <a16:creationId xmlns:a16="http://schemas.microsoft.com/office/drawing/2014/main" id="{7FAE9DDB-53BD-62BE-CE04-4F4EB1B777F9}"/>
                </a:ext>
              </a:extLst>
            </p:cNvPr>
            <p:cNvSpPr/>
            <p:nvPr/>
          </p:nvSpPr>
          <p:spPr>
            <a:xfrm rot="-769081">
              <a:off x="5456256" y="2348971"/>
              <a:ext cx="46043" cy="111138"/>
            </a:xfrm>
            <a:custGeom>
              <a:avLst/>
              <a:gdLst/>
              <a:ahLst/>
              <a:cxnLst/>
              <a:rect l="l" t="t" r="r" b="b"/>
              <a:pathLst>
                <a:path w="29" h="70" extrusionOk="0">
                  <a:moveTo>
                    <a:pt x="0" y="0"/>
                  </a:moveTo>
                  <a:lnTo>
                    <a:pt x="6" y="0"/>
                  </a:lnTo>
                  <a:lnTo>
                    <a:pt x="11" y="6"/>
                  </a:lnTo>
                  <a:lnTo>
                    <a:pt x="23" y="6"/>
                  </a:lnTo>
                  <a:lnTo>
                    <a:pt x="29" y="12"/>
                  </a:lnTo>
                  <a:lnTo>
                    <a:pt x="23" y="23"/>
                  </a:lnTo>
                  <a:lnTo>
                    <a:pt x="29" y="46"/>
                  </a:lnTo>
                  <a:lnTo>
                    <a:pt x="23" y="58"/>
                  </a:lnTo>
                  <a:lnTo>
                    <a:pt x="11" y="70"/>
                  </a:lnTo>
                  <a:lnTo>
                    <a:pt x="6" y="64"/>
                  </a:lnTo>
                  <a:lnTo>
                    <a:pt x="6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>
                <a:solidFill>
                  <a:srgbClr val="26103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8" name="Google Shape;480;p35">
            <a:extLst>
              <a:ext uri="{FF2B5EF4-FFF2-40B4-BE49-F238E27FC236}">
                <a16:creationId xmlns:a16="http://schemas.microsoft.com/office/drawing/2014/main" id="{E22231D9-6845-9E80-C273-D201FD46CAFA}"/>
              </a:ext>
            </a:extLst>
          </p:cNvPr>
          <p:cNvSpPr txBox="1"/>
          <p:nvPr/>
        </p:nvSpPr>
        <p:spPr>
          <a:xfrm>
            <a:off x="6605368" y="2412768"/>
            <a:ext cx="914400" cy="2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" sz="12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ülheim</a:t>
            </a:r>
            <a:endParaRPr sz="1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481;p35">
            <a:extLst>
              <a:ext uri="{FF2B5EF4-FFF2-40B4-BE49-F238E27FC236}">
                <a16:creationId xmlns:a16="http://schemas.microsoft.com/office/drawing/2014/main" id="{57AF1F67-C26E-2195-A391-3D73389690D8}"/>
              </a:ext>
            </a:extLst>
          </p:cNvPr>
          <p:cNvSpPr txBox="1"/>
          <p:nvPr/>
        </p:nvSpPr>
        <p:spPr>
          <a:xfrm>
            <a:off x="8409467" y="2965445"/>
            <a:ext cx="914400" cy="2281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" sz="12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rlangen</a:t>
            </a:r>
          </a:p>
        </p:txBody>
      </p:sp>
      <p:sp>
        <p:nvSpPr>
          <p:cNvPr id="40" name="Google Shape;482;p35">
            <a:extLst>
              <a:ext uri="{FF2B5EF4-FFF2-40B4-BE49-F238E27FC236}">
                <a16:creationId xmlns:a16="http://schemas.microsoft.com/office/drawing/2014/main" id="{EE59864E-2DB9-4A1B-0C0E-6E63BE3F6040}"/>
              </a:ext>
            </a:extLst>
          </p:cNvPr>
          <p:cNvSpPr/>
          <p:nvPr/>
        </p:nvSpPr>
        <p:spPr>
          <a:xfrm>
            <a:off x="7503491" y="2484171"/>
            <a:ext cx="108000" cy="108000"/>
          </a:xfrm>
          <a:prstGeom prst="ellipse">
            <a:avLst/>
          </a:prstGeom>
          <a:solidFill>
            <a:srgbClr val="70228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1" name="Google Shape;483;p35">
            <a:extLst>
              <a:ext uri="{FF2B5EF4-FFF2-40B4-BE49-F238E27FC236}">
                <a16:creationId xmlns:a16="http://schemas.microsoft.com/office/drawing/2014/main" id="{877E9E18-4040-C22A-E083-C0A52CE78534}"/>
              </a:ext>
            </a:extLst>
          </p:cNvPr>
          <p:cNvCxnSpPr/>
          <p:nvPr/>
        </p:nvCxnSpPr>
        <p:spPr>
          <a:xfrm rot="10800000">
            <a:off x="9385363" y="1771539"/>
            <a:ext cx="2328800" cy="11200"/>
          </a:xfrm>
          <a:prstGeom prst="straightConnector1">
            <a:avLst/>
          </a:prstGeom>
          <a:noFill/>
          <a:ln w="9525" cap="rnd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2" name="Google Shape;484;p35">
            <a:extLst>
              <a:ext uri="{FF2B5EF4-FFF2-40B4-BE49-F238E27FC236}">
                <a16:creationId xmlns:a16="http://schemas.microsoft.com/office/drawing/2014/main" id="{3D9DA9B9-AE52-63E4-C000-ADB5B4FEBA4F}"/>
              </a:ext>
            </a:extLst>
          </p:cNvPr>
          <p:cNvGrpSpPr/>
          <p:nvPr/>
        </p:nvGrpSpPr>
        <p:grpSpPr>
          <a:xfrm>
            <a:off x="2349231" y="1755874"/>
            <a:ext cx="6082948" cy="556172"/>
            <a:chOff x="425115" y="3091543"/>
            <a:chExt cx="2502584" cy="593102"/>
          </a:xfrm>
        </p:grpSpPr>
        <p:cxnSp>
          <p:nvCxnSpPr>
            <p:cNvPr id="43" name="Google Shape;485;p35">
              <a:extLst>
                <a:ext uri="{FF2B5EF4-FFF2-40B4-BE49-F238E27FC236}">
                  <a16:creationId xmlns:a16="http://schemas.microsoft.com/office/drawing/2014/main" id="{B8EC06C1-9B13-611D-5FEA-94A2DB414541}"/>
                </a:ext>
              </a:extLst>
            </p:cNvPr>
            <p:cNvCxnSpPr/>
            <p:nvPr/>
          </p:nvCxnSpPr>
          <p:spPr>
            <a:xfrm rot="10800000">
              <a:off x="2531699" y="3091545"/>
              <a:ext cx="396000" cy="593100"/>
            </a:xfrm>
            <a:prstGeom prst="straightConnector1">
              <a:avLst/>
            </a:prstGeom>
            <a:noFill/>
            <a:ln w="9525" cap="rnd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4" name="Google Shape;486;p35">
              <a:extLst>
                <a:ext uri="{FF2B5EF4-FFF2-40B4-BE49-F238E27FC236}">
                  <a16:creationId xmlns:a16="http://schemas.microsoft.com/office/drawing/2014/main" id="{29108CA3-A017-832C-670C-5C88ECC9EAE6}"/>
                </a:ext>
              </a:extLst>
            </p:cNvPr>
            <p:cNvCxnSpPr/>
            <p:nvPr/>
          </p:nvCxnSpPr>
          <p:spPr>
            <a:xfrm rot="10800000">
              <a:off x="425115" y="3091543"/>
              <a:ext cx="2103900" cy="0"/>
            </a:xfrm>
            <a:prstGeom prst="straightConnector1">
              <a:avLst/>
            </a:prstGeom>
            <a:noFill/>
            <a:ln w="9525" cap="rnd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45" name="Google Shape;487;p35">
            <a:extLst>
              <a:ext uri="{FF2B5EF4-FFF2-40B4-BE49-F238E27FC236}">
                <a16:creationId xmlns:a16="http://schemas.microsoft.com/office/drawing/2014/main" id="{9648F2BE-E920-D8B0-A696-C53A1CA32EEF}"/>
              </a:ext>
            </a:extLst>
          </p:cNvPr>
          <p:cNvSpPr/>
          <p:nvPr/>
        </p:nvSpPr>
        <p:spPr>
          <a:xfrm>
            <a:off x="8413277" y="2269199"/>
            <a:ext cx="108000" cy="108000"/>
          </a:xfrm>
          <a:prstGeom prst="ellipse">
            <a:avLst/>
          </a:prstGeom>
          <a:solidFill>
            <a:srgbClr val="70228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88;p35">
            <a:extLst>
              <a:ext uri="{FF2B5EF4-FFF2-40B4-BE49-F238E27FC236}">
                <a16:creationId xmlns:a16="http://schemas.microsoft.com/office/drawing/2014/main" id="{E29E4499-A74D-F5F9-4795-B574654F11E9}"/>
              </a:ext>
            </a:extLst>
          </p:cNvPr>
          <p:cNvSpPr txBox="1"/>
          <p:nvPr/>
        </p:nvSpPr>
        <p:spPr>
          <a:xfrm>
            <a:off x="8379816" y="1992712"/>
            <a:ext cx="914400" cy="2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" sz="12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Berlin</a:t>
            </a:r>
            <a:endParaRPr sz="1467"/>
          </a:p>
        </p:txBody>
      </p:sp>
      <p:sp>
        <p:nvSpPr>
          <p:cNvPr id="47" name="Google Shape;489;p35">
            <a:extLst>
              <a:ext uri="{FF2B5EF4-FFF2-40B4-BE49-F238E27FC236}">
                <a16:creationId xmlns:a16="http://schemas.microsoft.com/office/drawing/2014/main" id="{D60437A9-6E3C-E54C-19EF-C0D7B390D805}"/>
              </a:ext>
            </a:extLst>
          </p:cNvPr>
          <p:cNvSpPr/>
          <p:nvPr/>
        </p:nvSpPr>
        <p:spPr>
          <a:xfrm>
            <a:off x="8216319" y="3036236"/>
            <a:ext cx="108000" cy="108000"/>
          </a:xfrm>
          <a:prstGeom prst="ellipse">
            <a:avLst/>
          </a:prstGeom>
          <a:solidFill>
            <a:srgbClr val="70228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" name="Google Shape;490;p35">
            <a:extLst>
              <a:ext uri="{FF2B5EF4-FFF2-40B4-BE49-F238E27FC236}">
                <a16:creationId xmlns:a16="http://schemas.microsoft.com/office/drawing/2014/main" id="{26138D91-56A2-EAEC-5158-39CA53C68881}"/>
              </a:ext>
            </a:extLst>
          </p:cNvPr>
          <p:cNvSpPr txBox="1"/>
          <p:nvPr/>
        </p:nvSpPr>
        <p:spPr>
          <a:xfrm>
            <a:off x="2334367" y="1427233"/>
            <a:ext cx="30452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18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EM multi-Gigafactory</a:t>
            </a:r>
            <a:endParaRPr sz="1467"/>
          </a:p>
        </p:txBody>
      </p:sp>
      <p:sp>
        <p:nvSpPr>
          <p:cNvPr id="49" name="Google Shape;491;p35">
            <a:extLst>
              <a:ext uri="{FF2B5EF4-FFF2-40B4-BE49-F238E27FC236}">
                <a16:creationId xmlns:a16="http://schemas.microsoft.com/office/drawing/2014/main" id="{7301001B-1F8B-B7DF-A2D6-85D0B7561283}"/>
              </a:ext>
            </a:extLst>
          </p:cNvPr>
          <p:cNvSpPr txBox="1"/>
          <p:nvPr/>
        </p:nvSpPr>
        <p:spPr>
          <a:xfrm>
            <a:off x="9385167" y="1427233"/>
            <a:ext cx="2488000" cy="33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18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oduct development</a:t>
            </a:r>
            <a:endParaRPr sz="1467"/>
          </a:p>
        </p:txBody>
      </p:sp>
      <p:sp>
        <p:nvSpPr>
          <p:cNvPr id="50" name="Google Shape;492;p35">
            <a:extLst>
              <a:ext uri="{FF2B5EF4-FFF2-40B4-BE49-F238E27FC236}">
                <a16:creationId xmlns:a16="http://schemas.microsoft.com/office/drawing/2014/main" id="{943C6ED2-7317-8ABD-EF3E-FFBE0248834C}"/>
              </a:ext>
            </a:extLst>
          </p:cNvPr>
          <p:cNvSpPr txBox="1"/>
          <p:nvPr/>
        </p:nvSpPr>
        <p:spPr>
          <a:xfrm>
            <a:off x="2333012" y="4124656"/>
            <a:ext cx="3045200" cy="33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18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lectrolyzer Packaging</a:t>
            </a:r>
            <a:endParaRPr sz="1467"/>
          </a:p>
        </p:txBody>
      </p:sp>
      <p:sp>
        <p:nvSpPr>
          <p:cNvPr id="51" name="Google Shape;493;p35">
            <a:extLst>
              <a:ext uri="{FF2B5EF4-FFF2-40B4-BE49-F238E27FC236}">
                <a16:creationId xmlns:a16="http://schemas.microsoft.com/office/drawing/2014/main" id="{0C781AEA-F2F3-D83E-4139-8CD8465DF5B2}"/>
              </a:ext>
            </a:extLst>
          </p:cNvPr>
          <p:cNvSpPr txBox="1"/>
          <p:nvPr/>
        </p:nvSpPr>
        <p:spPr>
          <a:xfrm>
            <a:off x="2334365" y="1846745"/>
            <a:ext cx="4186000" cy="15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70927" indent="-262460">
              <a:buClr>
                <a:srgbClr val="FFFFFF"/>
              </a:buClr>
              <a:buSzPts val="1100"/>
              <a:buFont typeface="Noto Sans Symbols"/>
              <a:buChar char="▪"/>
            </a:pPr>
            <a:r>
              <a:rPr lang="en" sz="1467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Joint Venture Manufacturing in Berlin</a:t>
            </a:r>
            <a:endParaRPr sz="1467"/>
          </a:p>
          <a:p>
            <a:pPr marL="270927" indent="-262460">
              <a:spcBef>
                <a:spcPts val="667"/>
              </a:spcBef>
              <a:buClr>
                <a:srgbClr val="FFFFFF"/>
              </a:buClr>
              <a:buSzPts val="1100"/>
              <a:buFont typeface="Noto Sans Symbols"/>
              <a:buChar char="▪"/>
            </a:pPr>
            <a:r>
              <a:rPr lang="en" sz="1467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dustrial scaling up to 1GW in 2023 and 3GW in 2025 (1 GW expansion each 12 month)</a:t>
            </a:r>
            <a:endParaRPr sz="1467"/>
          </a:p>
          <a:p>
            <a:pPr marL="270927" indent="-262460">
              <a:spcBef>
                <a:spcPts val="667"/>
              </a:spcBef>
              <a:buClr>
                <a:srgbClr val="FFFFFF"/>
              </a:buClr>
              <a:buSzPts val="1100"/>
              <a:buFont typeface="Noto Sans Symbols"/>
              <a:buChar char="▪"/>
            </a:pPr>
            <a:r>
              <a:rPr lang="en" sz="1467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Highly automated PEM manufacturing according to latest production standards</a:t>
            </a:r>
            <a:endParaRPr sz="1467"/>
          </a:p>
        </p:txBody>
      </p:sp>
      <p:sp>
        <p:nvSpPr>
          <p:cNvPr id="52" name="Google Shape;494;p35">
            <a:extLst>
              <a:ext uri="{FF2B5EF4-FFF2-40B4-BE49-F238E27FC236}">
                <a16:creationId xmlns:a16="http://schemas.microsoft.com/office/drawing/2014/main" id="{66D4E4E6-C351-1674-B583-97BADFBB2A69}"/>
              </a:ext>
            </a:extLst>
          </p:cNvPr>
          <p:cNvSpPr txBox="1"/>
          <p:nvPr/>
        </p:nvSpPr>
        <p:spPr>
          <a:xfrm>
            <a:off x="9385169" y="1846745"/>
            <a:ext cx="2376000" cy="12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70927" indent="-262460">
              <a:buClr>
                <a:srgbClr val="FFFFFF"/>
              </a:buClr>
              <a:buSzPts val="1100"/>
              <a:buFont typeface="Noto Sans Symbols"/>
              <a:buChar char="▪"/>
            </a:pPr>
            <a:r>
              <a:rPr lang="en" sz="1467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&amp;D for electrolysis technology</a:t>
            </a:r>
            <a:endParaRPr sz="1467"/>
          </a:p>
          <a:p>
            <a:pPr marL="270927" indent="-262460">
              <a:spcBef>
                <a:spcPts val="667"/>
              </a:spcBef>
              <a:buClr>
                <a:srgbClr val="FFFFFF"/>
              </a:buClr>
              <a:buSzPts val="1100"/>
              <a:buFont typeface="Noto Sans Symbols"/>
              <a:buChar char="▪"/>
            </a:pPr>
            <a:r>
              <a:rPr lang="en" sz="1467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perations, engineering, sales and service</a:t>
            </a:r>
            <a:endParaRPr sz="1467"/>
          </a:p>
          <a:p>
            <a:pPr marL="270927" indent="-262460">
              <a:spcBef>
                <a:spcPts val="667"/>
              </a:spcBef>
              <a:buClr>
                <a:srgbClr val="FFFFFF"/>
              </a:buClr>
              <a:buSzPts val="1100"/>
              <a:buFont typeface="Noto Sans Symbols"/>
              <a:buChar char="▪"/>
            </a:pPr>
            <a:r>
              <a:rPr lang="en" sz="1467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Partially automated PEM production (ending 2023)</a:t>
            </a:r>
            <a:endParaRPr sz="1467"/>
          </a:p>
        </p:txBody>
      </p:sp>
      <p:sp>
        <p:nvSpPr>
          <p:cNvPr id="53" name="Google Shape;495;p35">
            <a:extLst>
              <a:ext uri="{FF2B5EF4-FFF2-40B4-BE49-F238E27FC236}">
                <a16:creationId xmlns:a16="http://schemas.microsoft.com/office/drawing/2014/main" id="{00025BF5-A496-C4F1-B942-A0E3283F6743}"/>
              </a:ext>
            </a:extLst>
          </p:cNvPr>
          <p:cNvSpPr txBox="1"/>
          <p:nvPr/>
        </p:nvSpPr>
        <p:spPr>
          <a:xfrm>
            <a:off x="2330075" y="4635801"/>
            <a:ext cx="3690000" cy="18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270927" indent="-262460">
              <a:buClr>
                <a:srgbClr val="FFFFFF"/>
              </a:buClr>
              <a:buSzPts val="1100"/>
              <a:buFont typeface="Noto Sans Symbols"/>
              <a:buChar char="▪"/>
            </a:pPr>
            <a:r>
              <a:rPr lang="en" sz="1467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iemens Energy internal and external partners for final assembly to </a:t>
            </a:r>
            <a:r>
              <a:rPr lang="en" sz="14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epare for optionality acc. Market trends</a:t>
            </a:r>
            <a:endParaRPr sz="1467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70927" indent="-262460">
              <a:spcBef>
                <a:spcPts val="267"/>
              </a:spcBef>
              <a:buClr>
                <a:srgbClr val="FFFFFF"/>
              </a:buClr>
              <a:buSzPts val="1100"/>
              <a:buFont typeface="Noto Sans Symbols"/>
              <a:buChar char="▪"/>
            </a:pPr>
            <a:r>
              <a:rPr lang="en" sz="1467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Packager will be established locally in main markets to facilitate local value add</a:t>
            </a:r>
            <a:endParaRPr sz="1467"/>
          </a:p>
        </p:txBody>
      </p:sp>
      <p:grpSp>
        <p:nvGrpSpPr>
          <p:cNvPr id="54" name="Google Shape;503;p35">
            <a:extLst>
              <a:ext uri="{FF2B5EF4-FFF2-40B4-BE49-F238E27FC236}">
                <a16:creationId xmlns:a16="http://schemas.microsoft.com/office/drawing/2014/main" id="{BEE6A41A-8253-72CA-AE88-6EA26B78B3A8}"/>
              </a:ext>
            </a:extLst>
          </p:cNvPr>
          <p:cNvGrpSpPr/>
          <p:nvPr/>
        </p:nvGrpSpPr>
        <p:grpSpPr>
          <a:xfrm>
            <a:off x="6334236" y="3850090"/>
            <a:ext cx="4372029" cy="2599257"/>
            <a:chOff x="2615168" y="1545304"/>
            <a:chExt cx="6968014" cy="4479338"/>
          </a:xfrm>
        </p:grpSpPr>
        <p:sp>
          <p:nvSpPr>
            <p:cNvPr id="55" name="Google Shape;504;p35">
              <a:extLst>
                <a:ext uri="{FF2B5EF4-FFF2-40B4-BE49-F238E27FC236}">
                  <a16:creationId xmlns:a16="http://schemas.microsoft.com/office/drawing/2014/main" id="{222E1DDD-34A1-1332-6306-5083659A8805}"/>
                </a:ext>
              </a:extLst>
            </p:cNvPr>
            <p:cNvSpPr/>
            <p:nvPr/>
          </p:nvSpPr>
          <p:spPr>
            <a:xfrm>
              <a:off x="6197045" y="5161677"/>
              <a:ext cx="320040" cy="277178"/>
            </a:xfrm>
            <a:custGeom>
              <a:avLst/>
              <a:gdLst/>
              <a:ahLst/>
              <a:cxnLst/>
              <a:rect l="l" t="t" r="r" b="b"/>
              <a:pathLst>
                <a:path w="355600" h="307975" extrusionOk="0">
                  <a:moveTo>
                    <a:pt x="254000" y="152400"/>
                  </a:moveTo>
                  <a:lnTo>
                    <a:pt x="244475" y="158750"/>
                  </a:lnTo>
                  <a:lnTo>
                    <a:pt x="238125" y="168275"/>
                  </a:lnTo>
                  <a:lnTo>
                    <a:pt x="225425" y="177800"/>
                  </a:lnTo>
                  <a:lnTo>
                    <a:pt x="234950" y="193675"/>
                  </a:lnTo>
                  <a:lnTo>
                    <a:pt x="238125" y="196850"/>
                  </a:lnTo>
                  <a:lnTo>
                    <a:pt x="244475" y="200025"/>
                  </a:lnTo>
                  <a:lnTo>
                    <a:pt x="250825" y="200025"/>
                  </a:lnTo>
                  <a:lnTo>
                    <a:pt x="254000" y="193675"/>
                  </a:lnTo>
                  <a:lnTo>
                    <a:pt x="260350" y="190500"/>
                  </a:lnTo>
                  <a:lnTo>
                    <a:pt x="269875" y="187325"/>
                  </a:lnTo>
                  <a:lnTo>
                    <a:pt x="273050" y="184150"/>
                  </a:lnTo>
                  <a:lnTo>
                    <a:pt x="276225" y="177800"/>
                  </a:lnTo>
                  <a:lnTo>
                    <a:pt x="279400" y="165100"/>
                  </a:lnTo>
                  <a:lnTo>
                    <a:pt x="276225" y="161925"/>
                  </a:lnTo>
                  <a:lnTo>
                    <a:pt x="269875" y="158750"/>
                  </a:lnTo>
                  <a:lnTo>
                    <a:pt x="263525" y="152400"/>
                  </a:lnTo>
                  <a:close/>
                  <a:moveTo>
                    <a:pt x="279400" y="0"/>
                  </a:moveTo>
                  <a:lnTo>
                    <a:pt x="288925" y="0"/>
                  </a:lnTo>
                  <a:lnTo>
                    <a:pt x="304800" y="3175"/>
                  </a:lnTo>
                  <a:lnTo>
                    <a:pt x="320675" y="3175"/>
                  </a:lnTo>
                  <a:lnTo>
                    <a:pt x="323850" y="15875"/>
                  </a:lnTo>
                  <a:lnTo>
                    <a:pt x="323850" y="25400"/>
                  </a:lnTo>
                  <a:lnTo>
                    <a:pt x="327025" y="34925"/>
                  </a:lnTo>
                  <a:lnTo>
                    <a:pt x="333375" y="41275"/>
                  </a:lnTo>
                  <a:lnTo>
                    <a:pt x="333375" y="88900"/>
                  </a:lnTo>
                  <a:lnTo>
                    <a:pt x="327025" y="85725"/>
                  </a:lnTo>
                  <a:lnTo>
                    <a:pt x="320675" y="82550"/>
                  </a:lnTo>
                  <a:lnTo>
                    <a:pt x="314325" y="88900"/>
                  </a:lnTo>
                  <a:lnTo>
                    <a:pt x="307975" y="101600"/>
                  </a:lnTo>
                  <a:lnTo>
                    <a:pt x="307975" y="107950"/>
                  </a:lnTo>
                  <a:lnTo>
                    <a:pt x="317500" y="117475"/>
                  </a:lnTo>
                  <a:lnTo>
                    <a:pt x="333375" y="120650"/>
                  </a:lnTo>
                  <a:lnTo>
                    <a:pt x="336550" y="107950"/>
                  </a:lnTo>
                  <a:lnTo>
                    <a:pt x="342900" y="107950"/>
                  </a:lnTo>
                  <a:lnTo>
                    <a:pt x="355600" y="107950"/>
                  </a:lnTo>
                  <a:lnTo>
                    <a:pt x="349250" y="127000"/>
                  </a:lnTo>
                  <a:lnTo>
                    <a:pt x="346075" y="142875"/>
                  </a:lnTo>
                  <a:lnTo>
                    <a:pt x="342900" y="152400"/>
                  </a:lnTo>
                  <a:lnTo>
                    <a:pt x="336550" y="155575"/>
                  </a:lnTo>
                  <a:lnTo>
                    <a:pt x="323850" y="165100"/>
                  </a:lnTo>
                  <a:lnTo>
                    <a:pt x="317500" y="177800"/>
                  </a:lnTo>
                  <a:lnTo>
                    <a:pt x="314325" y="184150"/>
                  </a:lnTo>
                  <a:lnTo>
                    <a:pt x="298450" y="209550"/>
                  </a:lnTo>
                  <a:lnTo>
                    <a:pt x="288925" y="219075"/>
                  </a:lnTo>
                  <a:lnTo>
                    <a:pt x="279400" y="228600"/>
                  </a:lnTo>
                  <a:lnTo>
                    <a:pt x="260350" y="250825"/>
                  </a:lnTo>
                  <a:lnTo>
                    <a:pt x="234950" y="269875"/>
                  </a:lnTo>
                  <a:lnTo>
                    <a:pt x="209550" y="279400"/>
                  </a:lnTo>
                  <a:lnTo>
                    <a:pt x="200025" y="279400"/>
                  </a:lnTo>
                  <a:lnTo>
                    <a:pt x="200025" y="288925"/>
                  </a:lnTo>
                  <a:lnTo>
                    <a:pt x="187325" y="285750"/>
                  </a:lnTo>
                  <a:lnTo>
                    <a:pt x="180975" y="288925"/>
                  </a:lnTo>
                  <a:lnTo>
                    <a:pt x="174625" y="292100"/>
                  </a:lnTo>
                  <a:lnTo>
                    <a:pt x="168275" y="288925"/>
                  </a:lnTo>
                  <a:lnTo>
                    <a:pt x="158750" y="288925"/>
                  </a:lnTo>
                  <a:lnTo>
                    <a:pt x="149225" y="288925"/>
                  </a:lnTo>
                  <a:lnTo>
                    <a:pt x="130175" y="288925"/>
                  </a:lnTo>
                  <a:lnTo>
                    <a:pt x="117475" y="295275"/>
                  </a:lnTo>
                  <a:lnTo>
                    <a:pt x="111125" y="298450"/>
                  </a:lnTo>
                  <a:lnTo>
                    <a:pt x="104775" y="298450"/>
                  </a:lnTo>
                  <a:lnTo>
                    <a:pt x="92075" y="298450"/>
                  </a:lnTo>
                  <a:lnTo>
                    <a:pt x="85725" y="301625"/>
                  </a:lnTo>
                  <a:lnTo>
                    <a:pt x="76200" y="307975"/>
                  </a:lnTo>
                  <a:lnTo>
                    <a:pt x="60325" y="301625"/>
                  </a:lnTo>
                  <a:lnTo>
                    <a:pt x="53975" y="295275"/>
                  </a:lnTo>
                  <a:lnTo>
                    <a:pt x="50800" y="288925"/>
                  </a:lnTo>
                  <a:lnTo>
                    <a:pt x="44450" y="288925"/>
                  </a:lnTo>
                  <a:lnTo>
                    <a:pt x="41275" y="285750"/>
                  </a:lnTo>
                  <a:lnTo>
                    <a:pt x="41275" y="276225"/>
                  </a:lnTo>
                  <a:lnTo>
                    <a:pt x="34925" y="263525"/>
                  </a:lnTo>
                  <a:lnTo>
                    <a:pt x="28575" y="257175"/>
                  </a:lnTo>
                  <a:lnTo>
                    <a:pt x="34925" y="257175"/>
                  </a:lnTo>
                  <a:lnTo>
                    <a:pt x="41275" y="244475"/>
                  </a:lnTo>
                  <a:lnTo>
                    <a:pt x="38100" y="228600"/>
                  </a:lnTo>
                  <a:lnTo>
                    <a:pt x="22225" y="206375"/>
                  </a:lnTo>
                  <a:lnTo>
                    <a:pt x="15875" y="190500"/>
                  </a:lnTo>
                  <a:lnTo>
                    <a:pt x="12700" y="177800"/>
                  </a:lnTo>
                  <a:lnTo>
                    <a:pt x="0" y="149225"/>
                  </a:lnTo>
                  <a:lnTo>
                    <a:pt x="3175" y="146050"/>
                  </a:lnTo>
                  <a:lnTo>
                    <a:pt x="9525" y="139700"/>
                  </a:lnTo>
                  <a:lnTo>
                    <a:pt x="15875" y="139700"/>
                  </a:lnTo>
                  <a:lnTo>
                    <a:pt x="19050" y="146050"/>
                  </a:lnTo>
                  <a:lnTo>
                    <a:pt x="19050" y="149225"/>
                  </a:lnTo>
                  <a:lnTo>
                    <a:pt x="22225" y="155575"/>
                  </a:lnTo>
                  <a:lnTo>
                    <a:pt x="28575" y="155575"/>
                  </a:lnTo>
                  <a:lnTo>
                    <a:pt x="41275" y="158750"/>
                  </a:lnTo>
                  <a:lnTo>
                    <a:pt x="50800" y="158750"/>
                  </a:lnTo>
                  <a:lnTo>
                    <a:pt x="53975" y="158750"/>
                  </a:lnTo>
                  <a:lnTo>
                    <a:pt x="60325" y="155575"/>
                  </a:lnTo>
                  <a:lnTo>
                    <a:pt x="66675" y="149225"/>
                  </a:lnTo>
                  <a:lnTo>
                    <a:pt x="76200" y="146050"/>
                  </a:lnTo>
                  <a:lnTo>
                    <a:pt x="76200" y="60325"/>
                  </a:lnTo>
                  <a:lnTo>
                    <a:pt x="85725" y="69850"/>
                  </a:lnTo>
                  <a:lnTo>
                    <a:pt x="92075" y="85725"/>
                  </a:lnTo>
                  <a:lnTo>
                    <a:pt x="92075" y="92075"/>
                  </a:lnTo>
                  <a:lnTo>
                    <a:pt x="88900" y="98425"/>
                  </a:lnTo>
                  <a:lnTo>
                    <a:pt x="92075" y="111125"/>
                  </a:lnTo>
                  <a:lnTo>
                    <a:pt x="101600" y="107950"/>
                  </a:lnTo>
                  <a:lnTo>
                    <a:pt x="114300" y="107950"/>
                  </a:lnTo>
                  <a:lnTo>
                    <a:pt x="130175" y="92075"/>
                  </a:lnTo>
                  <a:lnTo>
                    <a:pt x="136525" y="82550"/>
                  </a:lnTo>
                  <a:lnTo>
                    <a:pt x="139700" y="73025"/>
                  </a:lnTo>
                  <a:lnTo>
                    <a:pt x="149225" y="73025"/>
                  </a:lnTo>
                  <a:lnTo>
                    <a:pt x="158750" y="79375"/>
                  </a:lnTo>
                  <a:lnTo>
                    <a:pt x="168275" y="82550"/>
                  </a:lnTo>
                  <a:lnTo>
                    <a:pt x="180975" y="85725"/>
                  </a:lnTo>
                  <a:lnTo>
                    <a:pt x="196850" y="79375"/>
                  </a:lnTo>
                  <a:lnTo>
                    <a:pt x="203200" y="66675"/>
                  </a:lnTo>
                  <a:lnTo>
                    <a:pt x="203200" y="57150"/>
                  </a:lnTo>
                  <a:lnTo>
                    <a:pt x="212725" y="57150"/>
                  </a:lnTo>
                  <a:lnTo>
                    <a:pt x="225425" y="44450"/>
                  </a:lnTo>
                  <a:lnTo>
                    <a:pt x="225425" y="34925"/>
                  </a:lnTo>
                  <a:lnTo>
                    <a:pt x="234950" y="25400"/>
                  </a:lnTo>
                  <a:lnTo>
                    <a:pt x="247650" y="15875"/>
                  </a:lnTo>
                  <a:lnTo>
                    <a:pt x="257175" y="9525"/>
                  </a:lnTo>
                  <a:lnTo>
                    <a:pt x="263525" y="6350"/>
                  </a:lnTo>
                  <a:lnTo>
                    <a:pt x="26670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Google Shape;505;p35">
              <a:extLst>
                <a:ext uri="{FF2B5EF4-FFF2-40B4-BE49-F238E27FC236}">
                  <a16:creationId xmlns:a16="http://schemas.microsoft.com/office/drawing/2014/main" id="{0AE948A6-E060-8BF3-E543-4DD784EB53B3}"/>
                </a:ext>
              </a:extLst>
            </p:cNvPr>
            <p:cNvSpPr/>
            <p:nvPr/>
          </p:nvSpPr>
          <p:spPr>
            <a:xfrm>
              <a:off x="2615168" y="2725658"/>
              <a:ext cx="734378" cy="1621632"/>
            </a:xfrm>
            <a:custGeom>
              <a:avLst/>
              <a:gdLst/>
              <a:ahLst/>
              <a:cxnLst/>
              <a:rect l="l" t="t" r="r" b="b"/>
              <a:pathLst>
                <a:path w="815975" h="1801813" extrusionOk="0">
                  <a:moveTo>
                    <a:pt x="263525" y="1773238"/>
                  </a:moveTo>
                  <a:lnTo>
                    <a:pt x="269875" y="1776413"/>
                  </a:lnTo>
                  <a:lnTo>
                    <a:pt x="276225" y="1782763"/>
                  </a:lnTo>
                  <a:lnTo>
                    <a:pt x="282575" y="1792288"/>
                  </a:lnTo>
                  <a:lnTo>
                    <a:pt x="276225" y="1798638"/>
                  </a:lnTo>
                  <a:lnTo>
                    <a:pt x="263525" y="1801813"/>
                  </a:lnTo>
                  <a:lnTo>
                    <a:pt x="260350" y="1792288"/>
                  </a:lnTo>
                  <a:close/>
                  <a:moveTo>
                    <a:pt x="244475" y="1757363"/>
                  </a:moveTo>
                  <a:lnTo>
                    <a:pt x="250825" y="1757363"/>
                  </a:lnTo>
                  <a:lnTo>
                    <a:pt x="257175" y="1763713"/>
                  </a:lnTo>
                  <a:lnTo>
                    <a:pt x="250825" y="1766888"/>
                  </a:lnTo>
                  <a:close/>
                  <a:moveTo>
                    <a:pt x="231775" y="1751013"/>
                  </a:moveTo>
                  <a:lnTo>
                    <a:pt x="241300" y="1754188"/>
                  </a:lnTo>
                  <a:lnTo>
                    <a:pt x="234950" y="1754188"/>
                  </a:lnTo>
                  <a:lnTo>
                    <a:pt x="228600" y="1754188"/>
                  </a:lnTo>
                  <a:close/>
                  <a:moveTo>
                    <a:pt x="209550" y="1741488"/>
                  </a:moveTo>
                  <a:lnTo>
                    <a:pt x="215900" y="1741488"/>
                  </a:lnTo>
                  <a:lnTo>
                    <a:pt x="222250" y="1747838"/>
                  </a:lnTo>
                  <a:lnTo>
                    <a:pt x="219075" y="1751013"/>
                  </a:lnTo>
                  <a:lnTo>
                    <a:pt x="212725" y="1747838"/>
                  </a:lnTo>
                  <a:lnTo>
                    <a:pt x="209550" y="1744663"/>
                  </a:lnTo>
                  <a:close/>
                  <a:moveTo>
                    <a:pt x="187325" y="1728788"/>
                  </a:moveTo>
                  <a:lnTo>
                    <a:pt x="187325" y="1731963"/>
                  </a:lnTo>
                  <a:lnTo>
                    <a:pt x="187325" y="1735138"/>
                  </a:lnTo>
                  <a:lnTo>
                    <a:pt x="177800" y="1735138"/>
                  </a:lnTo>
                  <a:close/>
                  <a:moveTo>
                    <a:pt x="28575" y="835025"/>
                  </a:moveTo>
                  <a:lnTo>
                    <a:pt x="38100" y="838200"/>
                  </a:lnTo>
                  <a:lnTo>
                    <a:pt x="34925" y="844550"/>
                  </a:lnTo>
                  <a:lnTo>
                    <a:pt x="28575" y="854075"/>
                  </a:lnTo>
                  <a:lnTo>
                    <a:pt x="15875" y="857250"/>
                  </a:lnTo>
                  <a:lnTo>
                    <a:pt x="3175" y="860425"/>
                  </a:lnTo>
                  <a:lnTo>
                    <a:pt x="9525" y="857250"/>
                  </a:lnTo>
                  <a:lnTo>
                    <a:pt x="12700" y="857250"/>
                  </a:lnTo>
                  <a:lnTo>
                    <a:pt x="15875" y="854075"/>
                  </a:lnTo>
                  <a:lnTo>
                    <a:pt x="19050" y="850900"/>
                  </a:lnTo>
                  <a:lnTo>
                    <a:pt x="19050" y="838200"/>
                  </a:lnTo>
                  <a:close/>
                  <a:moveTo>
                    <a:pt x="95250" y="800100"/>
                  </a:moveTo>
                  <a:lnTo>
                    <a:pt x="101600" y="806450"/>
                  </a:lnTo>
                  <a:lnTo>
                    <a:pt x="82550" y="812800"/>
                  </a:lnTo>
                  <a:lnTo>
                    <a:pt x="79375" y="815975"/>
                  </a:lnTo>
                  <a:lnTo>
                    <a:pt x="76200" y="819150"/>
                  </a:lnTo>
                  <a:lnTo>
                    <a:pt x="69850" y="822325"/>
                  </a:lnTo>
                  <a:lnTo>
                    <a:pt x="63500" y="812800"/>
                  </a:lnTo>
                  <a:lnTo>
                    <a:pt x="69850" y="806450"/>
                  </a:lnTo>
                  <a:lnTo>
                    <a:pt x="73025" y="803275"/>
                  </a:lnTo>
                  <a:close/>
                  <a:moveTo>
                    <a:pt x="177800" y="793750"/>
                  </a:moveTo>
                  <a:lnTo>
                    <a:pt x="180975" y="793750"/>
                  </a:lnTo>
                  <a:lnTo>
                    <a:pt x="180975" y="796925"/>
                  </a:lnTo>
                  <a:close/>
                  <a:moveTo>
                    <a:pt x="752475" y="787400"/>
                  </a:moveTo>
                  <a:lnTo>
                    <a:pt x="758825" y="806450"/>
                  </a:lnTo>
                  <a:lnTo>
                    <a:pt x="755650" y="806450"/>
                  </a:lnTo>
                  <a:lnTo>
                    <a:pt x="749300" y="793750"/>
                  </a:lnTo>
                  <a:lnTo>
                    <a:pt x="752475" y="790575"/>
                  </a:lnTo>
                  <a:lnTo>
                    <a:pt x="749300" y="790575"/>
                  </a:lnTo>
                  <a:close/>
                  <a:moveTo>
                    <a:pt x="787400" y="765175"/>
                  </a:moveTo>
                  <a:lnTo>
                    <a:pt x="793750" y="765175"/>
                  </a:lnTo>
                  <a:lnTo>
                    <a:pt x="796925" y="774700"/>
                  </a:lnTo>
                  <a:lnTo>
                    <a:pt x="796925" y="787400"/>
                  </a:lnTo>
                  <a:lnTo>
                    <a:pt x="784225" y="787400"/>
                  </a:lnTo>
                  <a:lnTo>
                    <a:pt x="777875" y="781050"/>
                  </a:lnTo>
                  <a:lnTo>
                    <a:pt x="784225" y="771525"/>
                  </a:lnTo>
                  <a:close/>
                  <a:moveTo>
                    <a:pt x="742950" y="755650"/>
                  </a:moveTo>
                  <a:lnTo>
                    <a:pt x="749300" y="755650"/>
                  </a:lnTo>
                  <a:lnTo>
                    <a:pt x="742950" y="765175"/>
                  </a:lnTo>
                  <a:lnTo>
                    <a:pt x="736600" y="765175"/>
                  </a:lnTo>
                  <a:close/>
                  <a:moveTo>
                    <a:pt x="768350" y="746125"/>
                  </a:moveTo>
                  <a:lnTo>
                    <a:pt x="771525" y="755650"/>
                  </a:lnTo>
                  <a:lnTo>
                    <a:pt x="774700" y="762000"/>
                  </a:lnTo>
                  <a:lnTo>
                    <a:pt x="765175" y="762000"/>
                  </a:lnTo>
                  <a:lnTo>
                    <a:pt x="762000" y="749300"/>
                  </a:lnTo>
                  <a:close/>
                  <a:moveTo>
                    <a:pt x="742950" y="746125"/>
                  </a:moveTo>
                  <a:lnTo>
                    <a:pt x="752475" y="749300"/>
                  </a:lnTo>
                  <a:lnTo>
                    <a:pt x="758825" y="758825"/>
                  </a:lnTo>
                  <a:lnTo>
                    <a:pt x="771525" y="777875"/>
                  </a:lnTo>
                  <a:lnTo>
                    <a:pt x="774700" y="787400"/>
                  </a:lnTo>
                  <a:lnTo>
                    <a:pt x="777875" y="803275"/>
                  </a:lnTo>
                  <a:lnTo>
                    <a:pt x="771525" y="809625"/>
                  </a:lnTo>
                  <a:lnTo>
                    <a:pt x="765175" y="800100"/>
                  </a:lnTo>
                  <a:lnTo>
                    <a:pt x="765175" y="793750"/>
                  </a:lnTo>
                  <a:lnTo>
                    <a:pt x="755650" y="787400"/>
                  </a:lnTo>
                  <a:lnTo>
                    <a:pt x="752475" y="787400"/>
                  </a:lnTo>
                  <a:lnTo>
                    <a:pt x="752475" y="781050"/>
                  </a:lnTo>
                  <a:lnTo>
                    <a:pt x="752475" y="765175"/>
                  </a:lnTo>
                  <a:lnTo>
                    <a:pt x="749300" y="752475"/>
                  </a:lnTo>
                  <a:lnTo>
                    <a:pt x="742950" y="752475"/>
                  </a:lnTo>
                  <a:close/>
                  <a:moveTo>
                    <a:pt x="758825" y="730250"/>
                  </a:moveTo>
                  <a:lnTo>
                    <a:pt x="765175" y="739775"/>
                  </a:lnTo>
                  <a:lnTo>
                    <a:pt x="758825" y="742950"/>
                  </a:lnTo>
                  <a:lnTo>
                    <a:pt x="755650" y="736600"/>
                  </a:lnTo>
                  <a:close/>
                  <a:moveTo>
                    <a:pt x="727075" y="730250"/>
                  </a:moveTo>
                  <a:lnTo>
                    <a:pt x="736600" y="739775"/>
                  </a:lnTo>
                  <a:lnTo>
                    <a:pt x="730250" y="742950"/>
                  </a:lnTo>
                  <a:lnTo>
                    <a:pt x="733425" y="752475"/>
                  </a:lnTo>
                  <a:lnTo>
                    <a:pt x="730250" y="762000"/>
                  </a:lnTo>
                  <a:lnTo>
                    <a:pt x="727075" y="768350"/>
                  </a:lnTo>
                  <a:lnTo>
                    <a:pt x="723900" y="758825"/>
                  </a:lnTo>
                  <a:lnTo>
                    <a:pt x="720725" y="736600"/>
                  </a:lnTo>
                  <a:close/>
                  <a:moveTo>
                    <a:pt x="733425" y="717550"/>
                  </a:moveTo>
                  <a:lnTo>
                    <a:pt x="752475" y="723900"/>
                  </a:lnTo>
                  <a:lnTo>
                    <a:pt x="749300" y="742950"/>
                  </a:lnTo>
                  <a:lnTo>
                    <a:pt x="742950" y="742950"/>
                  </a:lnTo>
                  <a:lnTo>
                    <a:pt x="739775" y="739775"/>
                  </a:lnTo>
                  <a:lnTo>
                    <a:pt x="730250" y="723900"/>
                  </a:lnTo>
                  <a:close/>
                  <a:moveTo>
                    <a:pt x="695325" y="714375"/>
                  </a:moveTo>
                  <a:lnTo>
                    <a:pt x="695325" y="727075"/>
                  </a:lnTo>
                  <a:lnTo>
                    <a:pt x="692150" y="717550"/>
                  </a:lnTo>
                  <a:close/>
                  <a:moveTo>
                    <a:pt x="701675" y="701675"/>
                  </a:moveTo>
                  <a:lnTo>
                    <a:pt x="708025" y="704850"/>
                  </a:lnTo>
                  <a:lnTo>
                    <a:pt x="711200" y="708025"/>
                  </a:lnTo>
                  <a:lnTo>
                    <a:pt x="714375" y="714375"/>
                  </a:lnTo>
                  <a:lnTo>
                    <a:pt x="717550" y="752475"/>
                  </a:lnTo>
                  <a:lnTo>
                    <a:pt x="717550" y="755650"/>
                  </a:lnTo>
                  <a:lnTo>
                    <a:pt x="714375" y="749300"/>
                  </a:lnTo>
                  <a:lnTo>
                    <a:pt x="704850" y="733425"/>
                  </a:lnTo>
                  <a:lnTo>
                    <a:pt x="698500" y="714375"/>
                  </a:lnTo>
                  <a:lnTo>
                    <a:pt x="698500" y="708025"/>
                  </a:lnTo>
                  <a:close/>
                  <a:moveTo>
                    <a:pt x="330200" y="685800"/>
                  </a:moveTo>
                  <a:lnTo>
                    <a:pt x="333375" y="685800"/>
                  </a:lnTo>
                  <a:lnTo>
                    <a:pt x="339725" y="695325"/>
                  </a:lnTo>
                  <a:lnTo>
                    <a:pt x="339725" y="698500"/>
                  </a:lnTo>
                  <a:lnTo>
                    <a:pt x="336550" y="704850"/>
                  </a:lnTo>
                  <a:lnTo>
                    <a:pt x="330200" y="711200"/>
                  </a:lnTo>
                  <a:lnTo>
                    <a:pt x="327025" y="711200"/>
                  </a:lnTo>
                  <a:lnTo>
                    <a:pt x="323850" y="708025"/>
                  </a:lnTo>
                  <a:lnTo>
                    <a:pt x="317500" y="711200"/>
                  </a:lnTo>
                  <a:lnTo>
                    <a:pt x="311150" y="714375"/>
                  </a:lnTo>
                  <a:lnTo>
                    <a:pt x="307975" y="727075"/>
                  </a:lnTo>
                  <a:lnTo>
                    <a:pt x="298450" y="730250"/>
                  </a:lnTo>
                  <a:lnTo>
                    <a:pt x="285750" y="711200"/>
                  </a:lnTo>
                  <a:lnTo>
                    <a:pt x="285750" y="708025"/>
                  </a:lnTo>
                  <a:lnTo>
                    <a:pt x="288925" y="701675"/>
                  </a:lnTo>
                  <a:lnTo>
                    <a:pt x="295275" y="695325"/>
                  </a:lnTo>
                  <a:lnTo>
                    <a:pt x="304800" y="695325"/>
                  </a:lnTo>
                  <a:lnTo>
                    <a:pt x="311150" y="695325"/>
                  </a:lnTo>
                  <a:lnTo>
                    <a:pt x="320675" y="688975"/>
                  </a:lnTo>
                  <a:close/>
                  <a:moveTo>
                    <a:pt x="692150" y="669925"/>
                  </a:moveTo>
                  <a:lnTo>
                    <a:pt x="695325" y="669925"/>
                  </a:lnTo>
                  <a:lnTo>
                    <a:pt x="708025" y="676275"/>
                  </a:lnTo>
                  <a:lnTo>
                    <a:pt x="714375" y="682625"/>
                  </a:lnTo>
                  <a:lnTo>
                    <a:pt x="714375" y="692150"/>
                  </a:lnTo>
                  <a:lnTo>
                    <a:pt x="711200" y="701675"/>
                  </a:lnTo>
                  <a:lnTo>
                    <a:pt x="704850" y="698500"/>
                  </a:lnTo>
                  <a:lnTo>
                    <a:pt x="698500" y="698500"/>
                  </a:lnTo>
                  <a:lnTo>
                    <a:pt x="698500" y="704850"/>
                  </a:lnTo>
                  <a:lnTo>
                    <a:pt x="692150" y="704850"/>
                  </a:lnTo>
                  <a:lnTo>
                    <a:pt x="682625" y="688975"/>
                  </a:lnTo>
                  <a:lnTo>
                    <a:pt x="682625" y="673100"/>
                  </a:lnTo>
                  <a:close/>
                  <a:moveTo>
                    <a:pt x="714375" y="666750"/>
                  </a:moveTo>
                  <a:lnTo>
                    <a:pt x="717550" y="673100"/>
                  </a:lnTo>
                  <a:lnTo>
                    <a:pt x="723900" y="673100"/>
                  </a:lnTo>
                  <a:lnTo>
                    <a:pt x="733425" y="685800"/>
                  </a:lnTo>
                  <a:lnTo>
                    <a:pt x="736600" y="704850"/>
                  </a:lnTo>
                  <a:lnTo>
                    <a:pt x="727075" y="714375"/>
                  </a:lnTo>
                  <a:lnTo>
                    <a:pt x="723900" y="720725"/>
                  </a:lnTo>
                  <a:lnTo>
                    <a:pt x="720725" y="714375"/>
                  </a:lnTo>
                  <a:lnTo>
                    <a:pt x="720725" y="704850"/>
                  </a:lnTo>
                  <a:lnTo>
                    <a:pt x="720725" y="695325"/>
                  </a:lnTo>
                  <a:lnTo>
                    <a:pt x="714375" y="673100"/>
                  </a:lnTo>
                  <a:close/>
                  <a:moveTo>
                    <a:pt x="333375" y="663575"/>
                  </a:moveTo>
                  <a:lnTo>
                    <a:pt x="342900" y="666750"/>
                  </a:lnTo>
                  <a:lnTo>
                    <a:pt x="339725" y="676275"/>
                  </a:lnTo>
                  <a:lnTo>
                    <a:pt x="323850" y="679450"/>
                  </a:lnTo>
                  <a:lnTo>
                    <a:pt x="317500" y="673100"/>
                  </a:lnTo>
                  <a:lnTo>
                    <a:pt x="323850" y="666750"/>
                  </a:lnTo>
                  <a:close/>
                  <a:moveTo>
                    <a:pt x="450850" y="581025"/>
                  </a:moveTo>
                  <a:lnTo>
                    <a:pt x="454025" y="584200"/>
                  </a:lnTo>
                  <a:lnTo>
                    <a:pt x="441325" y="600075"/>
                  </a:lnTo>
                  <a:lnTo>
                    <a:pt x="441325" y="603250"/>
                  </a:lnTo>
                  <a:lnTo>
                    <a:pt x="434975" y="606425"/>
                  </a:lnTo>
                  <a:lnTo>
                    <a:pt x="431800" y="606425"/>
                  </a:lnTo>
                  <a:lnTo>
                    <a:pt x="444500" y="584200"/>
                  </a:lnTo>
                  <a:close/>
                  <a:moveTo>
                    <a:pt x="463550" y="577850"/>
                  </a:moveTo>
                  <a:lnTo>
                    <a:pt x="473075" y="581025"/>
                  </a:lnTo>
                  <a:lnTo>
                    <a:pt x="463550" y="584200"/>
                  </a:lnTo>
                  <a:lnTo>
                    <a:pt x="460375" y="584200"/>
                  </a:lnTo>
                  <a:lnTo>
                    <a:pt x="457200" y="581025"/>
                  </a:lnTo>
                  <a:close/>
                  <a:moveTo>
                    <a:pt x="41275" y="577850"/>
                  </a:moveTo>
                  <a:lnTo>
                    <a:pt x="47625" y="584200"/>
                  </a:lnTo>
                  <a:lnTo>
                    <a:pt x="50800" y="596900"/>
                  </a:lnTo>
                  <a:lnTo>
                    <a:pt x="47625" y="600075"/>
                  </a:lnTo>
                  <a:lnTo>
                    <a:pt x="34925" y="606425"/>
                  </a:lnTo>
                  <a:lnTo>
                    <a:pt x="25400" y="600075"/>
                  </a:lnTo>
                  <a:lnTo>
                    <a:pt x="12700" y="593725"/>
                  </a:lnTo>
                  <a:lnTo>
                    <a:pt x="15875" y="587375"/>
                  </a:lnTo>
                  <a:close/>
                  <a:moveTo>
                    <a:pt x="241300" y="0"/>
                  </a:moveTo>
                  <a:lnTo>
                    <a:pt x="266700" y="6350"/>
                  </a:lnTo>
                  <a:lnTo>
                    <a:pt x="276225" y="9525"/>
                  </a:lnTo>
                  <a:lnTo>
                    <a:pt x="279400" y="6350"/>
                  </a:lnTo>
                  <a:lnTo>
                    <a:pt x="285750" y="12700"/>
                  </a:lnTo>
                  <a:lnTo>
                    <a:pt x="285750" y="19050"/>
                  </a:lnTo>
                  <a:lnTo>
                    <a:pt x="298450" y="28575"/>
                  </a:lnTo>
                  <a:lnTo>
                    <a:pt x="304800" y="22225"/>
                  </a:lnTo>
                  <a:lnTo>
                    <a:pt x="311150" y="22225"/>
                  </a:lnTo>
                  <a:lnTo>
                    <a:pt x="327025" y="22225"/>
                  </a:lnTo>
                  <a:lnTo>
                    <a:pt x="339725" y="28575"/>
                  </a:lnTo>
                  <a:lnTo>
                    <a:pt x="330200" y="44450"/>
                  </a:lnTo>
                  <a:lnTo>
                    <a:pt x="336550" y="47625"/>
                  </a:lnTo>
                  <a:lnTo>
                    <a:pt x="346075" y="50800"/>
                  </a:lnTo>
                  <a:lnTo>
                    <a:pt x="358775" y="53975"/>
                  </a:lnTo>
                  <a:lnTo>
                    <a:pt x="371475" y="50800"/>
                  </a:lnTo>
                  <a:lnTo>
                    <a:pt x="384175" y="47625"/>
                  </a:lnTo>
                  <a:lnTo>
                    <a:pt x="400050" y="47625"/>
                  </a:lnTo>
                  <a:lnTo>
                    <a:pt x="425450" y="57150"/>
                  </a:lnTo>
                  <a:lnTo>
                    <a:pt x="431800" y="60325"/>
                  </a:lnTo>
                  <a:lnTo>
                    <a:pt x="438150" y="66675"/>
                  </a:lnTo>
                  <a:lnTo>
                    <a:pt x="450850" y="69850"/>
                  </a:lnTo>
                  <a:lnTo>
                    <a:pt x="463550" y="66675"/>
                  </a:lnTo>
                  <a:lnTo>
                    <a:pt x="479425" y="73025"/>
                  </a:lnTo>
                  <a:lnTo>
                    <a:pt x="501650" y="82550"/>
                  </a:lnTo>
                  <a:lnTo>
                    <a:pt x="511175" y="76200"/>
                  </a:lnTo>
                  <a:lnTo>
                    <a:pt x="527050" y="73025"/>
                  </a:lnTo>
                  <a:lnTo>
                    <a:pt x="542925" y="76200"/>
                  </a:lnTo>
                  <a:lnTo>
                    <a:pt x="552450" y="88900"/>
                  </a:lnTo>
                  <a:lnTo>
                    <a:pt x="558800" y="95250"/>
                  </a:lnTo>
                  <a:lnTo>
                    <a:pt x="561975" y="92075"/>
                  </a:lnTo>
                  <a:lnTo>
                    <a:pt x="565150" y="95250"/>
                  </a:lnTo>
                  <a:lnTo>
                    <a:pt x="581025" y="101600"/>
                  </a:lnTo>
                  <a:lnTo>
                    <a:pt x="581025" y="374650"/>
                  </a:lnTo>
                  <a:lnTo>
                    <a:pt x="581025" y="495300"/>
                  </a:lnTo>
                  <a:lnTo>
                    <a:pt x="581025" y="555625"/>
                  </a:lnTo>
                  <a:lnTo>
                    <a:pt x="581025" y="584200"/>
                  </a:lnTo>
                  <a:lnTo>
                    <a:pt x="596900" y="587375"/>
                  </a:lnTo>
                  <a:lnTo>
                    <a:pt x="603250" y="590550"/>
                  </a:lnTo>
                  <a:lnTo>
                    <a:pt x="609600" y="584200"/>
                  </a:lnTo>
                  <a:lnTo>
                    <a:pt x="622300" y="581025"/>
                  </a:lnTo>
                  <a:lnTo>
                    <a:pt x="622300" y="590550"/>
                  </a:lnTo>
                  <a:lnTo>
                    <a:pt x="625475" y="600075"/>
                  </a:lnTo>
                  <a:lnTo>
                    <a:pt x="638175" y="609600"/>
                  </a:lnTo>
                  <a:lnTo>
                    <a:pt x="654050" y="628650"/>
                  </a:lnTo>
                  <a:lnTo>
                    <a:pt x="657225" y="631825"/>
                  </a:lnTo>
                  <a:lnTo>
                    <a:pt x="660400" y="641350"/>
                  </a:lnTo>
                  <a:lnTo>
                    <a:pt x="669925" y="635000"/>
                  </a:lnTo>
                  <a:lnTo>
                    <a:pt x="673100" y="631825"/>
                  </a:lnTo>
                  <a:lnTo>
                    <a:pt x="679450" y="619125"/>
                  </a:lnTo>
                  <a:lnTo>
                    <a:pt x="685800" y="619125"/>
                  </a:lnTo>
                  <a:lnTo>
                    <a:pt x="688975" y="612775"/>
                  </a:lnTo>
                  <a:lnTo>
                    <a:pt x="698500" y="606425"/>
                  </a:lnTo>
                  <a:lnTo>
                    <a:pt x="708025" y="612775"/>
                  </a:lnTo>
                  <a:lnTo>
                    <a:pt x="717550" y="625475"/>
                  </a:lnTo>
                  <a:lnTo>
                    <a:pt x="733425" y="650875"/>
                  </a:lnTo>
                  <a:lnTo>
                    <a:pt x="746125" y="663575"/>
                  </a:lnTo>
                  <a:lnTo>
                    <a:pt x="746125" y="669925"/>
                  </a:lnTo>
                  <a:lnTo>
                    <a:pt x="749300" y="673100"/>
                  </a:lnTo>
                  <a:lnTo>
                    <a:pt x="771525" y="714375"/>
                  </a:lnTo>
                  <a:lnTo>
                    <a:pt x="790575" y="739775"/>
                  </a:lnTo>
                  <a:lnTo>
                    <a:pt x="806450" y="752475"/>
                  </a:lnTo>
                  <a:lnTo>
                    <a:pt x="812800" y="755650"/>
                  </a:lnTo>
                  <a:lnTo>
                    <a:pt x="815975" y="755650"/>
                  </a:lnTo>
                  <a:lnTo>
                    <a:pt x="815975" y="771525"/>
                  </a:lnTo>
                  <a:lnTo>
                    <a:pt x="815975" y="784225"/>
                  </a:lnTo>
                  <a:lnTo>
                    <a:pt x="815975" y="793750"/>
                  </a:lnTo>
                  <a:lnTo>
                    <a:pt x="806450" y="806450"/>
                  </a:lnTo>
                  <a:lnTo>
                    <a:pt x="796925" y="800100"/>
                  </a:lnTo>
                  <a:lnTo>
                    <a:pt x="796925" y="790575"/>
                  </a:lnTo>
                  <a:lnTo>
                    <a:pt x="800100" y="787400"/>
                  </a:lnTo>
                  <a:lnTo>
                    <a:pt x="800100" y="774700"/>
                  </a:lnTo>
                  <a:lnTo>
                    <a:pt x="796925" y="765175"/>
                  </a:lnTo>
                  <a:lnTo>
                    <a:pt x="790575" y="762000"/>
                  </a:lnTo>
                  <a:lnTo>
                    <a:pt x="784225" y="762000"/>
                  </a:lnTo>
                  <a:lnTo>
                    <a:pt x="777875" y="777875"/>
                  </a:lnTo>
                  <a:lnTo>
                    <a:pt x="771525" y="771525"/>
                  </a:lnTo>
                  <a:lnTo>
                    <a:pt x="774700" y="765175"/>
                  </a:lnTo>
                  <a:lnTo>
                    <a:pt x="777875" y="752475"/>
                  </a:lnTo>
                  <a:lnTo>
                    <a:pt x="768350" y="739775"/>
                  </a:lnTo>
                  <a:lnTo>
                    <a:pt x="765175" y="736600"/>
                  </a:lnTo>
                  <a:lnTo>
                    <a:pt x="762000" y="733425"/>
                  </a:lnTo>
                  <a:lnTo>
                    <a:pt x="749300" y="717550"/>
                  </a:lnTo>
                  <a:lnTo>
                    <a:pt x="746125" y="711200"/>
                  </a:lnTo>
                  <a:lnTo>
                    <a:pt x="742950" y="698500"/>
                  </a:lnTo>
                  <a:lnTo>
                    <a:pt x="733425" y="679450"/>
                  </a:lnTo>
                  <a:lnTo>
                    <a:pt x="730250" y="673100"/>
                  </a:lnTo>
                  <a:lnTo>
                    <a:pt x="727075" y="673100"/>
                  </a:lnTo>
                  <a:lnTo>
                    <a:pt x="714375" y="660400"/>
                  </a:lnTo>
                  <a:lnTo>
                    <a:pt x="708025" y="635000"/>
                  </a:lnTo>
                  <a:lnTo>
                    <a:pt x="704850" y="622300"/>
                  </a:lnTo>
                  <a:lnTo>
                    <a:pt x="698500" y="631825"/>
                  </a:lnTo>
                  <a:lnTo>
                    <a:pt x="704850" y="644525"/>
                  </a:lnTo>
                  <a:lnTo>
                    <a:pt x="708025" y="654050"/>
                  </a:lnTo>
                  <a:lnTo>
                    <a:pt x="711200" y="669925"/>
                  </a:lnTo>
                  <a:lnTo>
                    <a:pt x="698500" y="666750"/>
                  </a:lnTo>
                  <a:lnTo>
                    <a:pt x="692150" y="660400"/>
                  </a:lnTo>
                  <a:lnTo>
                    <a:pt x="688975" y="647700"/>
                  </a:lnTo>
                  <a:lnTo>
                    <a:pt x="682625" y="650875"/>
                  </a:lnTo>
                  <a:lnTo>
                    <a:pt x="688975" y="657225"/>
                  </a:lnTo>
                  <a:lnTo>
                    <a:pt x="688975" y="666750"/>
                  </a:lnTo>
                  <a:lnTo>
                    <a:pt x="682625" y="669925"/>
                  </a:lnTo>
                  <a:lnTo>
                    <a:pt x="676275" y="669925"/>
                  </a:lnTo>
                  <a:lnTo>
                    <a:pt x="654050" y="654050"/>
                  </a:lnTo>
                  <a:lnTo>
                    <a:pt x="641350" y="638175"/>
                  </a:lnTo>
                  <a:lnTo>
                    <a:pt x="638175" y="631825"/>
                  </a:lnTo>
                  <a:lnTo>
                    <a:pt x="631825" y="631825"/>
                  </a:lnTo>
                  <a:lnTo>
                    <a:pt x="606425" y="615950"/>
                  </a:lnTo>
                  <a:lnTo>
                    <a:pt x="619125" y="612775"/>
                  </a:lnTo>
                  <a:lnTo>
                    <a:pt x="619125" y="603250"/>
                  </a:lnTo>
                  <a:lnTo>
                    <a:pt x="612775" y="593725"/>
                  </a:lnTo>
                  <a:lnTo>
                    <a:pt x="606425" y="606425"/>
                  </a:lnTo>
                  <a:lnTo>
                    <a:pt x="593725" y="609600"/>
                  </a:lnTo>
                  <a:lnTo>
                    <a:pt x="581025" y="606425"/>
                  </a:lnTo>
                  <a:lnTo>
                    <a:pt x="568325" y="600075"/>
                  </a:lnTo>
                  <a:lnTo>
                    <a:pt x="555625" y="593725"/>
                  </a:lnTo>
                  <a:lnTo>
                    <a:pt x="542925" y="593725"/>
                  </a:lnTo>
                  <a:lnTo>
                    <a:pt x="530225" y="593725"/>
                  </a:lnTo>
                  <a:lnTo>
                    <a:pt x="514350" y="596900"/>
                  </a:lnTo>
                  <a:lnTo>
                    <a:pt x="488950" y="581025"/>
                  </a:lnTo>
                  <a:lnTo>
                    <a:pt x="482600" y="577850"/>
                  </a:lnTo>
                  <a:lnTo>
                    <a:pt x="479425" y="571500"/>
                  </a:lnTo>
                  <a:lnTo>
                    <a:pt x="466725" y="568325"/>
                  </a:lnTo>
                  <a:lnTo>
                    <a:pt x="460375" y="568325"/>
                  </a:lnTo>
                  <a:lnTo>
                    <a:pt x="457200" y="555625"/>
                  </a:lnTo>
                  <a:lnTo>
                    <a:pt x="454025" y="552450"/>
                  </a:lnTo>
                  <a:lnTo>
                    <a:pt x="444500" y="558800"/>
                  </a:lnTo>
                  <a:lnTo>
                    <a:pt x="428625" y="555625"/>
                  </a:lnTo>
                  <a:lnTo>
                    <a:pt x="428625" y="571500"/>
                  </a:lnTo>
                  <a:lnTo>
                    <a:pt x="431800" y="574675"/>
                  </a:lnTo>
                  <a:lnTo>
                    <a:pt x="431800" y="577850"/>
                  </a:lnTo>
                  <a:lnTo>
                    <a:pt x="425450" y="590550"/>
                  </a:lnTo>
                  <a:lnTo>
                    <a:pt x="419100" y="600075"/>
                  </a:lnTo>
                  <a:lnTo>
                    <a:pt x="403225" y="600075"/>
                  </a:lnTo>
                  <a:lnTo>
                    <a:pt x="387350" y="612775"/>
                  </a:lnTo>
                  <a:lnTo>
                    <a:pt x="374650" y="622300"/>
                  </a:lnTo>
                  <a:lnTo>
                    <a:pt x="361950" y="631825"/>
                  </a:lnTo>
                  <a:lnTo>
                    <a:pt x="349250" y="631825"/>
                  </a:lnTo>
                  <a:lnTo>
                    <a:pt x="346075" y="628650"/>
                  </a:lnTo>
                  <a:lnTo>
                    <a:pt x="346075" y="622300"/>
                  </a:lnTo>
                  <a:lnTo>
                    <a:pt x="349250" y="596900"/>
                  </a:lnTo>
                  <a:lnTo>
                    <a:pt x="355600" y="587375"/>
                  </a:lnTo>
                  <a:lnTo>
                    <a:pt x="358775" y="574675"/>
                  </a:lnTo>
                  <a:lnTo>
                    <a:pt x="355600" y="568325"/>
                  </a:lnTo>
                  <a:lnTo>
                    <a:pt x="368300" y="558800"/>
                  </a:lnTo>
                  <a:lnTo>
                    <a:pt x="381000" y="552450"/>
                  </a:lnTo>
                  <a:lnTo>
                    <a:pt x="381000" y="546100"/>
                  </a:lnTo>
                  <a:lnTo>
                    <a:pt x="377825" y="542925"/>
                  </a:lnTo>
                  <a:lnTo>
                    <a:pt x="374650" y="539750"/>
                  </a:lnTo>
                  <a:lnTo>
                    <a:pt x="368300" y="546100"/>
                  </a:lnTo>
                  <a:lnTo>
                    <a:pt x="361950" y="552450"/>
                  </a:lnTo>
                  <a:lnTo>
                    <a:pt x="349250" y="561975"/>
                  </a:lnTo>
                  <a:lnTo>
                    <a:pt x="339725" y="577850"/>
                  </a:lnTo>
                  <a:lnTo>
                    <a:pt x="333375" y="593725"/>
                  </a:lnTo>
                  <a:lnTo>
                    <a:pt x="323850" y="606425"/>
                  </a:lnTo>
                  <a:lnTo>
                    <a:pt x="320675" y="609600"/>
                  </a:lnTo>
                  <a:lnTo>
                    <a:pt x="320675" y="612775"/>
                  </a:lnTo>
                  <a:lnTo>
                    <a:pt x="314325" y="615950"/>
                  </a:lnTo>
                  <a:lnTo>
                    <a:pt x="298450" y="625475"/>
                  </a:lnTo>
                  <a:lnTo>
                    <a:pt x="298450" y="638175"/>
                  </a:lnTo>
                  <a:lnTo>
                    <a:pt x="301625" y="638175"/>
                  </a:lnTo>
                  <a:lnTo>
                    <a:pt x="317500" y="644525"/>
                  </a:lnTo>
                  <a:lnTo>
                    <a:pt x="295275" y="676275"/>
                  </a:lnTo>
                  <a:lnTo>
                    <a:pt x="276225" y="682625"/>
                  </a:lnTo>
                  <a:lnTo>
                    <a:pt x="276225" y="685800"/>
                  </a:lnTo>
                  <a:lnTo>
                    <a:pt x="273050" y="688975"/>
                  </a:lnTo>
                  <a:lnTo>
                    <a:pt x="269875" y="692150"/>
                  </a:lnTo>
                  <a:lnTo>
                    <a:pt x="266700" y="692150"/>
                  </a:lnTo>
                  <a:lnTo>
                    <a:pt x="263525" y="695325"/>
                  </a:lnTo>
                  <a:lnTo>
                    <a:pt x="263525" y="698500"/>
                  </a:lnTo>
                  <a:lnTo>
                    <a:pt x="257175" y="701675"/>
                  </a:lnTo>
                  <a:lnTo>
                    <a:pt x="247650" y="708025"/>
                  </a:lnTo>
                  <a:lnTo>
                    <a:pt x="250825" y="714375"/>
                  </a:lnTo>
                  <a:lnTo>
                    <a:pt x="244475" y="720725"/>
                  </a:lnTo>
                  <a:lnTo>
                    <a:pt x="228600" y="727075"/>
                  </a:lnTo>
                  <a:lnTo>
                    <a:pt x="219075" y="733425"/>
                  </a:lnTo>
                  <a:lnTo>
                    <a:pt x="206375" y="742950"/>
                  </a:lnTo>
                  <a:lnTo>
                    <a:pt x="209550" y="749300"/>
                  </a:lnTo>
                  <a:lnTo>
                    <a:pt x="212725" y="752475"/>
                  </a:lnTo>
                  <a:lnTo>
                    <a:pt x="203200" y="758825"/>
                  </a:lnTo>
                  <a:lnTo>
                    <a:pt x="187325" y="765175"/>
                  </a:lnTo>
                  <a:lnTo>
                    <a:pt x="180975" y="765175"/>
                  </a:lnTo>
                  <a:lnTo>
                    <a:pt x="177800" y="765175"/>
                  </a:lnTo>
                  <a:lnTo>
                    <a:pt x="165100" y="771525"/>
                  </a:lnTo>
                  <a:lnTo>
                    <a:pt x="161925" y="777875"/>
                  </a:lnTo>
                  <a:lnTo>
                    <a:pt x="155575" y="781050"/>
                  </a:lnTo>
                  <a:lnTo>
                    <a:pt x="142875" y="784225"/>
                  </a:lnTo>
                  <a:lnTo>
                    <a:pt x="136525" y="784225"/>
                  </a:lnTo>
                  <a:lnTo>
                    <a:pt x="133350" y="781050"/>
                  </a:lnTo>
                  <a:lnTo>
                    <a:pt x="130175" y="790575"/>
                  </a:lnTo>
                  <a:lnTo>
                    <a:pt x="127000" y="793750"/>
                  </a:lnTo>
                  <a:lnTo>
                    <a:pt x="114300" y="800100"/>
                  </a:lnTo>
                  <a:lnTo>
                    <a:pt x="104775" y="800100"/>
                  </a:lnTo>
                  <a:lnTo>
                    <a:pt x="101600" y="793750"/>
                  </a:lnTo>
                  <a:lnTo>
                    <a:pt x="114300" y="784225"/>
                  </a:lnTo>
                  <a:lnTo>
                    <a:pt x="117475" y="781050"/>
                  </a:lnTo>
                  <a:lnTo>
                    <a:pt x="123825" y="771525"/>
                  </a:lnTo>
                  <a:lnTo>
                    <a:pt x="146050" y="762000"/>
                  </a:lnTo>
                  <a:lnTo>
                    <a:pt x="152400" y="762000"/>
                  </a:lnTo>
                  <a:lnTo>
                    <a:pt x="158750" y="758825"/>
                  </a:lnTo>
                  <a:lnTo>
                    <a:pt x="168275" y="746125"/>
                  </a:lnTo>
                  <a:lnTo>
                    <a:pt x="180975" y="736600"/>
                  </a:lnTo>
                  <a:lnTo>
                    <a:pt x="193675" y="727075"/>
                  </a:lnTo>
                  <a:lnTo>
                    <a:pt x="200025" y="720725"/>
                  </a:lnTo>
                  <a:lnTo>
                    <a:pt x="206375" y="711200"/>
                  </a:lnTo>
                  <a:lnTo>
                    <a:pt x="212725" y="704850"/>
                  </a:lnTo>
                  <a:lnTo>
                    <a:pt x="222250" y="695325"/>
                  </a:lnTo>
                  <a:lnTo>
                    <a:pt x="222250" y="692150"/>
                  </a:lnTo>
                  <a:lnTo>
                    <a:pt x="222250" y="682625"/>
                  </a:lnTo>
                  <a:lnTo>
                    <a:pt x="225425" y="673100"/>
                  </a:lnTo>
                  <a:lnTo>
                    <a:pt x="225425" y="666750"/>
                  </a:lnTo>
                  <a:lnTo>
                    <a:pt x="238125" y="650875"/>
                  </a:lnTo>
                  <a:lnTo>
                    <a:pt x="234950" y="644525"/>
                  </a:lnTo>
                  <a:lnTo>
                    <a:pt x="231775" y="644525"/>
                  </a:lnTo>
                  <a:lnTo>
                    <a:pt x="228600" y="647700"/>
                  </a:lnTo>
                  <a:lnTo>
                    <a:pt x="212725" y="654050"/>
                  </a:lnTo>
                  <a:lnTo>
                    <a:pt x="209550" y="654050"/>
                  </a:lnTo>
                  <a:lnTo>
                    <a:pt x="203200" y="657225"/>
                  </a:lnTo>
                  <a:lnTo>
                    <a:pt x="200025" y="660400"/>
                  </a:lnTo>
                  <a:lnTo>
                    <a:pt x="190500" y="657225"/>
                  </a:lnTo>
                  <a:lnTo>
                    <a:pt x="177800" y="644525"/>
                  </a:lnTo>
                  <a:lnTo>
                    <a:pt x="171450" y="641350"/>
                  </a:lnTo>
                  <a:lnTo>
                    <a:pt x="165100" y="641350"/>
                  </a:lnTo>
                  <a:lnTo>
                    <a:pt x="152400" y="644525"/>
                  </a:lnTo>
                  <a:lnTo>
                    <a:pt x="142875" y="647700"/>
                  </a:lnTo>
                  <a:lnTo>
                    <a:pt x="142875" y="654050"/>
                  </a:lnTo>
                  <a:lnTo>
                    <a:pt x="139700" y="654050"/>
                  </a:lnTo>
                  <a:lnTo>
                    <a:pt x="130175" y="654050"/>
                  </a:lnTo>
                  <a:lnTo>
                    <a:pt x="133350" y="647700"/>
                  </a:lnTo>
                  <a:lnTo>
                    <a:pt x="136525" y="638175"/>
                  </a:lnTo>
                  <a:lnTo>
                    <a:pt x="130175" y="635000"/>
                  </a:lnTo>
                  <a:lnTo>
                    <a:pt x="130175" y="625475"/>
                  </a:lnTo>
                  <a:lnTo>
                    <a:pt x="133350" y="619125"/>
                  </a:lnTo>
                  <a:lnTo>
                    <a:pt x="133350" y="612775"/>
                  </a:lnTo>
                  <a:lnTo>
                    <a:pt x="123825" y="593725"/>
                  </a:lnTo>
                  <a:lnTo>
                    <a:pt x="111125" y="600075"/>
                  </a:lnTo>
                  <a:lnTo>
                    <a:pt x="92075" y="606425"/>
                  </a:lnTo>
                  <a:lnTo>
                    <a:pt x="82550" y="603250"/>
                  </a:lnTo>
                  <a:lnTo>
                    <a:pt x="69850" y="584200"/>
                  </a:lnTo>
                  <a:lnTo>
                    <a:pt x="60325" y="577850"/>
                  </a:lnTo>
                  <a:lnTo>
                    <a:pt x="57150" y="574675"/>
                  </a:lnTo>
                  <a:lnTo>
                    <a:pt x="60325" y="568325"/>
                  </a:lnTo>
                  <a:lnTo>
                    <a:pt x="66675" y="558800"/>
                  </a:lnTo>
                  <a:lnTo>
                    <a:pt x="57150" y="549275"/>
                  </a:lnTo>
                  <a:lnTo>
                    <a:pt x="50800" y="549275"/>
                  </a:lnTo>
                  <a:lnTo>
                    <a:pt x="41275" y="533400"/>
                  </a:lnTo>
                  <a:lnTo>
                    <a:pt x="41275" y="517525"/>
                  </a:lnTo>
                  <a:lnTo>
                    <a:pt x="47625" y="501650"/>
                  </a:lnTo>
                  <a:lnTo>
                    <a:pt x="57150" y="488950"/>
                  </a:lnTo>
                  <a:lnTo>
                    <a:pt x="63500" y="482600"/>
                  </a:lnTo>
                  <a:lnTo>
                    <a:pt x="76200" y="473075"/>
                  </a:lnTo>
                  <a:lnTo>
                    <a:pt x="69850" y="473075"/>
                  </a:lnTo>
                  <a:lnTo>
                    <a:pt x="79375" y="460375"/>
                  </a:lnTo>
                  <a:lnTo>
                    <a:pt x="73025" y="454025"/>
                  </a:lnTo>
                  <a:lnTo>
                    <a:pt x="79375" y="450850"/>
                  </a:lnTo>
                  <a:lnTo>
                    <a:pt x="88900" y="450850"/>
                  </a:lnTo>
                  <a:lnTo>
                    <a:pt x="92075" y="450850"/>
                  </a:lnTo>
                  <a:lnTo>
                    <a:pt x="88900" y="463550"/>
                  </a:lnTo>
                  <a:lnTo>
                    <a:pt x="98425" y="457200"/>
                  </a:lnTo>
                  <a:lnTo>
                    <a:pt x="111125" y="454025"/>
                  </a:lnTo>
                  <a:lnTo>
                    <a:pt x="111125" y="450850"/>
                  </a:lnTo>
                  <a:lnTo>
                    <a:pt x="114300" y="450850"/>
                  </a:lnTo>
                  <a:lnTo>
                    <a:pt x="117475" y="444500"/>
                  </a:lnTo>
                  <a:lnTo>
                    <a:pt x="123825" y="438150"/>
                  </a:lnTo>
                  <a:lnTo>
                    <a:pt x="130175" y="441325"/>
                  </a:lnTo>
                  <a:lnTo>
                    <a:pt x="142875" y="438150"/>
                  </a:lnTo>
                  <a:lnTo>
                    <a:pt x="152400" y="428625"/>
                  </a:lnTo>
                  <a:lnTo>
                    <a:pt x="152400" y="409575"/>
                  </a:lnTo>
                  <a:lnTo>
                    <a:pt x="149225" y="396875"/>
                  </a:lnTo>
                  <a:lnTo>
                    <a:pt x="149225" y="381000"/>
                  </a:lnTo>
                  <a:lnTo>
                    <a:pt x="146050" y="365125"/>
                  </a:lnTo>
                  <a:lnTo>
                    <a:pt x="130175" y="374650"/>
                  </a:lnTo>
                  <a:lnTo>
                    <a:pt x="117475" y="387350"/>
                  </a:lnTo>
                  <a:lnTo>
                    <a:pt x="111125" y="384175"/>
                  </a:lnTo>
                  <a:lnTo>
                    <a:pt x="104775" y="381000"/>
                  </a:lnTo>
                  <a:lnTo>
                    <a:pt x="92075" y="384175"/>
                  </a:lnTo>
                  <a:lnTo>
                    <a:pt x="79375" y="384175"/>
                  </a:lnTo>
                  <a:lnTo>
                    <a:pt x="66675" y="390525"/>
                  </a:lnTo>
                  <a:lnTo>
                    <a:pt x="53975" y="387350"/>
                  </a:lnTo>
                  <a:lnTo>
                    <a:pt x="31750" y="374650"/>
                  </a:lnTo>
                  <a:lnTo>
                    <a:pt x="28575" y="365125"/>
                  </a:lnTo>
                  <a:lnTo>
                    <a:pt x="22225" y="358775"/>
                  </a:lnTo>
                  <a:lnTo>
                    <a:pt x="12700" y="342900"/>
                  </a:lnTo>
                  <a:lnTo>
                    <a:pt x="0" y="333375"/>
                  </a:lnTo>
                  <a:lnTo>
                    <a:pt x="0" y="323850"/>
                  </a:lnTo>
                  <a:lnTo>
                    <a:pt x="25400" y="307975"/>
                  </a:lnTo>
                  <a:lnTo>
                    <a:pt x="57150" y="288925"/>
                  </a:lnTo>
                  <a:lnTo>
                    <a:pt x="76200" y="279400"/>
                  </a:lnTo>
                  <a:lnTo>
                    <a:pt x="95250" y="282575"/>
                  </a:lnTo>
                  <a:lnTo>
                    <a:pt x="82550" y="301625"/>
                  </a:lnTo>
                  <a:lnTo>
                    <a:pt x="114300" y="311150"/>
                  </a:lnTo>
                  <a:lnTo>
                    <a:pt x="133350" y="307975"/>
                  </a:lnTo>
                  <a:lnTo>
                    <a:pt x="139700" y="298450"/>
                  </a:lnTo>
                  <a:lnTo>
                    <a:pt x="146050" y="298450"/>
                  </a:lnTo>
                  <a:lnTo>
                    <a:pt x="142875" y="292100"/>
                  </a:lnTo>
                  <a:lnTo>
                    <a:pt x="139700" y="288925"/>
                  </a:lnTo>
                  <a:lnTo>
                    <a:pt x="127000" y="276225"/>
                  </a:lnTo>
                  <a:lnTo>
                    <a:pt x="111125" y="260350"/>
                  </a:lnTo>
                  <a:lnTo>
                    <a:pt x="101600" y="254000"/>
                  </a:lnTo>
                  <a:lnTo>
                    <a:pt x="95250" y="254000"/>
                  </a:lnTo>
                  <a:lnTo>
                    <a:pt x="92075" y="250825"/>
                  </a:lnTo>
                  <a:lnTo>
                    <a:pt x="88900" y="234950"/>
                  </a:lnTo>
                  <a:lnTo>
                    <a:pt x="69850" y="209550"/>
                  </a:lnTo>
                  <a:lnTo>
                    <a:pt x="69850" y="212725"/>
                  </a:lnTo>
                  <a:lnTo>
                    <a:pt x="28575" y="180975"/>
                  </a:lnTo>
                  <a:lnTo>
                    <a:pt x="31750" y="177800"/>
                  </a:lnTo>
                  <a:lnTo>
                    <a:pt x="38100" y="168275"/>
                  </a:lnTo>
                  <a:lnTo>
                    <a:pt x="38100" y="155575"/>
                  </a:lnTo>
                  <a:lnTo>
                    <a:pt x="44450" y="152400"/>
                  </a:lnTo>
                  <a:lnTo>
                    <a:pt x="73025" y="146050"/>
                  </a:lnTo>
                  <a:lnTo>
                    <a:pt x="98425" y="130175"/>
                  </a:lnTo>
                  <a:lnTo>
                    <a:pt x="104775" y="107950"/>
                  </a:lnTo>
                  <a:lnTo>
                    <a:pt x="111125" y="88900"/>
                  </a:lnTo>
                  <a:lnTo>
                    <a:pt x="127000" y="66675"/>
                  </a:lnTo>
                  <a:lnTo>
                    <a:pt x="130175" y="60325"/>
                  </a:lnTo>
                  <a:lnTo>
                    <a:pt x="136525" y="63500"/>
                  </a:lnTo>
                  <a:lnTo>
                    <a:pt x="142875" y="63500"/>
                  </a:lnTo>
                  <a:lnTo>
                    <a:pt x="152400" y="57150"/>
                  </a:lnTo>
                  <a:lnTo>
                    <a:pt x="190500" y="22225"/>
                  </a:lnTo>
                  <a:lnTo>
                    <a:pt x="190500" y="31750"/>
                  </a:lnTo>
                  <a:lnTo>
                    <a:pt x="215900" y="2540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2400">
                <a:solidFill>
                  <a:schemeClr val="lt1"/>
                </a:solidFill>
              </a:endParaRPr>
            </a:p>
          </p:txBody>
        </p:sp>
        <p:sp>
          <p:nvSpPr>
            <p:cNvPr id="57" name="Google Shape;506;p35">
              <a:extLst>
                <a:ext uri="{FF2B5EF4-FFF2-40B4-BE49-F238E27FC236}">
                  <a16:creationId xmlns:a16="http://schemas.microsoft.com/office/drawing/2014/main" id="{BBF7A537-A026-7A48-C543-23109F7DC319}"/>
                </a:ext>
              </a:extLst>
            </p:cNvPr>
            <p:cNvSpPr/>
            <p:nvPr/>
          </p:nvSpPr>
          <p:spPr>
            <a:xfrm>
              <a:off x="3138090" y="1602659"/>
              <a:ext cx="1717357" cy="2230279"/>
            </a:xfrm>
            <a:custGeom>
              <a:avLst/>
              <a:gdLst/>
              <a:ahLst/>
              <a:cxnLst/>
              <a:rect l="l" t="t" r="r" b="b"/>
              <a:pathLst>
                <a:path w="1908175" h="2478088" extrusionOk="0">
                  <a:moveTo>
                    <a:pt x="1663700" y="2320925"/>
                  </a:moveTo>
                  <a:lnTo>
                    <a:pt x="1663700" y="2327275"/>
                  </a:lnTo>
                  <a:lnTo>
                    <a:pt x="1666875" y="2336800"/>
                  </a:lnTo>
                  <a:lnTo>
                    <a:pt x="1670050" y="2336800"/>
                  </a:lnTo>
                  <a:lnTo>
                    <a:pt x="1676400" y="2336800"/>
                  </a:lnTo>
                  <a:lnTo>
                    <a:pt x="1695450" y="2336800"/>
                  </a:lnTo>
                  <a:lnTo>
                    <a:pt x="1708150" y="2336800"/>
                  </a:lnTo>
                  <a:lnTo>
                    <a:pt x="1698625" y="2343150"/>
                  </a:lnTo>
                  <a:lnTo>
                    <a:pt x="1695450" y="2349500"/>
                  </a:lnTo>
                  <a:lnTo>
                    <a:pt x="1695450" y="2352675"/>
                  </a:lnTo>
                  <a:lnTo>
                    <a:pt x="1676400" y="2346325"/>
                  </a:lnTo>
                  <a:lnTo>
                    <a:pt x="1657350" y="2333625"/>
                  </a:lnTo>
                  <a:lnTo>
                    <a:pt x="1657350" y="2324100"/>
                  </a:lnTo>
                  <a:close/>
                  <a:moveTo>
                    <a:pt x="1828800" y="2317750"/>
                  </a:moveTo>
                  <a:lnTo>
                    <a:pt x="1831975" y="2324100"/>
                  </a:lnTo>
                  <a:lnTo>
                    <a:pt x="1825625" y="2327275"/>
                  </a:lnTo>
                  <a:close/>
                  <a:moveTo>
                    <a:pt x="1739900" y="2317750"/>
                  </a:moveTo>
                  <a:lnTo>
                    <a:pt x="1743075" y="2324100"/>
                  </a:lnTo>
                  <a:lnTo>
                    <a:pt x="1743075" y="2339975"/>
                  </a:lnTo>
                  <a:lnTo>
                    <a:pt x="1752600" y="2343150"/>
                  </a:lnTo>
                  <a:lnTo>
                    <a:pt x="1752600" y="2349500"/>
                  </a:lnTo>
                  <a:lnTo>
                    <a:pt x="1743075" y="2359025"/>
                  </a:lnTo>
                  <a:lnTo>
                    <a:pt x="1730375" y="2362200"/>
                  </a:lnTo>
                  <a:lnTo>
                    <a:pt x="1720850" y="2359025"/>
                  </a:lnTo>
                  <a:lnTo>
                    <a:pt x="1717675" y="2349500"/>
                  </a:lnTo>
                  <a:lnTo>
                    <a:pt x="1727200" y="2336800"/>
                  </a:lnTo>
                  <a:lnTo>
                    <a:pt x="1730375" y="2327275"/>
                  </a:lnTo>
                  <a:lnTo>
                    <a:pt x="1733550" y="2320925"/>
                  </a:lnTo>
                  <a:close/>
                  <a:moveTo>
                    <a:pt x="1714500" y="2301875"/>
                  </a:moveTo>
                  <a:lnTo>
                    <a:pt x="1711325" y="2308225"/>
                  </a:lnTo>
                  <a:lnTo>
                    <a:pt x="1708150" y="2311400"/>
                  </a:lnTo>
                  <a:lnTo>
                    <a:pt x="1711325" y="2314575"/>
                  </a:lnTo>
                  <a:lnTo>
                    <a:pt x="1704975" y="2314575"/>
                  </a:lnTo>
                  <a:lnTo>
                    <a:pt x="1708150" y="2308225"/>
                  </a:lnTo>
                  <a:close/>
                  <a:moveTo>
                    <a:pt x="396875" y="2276475"/>
                  </a:moveTo>
                  <a:lnTo>
                    <a:pt x="396875" y="2282825"/>
                  </a:lnTo>
                  <a:lnTo>
                    <a:pt x="403225" y="2286000"/>
                  </a:lnTo>
                  <a:lnTo>
                    <a:pt x="403225" y="2292350"/>
                  </a:lnTo>
                  <a:lnTo>
                    <a:pt x="393700" y="2282825"/>
                  </a:lnTo>
                  <a:close/>
                  <a:moveTo>
                    <a:pt x="1660525" y="2225675"/>
                  </a:moveTo>
                  <a:lnTo>
                    <a:pt x="1673225" y="2228850"/>
                  </a:lnTo>
                  <a:lnTo>
                    <a:pt x="1704975" y="2244725"/>
                  </a:lnTo>
                  <a:lnTo>
                    <a:pt x="1711325" y="2251075"/>
                  </a:lnTo>
                  <a:lnTo>
                    <a:pt x="1704975" y="2254250"/>
                  </a:lnTo>
                  <a:lnTo>
                    <a:pt x="1701800" y="2254250"/>
                  </a:lnTo>
                  <a:lnTo>
                    <a:pt x="1673225" y="2244725"/>
                  </a:lnTo>
                  <a:lnTo>
                    <a:pt x="1651000" y="2228850"/>
                  </a:lnTo>
                  <a:close/>
                  <a:moveTo>
                    <a:pt x="1835150" y="2168525"/>
                  </a:moveTo>
                  <a:lnTo>
                    <a:pt x="1847850" y="2168525"/>
                  </a:lnTo>
                  <a:lnTo>
                    <a:pt x="1847850" y="2171700"/>
                  </a:lnTo>
                  <a:lnTo>
                    <a:pt x="1844675" y="2178050"/>
                  </a:lnTo>
                  <a:lnTo>
                    <a:pt x="1838325" y="2190750"/>
                  </a:lnTo>
                  <a:lnTo>
                    <a:pt x="1822450" y="2216150"/>
                  </a:lnTo>
                  <a:lnTo>
                    <a:pt x="1819275" y="2228850"/>
                  </a:lnTo>
                  <a:lnTo>
                    <a:pt x="1819275" y="2232025"/>
                  </a:lnTo>
                  <a:lnTo>
                    <a:pt x="1825625" y="2228850"/>
                  </a:lnTo>
                  <a:lnTo>
                    <a:pt x="1831975" y="2216150"/>
                  </a:lnTo>
                  <a:lnTo>
                    <a:pt x="1841500" y="2225675"/>
                  </a:lnTo>
                  <a:lnTo>
                    <a:pt x="1838325" y="2232025"/>
                  </a:lnTo>
                  <a:lnTo>
                    <a:pt x="1841500" y="2241550"/>
                  </a:lnTo>
                  <a:lnTo>
                    <a:pt x="1844675" y="2241550"/>
                  </a:lnTo>
                  <a:lnTo>
                    <a:pt x="1851025" y="2238375"/>
                  </a:lnTo>
                  <a:lnTo>
                    <a:pt x="1854200" y="2241550"/>
                  </a:lnTo>
                  <a:lnTo>
                    <a:pt x="1857375" y="2247900"/>
                  </a:lnTo>
                  <a:lnTo>
                    <a:pt x="1863725" y="2241550"/>
                  </a:lnTo>
                  <a:lnTo>
                    <a:pt x="1866900" y="2238375"/>
                  </a:lnTo>
                  <a:lnTo>
                    <a:pt x="1873250" y="2241550"/>
                  </a:lnTo>
                  <a:lnTo>
                    <a:pt x="1879600" y="2241550"/>
                  </a:lnTo>
                  <a:lnTo>
                    <a:pt x="1885950" y="2244725"/>
                  </a:lnTo>
                  <a:lnTo>
                    <a:pt x="1889125" y="2247900"/>
                  </a:lnTo>
                  <a:lnTo>
                    <a:pt x="1889125" y="2251075"/>
                  </a:lnTo>
                  <a:lnTo>
                    <a:pt x="1882775" y="2257425"/>
                  </a:lnTo>
                  <a:lnTo>
                    <a:pt x="1879600" y="2260600"/>
                  </a:lnTo>
                  <a:lnTo>
                    <a:pt x="1882775" y="2263775"/>
                  </a:lnTo>
                  <a:lnTo>
                    <a:pt x="1882775" y="2273300"/>
                  </a:lnTo>
                  <a:lnTo>
                    <a:pt x="1895475" y="2266950"/>
                  </a:lnTo>
                  <a:lnTo>
                    <a:pt x="1898650" y="2266950"/>
                  </a:lnTo>
                  <a:lnTo>
                    <a:pt x="1898650" y="2273300"/>
                  </a:lnTo>
                  <a:lnTo>
                    <a:pt x="1889125" y="2279650"/>
                  </a:lnTo>
                  <a:lnTo>
                    <a:pt x="1885950" y="2282825"/>
                  </a:lnTo>
                  <a:lnTo>
                    <a:pt x="1882775" y="2282825"/>
                  </a:lnTo>
                  <a:lnTo>
                    <a:pt x="1879600" y="2282825"/>
                  </a:lnTo>
                  <a:lnTo>
                    <a:pt x="1879600" y="2292350"/>
                  </a:lnTo>
                  <a:lnTo>
                    <a:pt x="1889125" y="2301875"/>
                  </a:lnTo>
                  <a:lnTo>
                    <a:pt x="1889125" y="2298700"/>
                  </a:lnTo>
                  <a:lnTo>
                    <a:pt x="1892300" y="2289175"/>
                  </a:lnTo>
                  <a:lnTo>
                    <a:pt x="1898650" y="2286000"/>
                  </a:lnTo>
                  <a:lnTo>
                    <a:pt x="1901825" y="2286000"/>
                  </a:lnTo>
                  <a:lnTo>
                    <a:pt x="1898650" y="2292350"/>
                  </a:lnTo>
                  <a:lnTo>
                    <a:pt x="1895475" y="2298700"/>
                  </a:lnTo>
                  <a:lnTo>
                    <a:pt x="1895475" y="2305050"/>
                  </a:lnTo>
                  <a:lnTo>
                    <a:pt x="1901825" y="2305050"/>
                  </a:lnTo>
                  <a:lnTo>
                    <a:pt x="1905000" y="2298700"/>
                  </a:lnTo>
                  <a:lnTo>
                    <a:pt x="1905000" y="2295525"/>
                  </a:lnTo>
                  <a:lnTo>
                    <a:pt x="1908175" y="2308225"/>
                  </a:lnTo>
                  <a:lnTo>
                    <a:pt x="1905000" y="2320925"/>
                  </a:lnTo>
                  <a:lnTo>
                    <a:pt x="1901825" y="2327275"/>
                  </a:lnTo>
                  <a:lnTo>
                    <a:pt x="1895475" y="2333625"/>
                  </a:lnTo>
                  <a:lnTo>
                    <a:pt x="1889125" y="2333625"/>
                  </a:lnTo>
                  <a:lnTo>
                    <a:pt x="1876425" y="2327275"/>
                  </a:lnTo>
                  <a:lnTo>
                    <a:pt x="1879600" y="2314575"/>
                  </a:lnTo>
                  <a:lnTo>
                    <a:pt x="1879600" y="2298700"/>
                  </a:lnTo>
                  <a:lnTo>
                    <a:pt x="1876425" y="2292350"/>
                  </a:lnTo>
                  <a:lnTo>
                    <a:pt x="1870075" y="2301875"/>
                  </a:lnTo>
                  <a:lnTo>
                    <a:pt x="1860550" y="2311400"/>
                  </a:lnTo>
                  <a:lnTo>
                    <a:pt x="1854200" y="2317750"/>
                  </a:lnTo>
                  <a:lnTo>
                    <a:pt x="1851025" y="2324100"/>
                  </a:lnTo>
                  <a:lnTo>
                    <a:pt x="1841500" y="2324100"/>
                  </a:lnTo>
                  <a:lnTo>
                    <a:pt x="1838325" y="2317750"/>
                  </a:lnTo>
                  <a:lnTo>
                    <a:pt x="1847850" y="2317750"/>
                  </a:lnTo>
                  <a:lnTo>
                    <a:pt x="1860550" y="2301875"/>
                  </a:lnTo>
                  <a:lnTo>
                    <a:pt x="1857375" y="2301875"/>
                  </a:lnTo>
                  <a:lnTo>
                    <a:pt x="1847850" y="2298700"/>
                  </a:lnTo>
                  <a:lnTo>
                    <a:pt x="1847850" y="2305050"/>
                  </a:lnTo>
                  <a:lnTo>
                    <a:pt x="1844675" y="2305050"/>
                  </a:lnTo>
                  <a:lnTo>
                    <a:pt x="1841500" y="2301875"/>
                  </a:lnTo>
                  <a:lnTo>
                    <a:pt x="1838325" y="2295525"/>
                  </a:lnTo>
                  <a:lnTo>
                    <a:pt x="1831975" y="2301875"/>
                  </a:lnTo>
                  <a:lnTo>
                    <a:pt x="1825625" y="2301875"/>
                  </a:lnTo>
                  <a:lnTo>
                    <a:pt x="1816100" y="2305050"/>
                  </a:lnTo>
                  <a:lnTo>
                    <a:pt x="1809750" y="2301875"/>
                  </a:lnTo>
                  <a:lnTo>
                    <a:pt x="1806575" y="2298700"/>
                  </a:lnTo>
                  <a:lnTo>
                    <a:pt x="1784350" y="2301875"/>
                  </a:lnTo>
                  <a:lnTo>
                    <a:pt x="1765300" y="2301875"/>
                  </a:lnTo>
                  <a:lnTo>
                    <a:pt x="1762125" y="2292350"/>
                  </a:lnTo>
                  <a:lnTo>
                    <a:pt x="1771650" y="2282825"/>
                  </a:lnTo>
                  <a:lnTo>
                    <a:pt x="1781175" y="2276475"/>
                  </a:lnTo>
                  <a:lnTo>
                    <a:pt x="1778000" y="2270125"/>
                  </a:lnTo>
                  <a:lnTo>
                    <a:pt x="1784350" y="2251075"/>
                  </a:lnTo>
                  <a:lnTo>
                    <a:pt x="1787525" y="2247900"/>
                  </a:lnTo>
                  <a:lnTo>
                    <a:pt x="1787525" y="2241550"/>
                  </a:lnTo>
                  <a:lnTo>
                    <a:pt x="1793875" y="2235200"/>
                  </a:lnTo>
                  <a:lnTo>
                    <a:pt x="1797050" y="2225675"/>
                  </a:lnTo>
                  <a:lnTo>
                    <a:pt x="1803400" y="2206625"/>
                  </a:lnTo>
                  <a:lnTo>
                    <a:pt x="1812925" y="2190750"/>
                  </a:lnTo>
                  <a:lnTo>
                    <a:pt x="1822450" y="2178050"/>
                  </a:lnTo>
                  <a:close/>
                  <a:moveTo>
                    <a:pt x="279400" y="2149475"/>
                  </a:moveTo>
                  <a:lnTo>
                    <a:pt x="282575" y="2149475"/>
                  </a:lnTo>
                  <a:lnTo>
                    <a:pt x="279400" y="2152650"/>
                  </a:lnTo>
                  <a:close/>
                  <a:moveTo>
                    <a:pt x="196850" y="2114550"/>
                  </a:moveTo>
                  <a:lnTo>
                    <a:pt x="203200" y="2117725"/>
                  </a:lnTo>
                  <a:lnTo>
                    <a:pt x="209550" y="2146300"/>
                  </a:lnTo>
                  <a:lnTo>
                    <a:pt x="212725" y="2146300"/>
                  </a:lnTo>
                  <a:lnTo>
                    <a:pt x="215900" y="2149475"/>
                  </a:lnTo>
                  <a:lnTo>
                    <a:pt x="209550" y="2152650"/>
                  </a:lnTo>
                  <a:lnTo>
                    <a:pt x="193675" y="2130425"/>
                  </a:lnTo>
                  <a:lnTo>
                    <a:pt x="187325" y="2117725"/>
                  </a:lnTo>
                  <a:close/>
                  <a:moveTo>
                    <a:pt x="1276350" y="2111375"/>
                  </a:moveTo>
                  <a:lnTo>
                    <a:pt x="1295400" y="2111375"/>
                  </a:lnTo>
                  <a:lnTo>
                    <a:pt x="1301750" y="2130425"/>
                  </a:lnTo>
                  <a:lnTo>
                    <a:pt x="1292225" y="2127250"/>
                  </a:lnTo>
                  <a:lnTo>
                    <a:pt x="1279525" y="2120900"/>
                  </a:lnTo>
                  <a:lnTo>
                    <a:pt x="1273175" y="2117725"/>
                  </a:lnTo>
                  <a:close/>
                  <a:moveTo>
                    <a:pt x="257175" y="2111375"/>
                  </a:moveTo>
                  <a:lnTo>
                    <a:pt x="260350" y="2111375"/>
                  </a:lnTo>
                  <a:lnTo>
                    <a:pt x="266700" y="2127250"/>
                  </a:lnTo>
                  <a:lnTo>
                    <a:pt x="266700" y="2136775"/>
                  </a:lnTo>
                  <a:lnTo>
                    <a:pt x="260350" y="2136775"/>
                  </a:lnTo>
                  <a:lnTo>
                    <a:pt x="254000" y="2124075"/>
                  </a:lnTo>
                  <a:close/>
                  <a:moveTo>
                    <a:pt x="225425" y="2098675"/>
                  </a:moveTo>
                  <a:lnTo>
                    <a:pt x="228600" y="2098675"/>
                  </a:lnTo>
                  <a:lnTo>
                    <a:pt x="238125" y="2105025"/>
                  </a:lnTo>
                  <a:lnTo>
                    <a:pt x="241300" y="2114550"/>
                  </a:lnTo>
                  <a:lnTo>
                    <a:pt x="228600" y="2105025"/>
                  </a:lnTo>
                  <a:close/>
                  <a:moveTo>
                    <a:pt x="257175" y="2095500"/>
                  </a:moveTo>
                  <a:lnTo>
                    <a:pt x="263525" y="2095500"/>
                  </a:lnTo>
                  <a:lnTo>
                    <a:pt x="257175" y="2105025"/>
                  </a:lnTo>
                  <a:close/>
                  <a:moveTo>
                    <a:pt x="231775" y="2089150"/>
                  </a:moveTo>
                  <a:lnTo>
                    <a:pt x="234950" y="2089150"/>
                  </a:lnTo>
                  <a:lnTo>
                    <a:pt x="244475" y="2098675"/>
                  </a:lnTo>
                  <a:lnTo>
                    <a:pt x="250825" y="2108200"/>
                  </a:lnTo>
                  <a:lnTo>
                    <a:pt x="247650" y="2114550"/>
                  </a:lnTo>
                  <a:lnTo>
                    <a:pt x="241300" y="2108200"/>
                  </a:lnTo>
                  <a:lnTo>
                    <a:pt x="234950" y="2098675"/>
                  </a:lnTo>
                  <a:close/>
                  <a:moveTo>
                    <a:pt x="171450" y="2076450"/>
                  </a:moveTo>
                  <a:lnTo>
                    <a:pt x="174625" y="2076450"/>
                  </a:lnTo>
                  <a:lnTo>
                    <a:pt x="190500" y="2079625"/>
                  </a:lnTo>
                  <a:lnTo>
                    <a:pt x="196850" y="2082800"/>
                  </a:lnTo>
                  <a:lnTo>
                    <a:pt x="203200" y="2079625"/>
                  </a:lnTo>
                  <a:lnTo>
                    <a:pt x="200025" y="2095500"/>
                  </a:lnTo>
                  <a:lnTo>
                    <a:pt x="193675" y="2111375"/>
                  </a:lnTo>
                  <a:lnTo>
                    <a:pt x="177800" y="2108200"/>
                  </a:lnTo>
                  <a:lnTo>
                    <a:pt x="171450" y="2089150"/>
                  </a:lnTo>
                  <a:close/>
                  <a:moveTo>
                    <a:pt x="1336675" y="1987550"/>
                  </a:moveTo>
                  <a:lnTo>
                    <a:pt x="1336675" y="1993900"/>
                  </a:lnTo>
                  <a:lnTo>
                    <a:pt x="1330325" y="2000250"/>
                  </a:lnTo>
                  <a:lnTo>
                    <a:pt x="1320800" y="2012950"/>
                  </a:lnTo>
                  <a:lnTo>
                    <a:pt x="1320800" y="2006600"/>
                  </a:lnTo>
                  <a:lnTo>
                    <a:pt x="1323975" y="2000250"/>
                  </a:lnTo>
                  <a:close/>
                  <a:moveTo>
                    <a:pt x="1327150" y="1987550"/>
                  </a:moveTo>
                  <a:lnTo>
                    <a:pt x="1323975" y="1997075"/>
                  </a:lnTo>
                  <a:lnTo>
                    <a:pt x="1314450" y="2000250"/>
                  </a:lnTo>
                  <a:lnTo>
                    <a:pt x="1320800" y="1993900"/>
                  </a:lnTo>
                  <a:close/>
                  <a:moveTo>
                    <a:pt x="1577975" y="1822450"/>
                  </a:moveTo>
                  <a:lnTo>
                    <a:pt x="1577975" y="1828800"/>
                  </a:lnTo>
                  <a:lnTo>
                    <a:pt x="1568450" y="1835150"/>
                  </a:lnTo>
                  <a:lnTo>
                    <a:pt x="1568450" y="1825625"/>
                  </a:lnTo>
                  <a:close/>
                  <a:moveTo>
                    <a:pt x="1631950" y="1771650"/>
                  </a:moveTo>
                  <a:lnTo>
                    <a:pt x="1635125" y="1771650"/>
                  </a:lnTo>
                  <a:lnTo>
                    <a:pt x="1647825" y="1771650"/>
                  </a:lnTo>
                  <a:lnTo>
                    <a:pt x="1647825" y="1781175"/>
                  </a:lnTo>
                  <a:lnTo>
                    <a:pt x="1644650" y="1787525"/>
                  </a:lnTo>
                  <a:lnTo>
                    <a:pt x="1631950" y="1774825"/>
                  </a:lnTo>
                  <a:close/>
                  <a:moveTo>
                    <a:pt x="1327150" y="1736725"/>
                  </a:moveTo>
                  <a:lnTo>
                    <a:pt x="1333500" y="1746250"/>
                  </a:lnTo>
                  <a:lnTo>
                    <a:pt x="1327150" y="1765300"/>
                  </a:lnTo>
                  <a:lnTo>
                    <a:pt x="1320800" y="1768475"/>
                  </a:lnTo>
                  <a:lnTo>
                    <a:pt x="1314450" y="1762125"/>
                  </a:lnTo>
                  <a:lnTo>
                    <a:pt x="1314450" y="1749425"/>
                  </a:lnTo>
                  <a:lnTo>
                    <a:pt x="1320800" y="1739900"/>
                  </a:lnTo>
                  <a:close/>
                  <a:moveTo>
                    <a:pt x="1647825" y="1730375"/>
                  </a:moveTo>
                  <a:lnTo>
                    <a:pt x="1654175" y="1730375"/>
                  </a:lnTo>
                  <a:lnTo>
                    <a:pt x="1644650" y="1736725"/>
                  </a:lnTo>
                  <a:lnTo>
                    <a:pt x="1641475" y="1736725"/>
                  </a:lnTo>
                  <a:lnTo>
                    <a:pt x="1644650" y="1733550"/>
                  </a:lnTo>
                  <a:close/>
                  <a:moveTo>
                    <a:pt x="1508125" y="1714500"/>
                  </a:moveTo>
                  <a:lnTo>
                    <a:pt x="1520825" y="1720850"/>
                  </a:lnTo>
                  <a:lnTo>
                    <a:pt x="1527175" y="1730375"/>
                  </a:lnTo>
                  <a:lnTo>
                    <a:pt x="1517650" y="1730375"/>
                  </a:lnTo>
                  <a:lnTo>
                    <a:pt x="1508125" y="1720850"/>
                  </a:lnTo>
                  <a:close/>
                  <a:moveTo>
                    <a:pt x="1273175" y="1711325"/>
                  </a:moveTo>
                  <a:lnTo>
                    <a:pt x="1276350" y="1714500"/>
                  </a:lnTo>
                  <a:lnTo>
                    <a:pt x="1276350" y="1724025"/>
                  </a:lnTo>
                  <a:lnTo>
                    <a:pt x="1266825" y="1730375"/>
                  </a:lnTo>
                  <a:lnTo>
                    <a:pt x="1257300" y="1743075"/>
                  </a:lnTo>
                  <a:lnTo>
                    <a:pt x="1241425" y="1749425"/>
                  </a:lnTo>
                  <a:lnTo>
                    <a:pt x="1238250" y="1746250"/>
                  </a:lnTo>
                  <a:lnTo>
                    <a:pt x="1231900" y="1736725"/>
                  </a:lnTo>
                  <a:lnTo>
                    <a:pt x="1238250" y="1727200"/>
                  </a:lnTo>
                  <a:lnTo>
                    <a:pt x="1241425" y="1717675"/>
                  </a:lnTo>
                  <a:lnTo>
                    <a:pt x="1250950" y="1717675"/>
                  </a:lnTo>
                  <a:lnTo>
                    <a:pt x="1260475" y="1714500"/>
                  </a:lnTo>
                  <a:close/>
                  <a:moveTo>
                    <a:pt x="1349375" y="1689100"/>
                  </a:moveTo>
                  <a:lnTo>
                    <a:pt x="1371600" y="1698625"/>
                  </a:lnTo>
                  <a:lnTo>
                    <a:pt x="1358900" y="1704975"/>
                  </a:lnTo>
                  <a:lnTo>
                    <a:pt x="1352550" y="1695450"/>
                  </a:lnTo>
                  <a:close/>
                  <a:moveTo>
                    <a:pt x="1654175" y="1679575"/>
                  </a:moveTo>
                  <a:lnTo>
                    <a:pt x="1657350" y="1679575"/>
                  </a:lnTo>
                  <a:lnTo>
                    <a:pt x="1663700" y="1695450"/>
                  </a:lnTo>
                  <a:lnTo>
                    <a:pt x="1654175" y="1685925"/>
                  </a:lnTo>
                  <a:close/>
                  <a:moveTo>
                    <a:pt x="1371600" y="1679575"/>
                  </a:moveTo>
                  <a:lnTo>
                    <a:pt x="1390650" y="1685925"/>
                  </a:lnTo>
                  <a:lnTo>
                    <a:pt x="1390650" y="1689100"/>
                  </a:lnTo>
                  <a:lnTo>
                    <a:pt x="1381125" y="1689100"/>
                  </a:lnTo>
                  <a:close/>
                  <a:moveTo>
                    <a:pt x="1196975" y="1562100"/>
                  </a:moveTo>
                  <a:lnTo>
                    <a:pt x="1203325" y="1568450"/>
                  </a:lnTo>
                  <a:lnTo>
                    <a:pt x="1209675" y="1577975"/>
                  </a:lnTo>
                  <a:lnTo>
                    <a:pt x="1212850" y="1584325"/>
                  </a:lnTo>
                  <a:lnTo>
                    <a:pt x="1222375" y="1593850"/>
                  </a:lnTo>
                  <a:lnTo>
                    <a:pt x="1247775" y="1612900"/>
                  </a:lnTo>
                  <a:lnTo>
                    <a:pt x="1257300" y="1622425"/>
                  </a:lnTo>
                  <a:lnTo>
                    <a:pt x="1270000" y="1625600"/>
                  </a:lnTo>
                  <a:lnTo>
                    <a:pt x="1279525" y="1638300"/>
                  </a:lnTo>
                  <a:lnTo>
                    <a:pt x="1282700" y="1651000"/>
                  </a:lnTo>
                  <a:lnTo>
                    <a:pt x="1279525" y="1657350"/>
                  </a:lnTo>
                  <a:lnTo>
                    <a:pt x="1276350" y="1657350"/>
                  </a:lnTo>
                  <a:lnTo>
                    <a:pt x="1276350" y="1660525"/>
                  </a:lnTo>
                  <a:lnTo>
                    <a:pt x="1295400" y="1657350"/>
                  </a:lnTo>
                  <a:lnTo>
                    <a:pt x="1295400" y="1654175"/>
                  </a:lnTo>
                  <a:lnTo>
                    <a:pt x="1301750" y="1657350"/>
                  </a:lnTo>
                  <a:lnTo>
                    <a:pt x="1314450" y="1670050"/>
                  </a:lnTo>
                  <a:lnTo>
                    <a:pt x="1295400" y="1685925"/>
                  </a:lnTo>
                  <a:lnTo>
                    <a:pt x="1282700" y="1682750"/>
                  </a:lnTo>
                  <a:lnTo>
                    <a:pt x="1270000" y="1676400"/>
                  </a:lnTo>
                  <a:lnTo>
                    <a:pt x="1263650" y="1676400"/>
                  </a:lnTo>
                  <a:lnTo>
                    <a:pt x="1263650" y="1670050"/>
                  </a:lnTo>
                  <a:lnTo>
                    <a:pt x="1260475" y="1660525"/>
                  </a:lnTo>
                  <a:lnTo>
                    <a:pt x="1254125" y="1654175"/>
                  </a:lnTo>
                  <a:lnTo>
                    <a:pt x="1241425" y="1654175"/>
                  </a:lnTo>
                  <a:lnTo>
                    <a:pt x="1238250" y="1657350"/>
                  </a:lnTo>
                  <a:lnTo>
                    <a:pt x="1238250" y="1663700"/>
                  </a:lnTo>
                  <a:lnTo>
                    <a:pt x="1238250" y="1673225"/>
                  </a:lnTo>
                  <a:lnTo>
                    <a:pt x="1228725" y="1682750"/>
                  </a:lnTo>
                  <a:lnTo>
                    <a:pt x="1206500" y="1701800"/>
                  </a:lnTo>
                  <a:lnTo>
                    <a:pt x="1196975" y="1701800"/>
                  </a:lnTo>
                  <a:lnTo>
                    <a:pt x="1193800" y="1673225"/>
                  </a:lnTo>
                  <a:lnTo>
                    <a:pt x="1181100" y="1679575"/>
                  </a:lnTo>
                  <a:lnTo>
                    <a:pt x="1162050" y="1682750"/>
                  </a:lnTo>
                  <a:lnTo>
                    <a:pt x="1168400" y="1666875"/>
                  </a:lnTo>
                  <a:lnTo>
                    <a:pt x="1171575" y="1660525"/>
                  </a:lnTo>
                  <a:lnTo>
                    <a:pt x="1181100" y="1651000"/>
                  </a:lnTo>
                  <a:lnTo>
                    <a:pt x="1181100" y="1638300"/>
                  </a:lnTo>
                  <a:lnTo>
                    <a:pt x="1181100" y="1622425"/>
                  </a:lnTo>
                  <a:lnTo>
                    <a:pt x="1184275" y="1609725"/>
                  </a:lnTo>
                  <a:lnTo>
                    <a:pt x="1184275" y="1597025"/>
                  </a:lnTo>
                  <a:close/>
                  <a:moveTo>
                    <a:pt x="1212850" y="1558925"/>
                  </a:moveTo>
                  <a:lnTo>
                    <a:pt x="1219200" y="1574800"/>
                  </a:lnTo>
                  <a:lnTo>
                    <a:pt x="1212850" y="1581150"/>
                  </a:lnTo>
                  <a:lnTo>
                    <a:pt x="1206500" y="1565275"/>
                  </a:lnTo>
                  <a:close/>
                  <a:moveTo>
                    <a:pt x="1222375" y="1552575"/>
                  </a:moveTo>
                  <a:lnTo>
                    <a:pt x="1231900" y="1558925"/>
                  </a:lnTo>
                  <a:lnTo>
                    <a:pt x="1244600" y="1571625"/>
                  </a:lnTo>
                  <a:lnTo>
                    <a:pt x="1241425" y="1577975"/>
                  </a:lnTo>
                  <a:lnTo>
                    <a:pt x="1235075" y="1577975"/>
                  </a:lnTo>
                  <a:lnTo>
                    <a:pt x="1238250" y="1571625"/>
                  </a:lnTo>
                  <a:lnTo>
                    <a:pt x="1231900" y="1568450"/>
                  </a:lnTo>
                  <a:lnTo>
                    <a:pt x="1228725" y="1565275"/>
                  </a:lnTo>
                  <a:lnTo>
                    <a:pt x="1222375" y="1558925"/>
                  </a:lnTo>
                  <a:close/>
                  <a:moveTo>
                    <a:pt x="1441450" y="1441450"/>
                  </a:moveTo>
                  <a:lnTo>
                    <a:pt x="1454150" y="1447800"/>
                  </a:lnTo>
                  <a:lnTo>
                    <a:pt x="1460500" y="1450975"/>
                  </a:lnTo>
                  <a:lnTo>
                    <a:pt x="1460500" y="1463675"/>
                  </a:lnTo>
                  <a:lnTo>
                    <a:pt x="1447800" y="1460500"/>
                  </a:lnTo>
                  <a:lnTo>
                    <a:pt x="1431925" y="1454150"/>
                  </a:lnTo>
                  <a:close/>
                  <a:moveTo>
                    <a:pt x="1171575" y="1431925"/>
                  </a:moveTo>
                  <a:lnTo>
                    <a:pt x="1177925" y="1438275"/>
                  </a:lnTo>
                  <a:lnTo>
                    <a:pt x="1177925" y="1460500"/>
                  </a:lnTo>
                  <a:lnTo>
                    <a:pt x="1168400" y="1454150"/>
                  </a:lnTo>
                  <a:close/>
                  <a:moveTo>
                    <a:pt x="1406525" y="1428750"/>
                  </a:moveTo>
                  <a:lnTo>
                    <a:pt x="1419225" y="1431925"/>
                  </a:lnTo>
                  <a:lnTo>
                    <a:pt x="1425575" y="1441450"/>
                  </a:lnTo>
                  <a:lnTo>
                    <a:pt x="1422400" y="1457325"/>
                  </a:lnTo>
                  <a:lnTo>
                    <a:pt x="1425575" y="1476375"/>
                  </a:lnTo>
                  <a:lnTo>
                    <a:pt x="1412875" y="1485900"/>
                  </a:lnTo>
                  <a:lnTo>
                    <a:pt x="1397000" y="1492250"/>
                  </a:lnTo>
                  <a:lnTo>
                    <a:pt x="1384300" y="1492250"/>
                  </a:lnTo>
                  <a:lnTo>
                    <a:pt x="1381125" y="1489075"/>
                  </a:lnTo>
                  <a:lnTo>
                    <a:pt x="1377950" y="1479550"/>
                  </a:lnTo>
                  <a:lnTo>
                    <a:pt x="1374775" y="1466850"/>
                  </a:lnTo>
                  <a:lnTo>
                    <a:pt x="1377950" y="1457325"/>
                  </a:lnTo>
                  <a:lnTo>
                    <a:pt x="1387475" y="1435100"/>
                  </a:lnTo>
                  <a:close/>
                  <a:moveTo>
                    <a:pt x="777875" y="1416050"/>
                  </a:moveTo>
                  <a:lnTo>
                    <a:pt x="784225" y="1416050"/>
                  </a:lnTo>
                  <a:lnTo>
                    <a:pt x="787400" y="1425575"/>
                  </a:lnTo>
                  <a:close/>
                  <a:moveTo>
                    <a:pt x="1343025" y="1409700"/>
                  </a:moveTo>
                  <a:lnTo>
                    <a:pt x="1349375" y="1412875"/>
                  </a:lnTo>
                  <a:lnTo>
                    <a:pt x="1346200" y="1419225"/>
                  </a:lnTo>
                  <a:lnTo>
                    <a:pt x="1343025" y="1422400"/>
                  </a:lnTo>
                  <a:lnTo>
                    <a:pt x="1339850" y="1419225"/>
                  </a:lnTo>
                  <a:close/>
                  <a:moveTo>
                    <a:pt x="1419225" y="1406525"/>
                  </a:moveTo>
                  <a:lnTo>
                    <a:pt x="1428750" y="1419225"/>
                  </a:lnTo>
                  <a:lnTo>
                    <a:pt x="1428750" y="1428750"/>
                  </a:lnTo>
                  <a:lnTo>
                    <a:pt x="1425575" y="1428750"/>
                  </a:lnTo>
                  <a:lnTo>
                    <a:pt x="1416050" y="1419225"/>
                  </a:lnTo>
                  <a:close/>
                  <a:moveTo>
                    <a:pt x="841375" y="1400175"/>
                  </a:moveTo>
                  <a:lnTo>
                    <a:pt x="847725" y="1403350"/>
                  </a:lnTo>
                  <a:lnTo>
                    <a:pt x="835025" y="1409700"/>
                  </a:lnTo>
                  <a:close/>
                  <a:moveTo>
                    <a:pt x="873125" y="1387475"/>
                  </a:moveTo>
                  <a:lnTo>
                    <a:pt x="879475" y="1390650"/>
                  </a:lnTo>
                  <a:lnTo>
                    <a:pt x="882650" y="1403350"/>
                  </a:lnTo>
                  <a:lnTo>
                    <a:pt x="873125" y="1403350"/>
                  </a:lnTo>
                  <a:close/>
                  <a:moveTo>
                    <a:pt x="1349375" y="1365250"/>
                  </a:moveTo>
                  <a:lnTo>
                    <a:pt x="1355725" y="1371600"/>
                  </a:lnTo>
                  <a:lnTo>
                    <a:pt x="1349375" y="1387475"/>
                  </a:lnTo>
                  <a:lnTo>
                    <a:pt x="1333500" y="1400175"/>
                  </a:lnTo>
                  <a:lnTo>
                    <a:pt x="1330325" y="1393825"/>
                  </a:lnTo>
                  <a:lnTo>
                    <a:pt x="1336675" y="1384300"/>
                  </a:lnTo>
                  <a:close/>
                  <a:moveTo>
                    <a:pt x="1381125" y="1362075"/>
                  </a:moveTo>
                  <a:lnTo>
                    <a:pt x="1387475" y="1365250"/>
                  </a:lnTo>
                  <a:lnTo>
                    <a:pt x="1387475" y="1374775"/>
                  </a:lnTo>
                  <a:lnTo>
                    <a:pt x="1377950" y="1381125"/>
                  </a:lnTo>
                  <a:lnTo>
                    <a:pt x="1374775" y="1371600"/>
                  </a:lnTo>
                  <a:close/>
                  <a:moveTo>
                    <a:pt x="974725" y="1358900"/>
                  </a:moveTo>
                  <a:lnTo>
                    <a:pt x="977900" y="1362075"/>
                  </a:lnTo>
                  <a:lnTo>
                    <a:pt x="974725" y="1365250"/>
                  </a:lnTo>
                  <a:close/>
                  <a:moveTo>
                    <a:pt x="955675" y="1355725"/>
                  </a:moveTo>
                  <a:lnTo>
                    <a:pt x="965200" y="1355725"/>
                  </a:lnTo>
                  <a:lnTo>
                    <a:pt x="968375" y="1355725"/>
                  </a:lnTo>
                  <a:lnTo>
                    <a:pt x="968375" y="1368425"/>
                  </a:lnTo>
                  <a:lnTo>
                    <a:pt x="965200" y="1368425"/>
                  </a:lnTo>
                  <a:close/>
                  <a:moveTo>
                    <a:pt x="152400" y="1355725"/>
                  </a:moveTo>
                  <a:lnTo>
                    <a:pt x="155575" y="1355725"/>
                  </a:lnTo>
                  <a:lnTo>
                    <a:pt x="155575" y="1362075"/>
                  </a:lnTo>
                  <a:lnTo>
                    <a:pt x="146050" y="1374775"/>
                  </a:lnTo>
                  <a:lnTo>
                    <a:pt x="136525" y="1384300"/>
                  </a:lnTo>
                  <a:lnTo>
                    <a:pt x="120650" y="1390650"/>
                  </a:lnTo>
                  <a:lnTo>
                    <a:pt x="111125" y="1384300"/>
                  </a:lnTo>
                  <a:lnTo>
                    <a:pt x="111125" y="1374775"/>
                  </a:lnTo>
                  <a:lnTo>
                    <a:pt x="114300" y="1368425"/>
                  </a:lnTo>
                  <a:lnTo>
                    <a:pt x="130175" y="1362075"/>
                  </a:lnTo>
                  <a:lnTo>
                    <a:pt x="139700" y="1358900"/>
                  </a:lnTo>
                  <a:close/>
                  <a:moveTo>
                    <a:pt x="974725" y="1352550"/>
                  </a:moveTo>
                  <a:lnTo>
                    <a:pt x="984250" y="1355725"/>
                  </a:lnTo>
                  <a:lnTo>
                    <a:pt x="984250" y="1362075"/>
                  </a:lnTo>
                  <a:lnTo>
                    <a:pt x="981075" y="1371600"/>
                  </a:lnTo>
                  <a:lnTo>
                    <a:pt x="977900" y="1371600"/>
                  </a:lnTo>
                  <a:lnTo>
                    <a:pt x="981075" y="1365250"/>
                  </a:lnTo>
                  <a:lnTo>
                    <a:pt x="977900" y="1355725"/>
                  </a:lnTo>
                  <a:lnTo>
                    <a:pt x="974725" y="1358900"/>
                  </a:lnTo>
                  <a:close/>
                  <a:moveTo>
                    <a:pt x="1362075" y="1346200"/>
                  </a:moveTo>
                  <a:lnTo>
                    <a:pt x="1355725" y="1355725"/>
                  </a:lnTo>
                  <a:lnTo>
                    <a:pt x="1349375" y="1362075"/>
                  </a:lnTo>
                  <a:lnTo>
                    <a:pt x="1343025" y="1362075"/>
                  </a:lnTo>
                  <a:lnTo>
                    <a:pt x="1349375" y="1349375"/>
                  </a:lnTo>
                  <a:close/>
                  <a:moveTo>
                    <a:pt x="923925" y="1343025"/>
                  </a:moveTo>
                  <a:lnTo>
                    <a:pt x="939800" y="1343025"/>
                  </a:lnTo>
                  <a:lnTo>
                    <a:pt x="958850" y="1362075"/>
                  </a:lnTo>
                  <a:lnTo>
                    <a:pt x="974725" y="1384300"/>
                  </a:lnTo>
                  <a:lnTo>
                    <a:pt x="981075" y="1400175"/>
                  </a:lnTo>
                  <a:lnTo>
                    <a:pt x="990600" y="1400175"/>
                  </a:lnTo>
                  <a:lnTo>
                    <a:pt x="984250" y="1406525"/>
                  </a:lnTo>
                  <a:lnTo>
                    <a:pt x="981075" y="1403350"/>
                  </a:lnTo>
                  <a:lnTo>
                    <a:pt x="977900" y="1406525"/>
                  </a:lnTo>
                  <a:lnTo>
                    <a:pt x="965200" y="1419225"/>
                  </a:lnTo>
                  <a:lnTo>
                    <a:pt x="955675" y="1422400"/>
                  </a:lnTo>
                  <a:lnTo>
                    <a:pt x="939800" y="1416050"/>
                  </a:lnTo>
                  <a:lnTo>
                    <a:pt x="930275" y="1406525"/>
                  </a:lnTo>
                  <a:lnTo>
                    <a:pt x="914400" y="1400175"/>
                  </a:lnTo>
                  <a:lnTo>
                    <a:pt x="898525" y="1397000"/>
                  </a:lnTo>
                  <a:lnTo>
                    <a:pt x="895350" y="1390650"/>
                  </a:lnTo>
                  <a:lnTo>
                    <a:pt x="895350" y="1384300"/>
                  </a:lnTo>
                  <a:lnTo>
                    <a:pt x="908050" y="1381125"/>
                  </a:lnTo>
                  <a:lnTo>
                    <a:pt x="920750" y="1371600"/>
                  </a:lnTo>
                  <a:lnTo>
                    <a:pt x="917575" y="1355725"/>
                  </a:lnTo>
                  <a:close/>
                  <a:moveTo>
                    <a:pt x="1323975" y="1339850"/>
                  </a:moveTo>
                  <a:lnTo>
                    <a:pt x="1330325" y="1346200"/>
                  </a:lnTo>
                  <a:lnTo>
                    <a:pt x="1327150" y="1352550"/>
                  </a:lnTo>
                  <a:lnTo>
                    <a:pt x="1317625" y="1355725"/>
                  </a:lnTo>
                  <a:lnTo>
                    <a:pt x="1301750" y="1346200"/>
                  </a:lnTo>
                  <a:lnTo>
                    <a:pt x="1308100" y="1343025"/>
                  </a:lnTo>
                  <a:lnTo>
                    <a:pt x="1320800" y="1343025"/>
                  </a:lnTo>
                  <a:lnTo>
                    <a:pt x="1323975" y="1343025"/>
                  </a:lnTo>
                  <a:close/>
                  <a:moveTo>
                    <a:pt x="1158875" y="1320800"/>
                  </a:moveTo>
                  <a:lnTo>
                    <a:pt x="1162050" y="1320800"/>
                  </a:lnTo>
                  <a:lnTo>
                    <a:pt x="1177925" y="1327150"/>
                  </a:lnTo>
                  <a:lnTo>
                    <a:pt x="1168400" y="1330325"/>
                  </a:lnTo>
                  <a:close/>
                  <a:moveTo>
                    <a:pt x="1460500" y="1222375"/>
                  </a:moveTo>
                  <a:lnTo>
                    <a:pt x="1463675" y="1222375"/>
                  </a:lnTo>
                  <a:lnTo>
                    <a:pt x="1470025" y="1225550"/>
                  </a:lnTo>
                  <a:lnTo>
                    <a:pt x="1470025" y="1231900"/>
                  </a:lnTo>
                  <a:lnTo>
                    <a:pt x="1470025" y="1238250"/>
                  </a:lnTo>
                  <a:lnTo>
                    <a:pt x="1460500" y="1235075"/>
                  </a:lnTo>
                  <a:close/>
                  <a:moveTo>
                    <a:pt x="990600" y="1196975"/>
                  </a:moveTo>
                  <a:lnTo>
                    <a:pt x="1000125" y="1196975"/>
                  </a:lnTo>
                  <a:lnTo>
                    <a:pt x="1006475" y="1203325"/>
                  </a:lnTo>
                  <a:lnTo>
                    <a:pt x="1003300" y="1206500"/>
                  </a:lnTo>
                  <a:lnTo>
                    <a:pt x="1019175" y="1209675"/>
                  </a:lnTo>
                  <a:lnTo>
                    <a:pt x="1028700" y="1225550"/>
                  </a:lnTo>
                  <a:lnTo>
                    <a:pt x="1038225" y="1250950"/>
                  </a:lnTo>
                  <a:lnTo>
                    <a:pt x="1038225" y="1273175"/>
                  </a:lnTo>
                  <a:lnTo>
                    <a:pt x="1035050" y="1273175"/>
                  </a:lnTo>
                  <a:lnTo>
                    <a:pt x="1044575" y="1279525"/>
                  </a:lnTo>
                  <a:lnTo>
                    <a:pt x="1054100" y="1292225"/>
                  </a:lnTo>
                  <a:lnTo>
                    <a:pt x="1069975" y="1317625"/>
                  </a:lnTo>
                  <a:lnTo>
                    <a:pt x="1050925" y="1336675"/>
                  </a:lnTo>
                  <a:lnTo>
                    <a:pt x="1047750" y="1343025"/>
                  </a:lnTo>
                  <a:lnTo>
                    <a:pt x="1047750" y="1349375"/>
                  </a:lnTo>
                  <a:lnTo>
                    <a:pt x="1057275" y="1355725"/>
                  </a:lnTo>
                  <a:lnTo>
                    <a:pt x="1095375" y="1362075"/>
                  </a:lnTo>
                  <a:lnTo>
                    <a:pt x="1089025" y="1365250"/>
                  </a:lnTo>
                  <a:lnTo>
                    <a:pt x="1079500" y="1374775"/>
                  </a:lnTo>
                  <a:lnTo>
                    <a:pt x="1092200" y="1400175"/>
                  </a:lnTo>
                  <a:lnTo>
                    <a:pt x="1089025" y="1400175"/>
                  </a:lnTo>
                  <a:lnTo>
                    <a:pt x="1092200" y="1419225"/>
                  </a:lnTo>
                  <a:lnTo>
                    <a:pt x="1095375" y="1431925"/>
                  </a:lnTo>
                  <a:lnTo>
                    <a:pt x="1101725" y="1428750"/>
                  </a:lnTo>
                  <a:lnTo>
                    <a:pt x="1104900" y="1419225"/>
                  </a:lnTo>
                  <a:lnTo>
                    <a:pt x="1108075" y="1400175"/>
                  </a:lnTo>
                  <a:lnTo>
                    <a:pt x="1108075" y="1390650"/>
                  </a:lnTo>
                  <a:lnTo>
                    <a:pt x="1114425" y="1377950"/>
                  </a:lnTo>
                  <a:lnTo>
                    <a:pt x="1123950" y="1374775"/>
                  </a:lnTo>
                  <a:lnTo>
                    <a:pt x="1139825" y="1393825"/>
                  </a:lnTo>
                  <a:lnTo>
                    <a:pt x="1146175" y="1406525"/>
                  </a:lnTo>
                  <a:lnTo>
                    <a:pt x="1146175" y="1435100"/>
                  </a:lnTo>
                  <a:lnTo>
                    <a:pt x="1139825" y="1438275"/>
                  </a:lnTo>
                  <a:lnTo>
                    <a:pt x="1136650" y="1454150"/>
                  </a:lnTo>
                  <a:lnTo>
                    <a:pt x="1143000" y="1466850"/>
                  </a:lnTo>
                  <a:lnTo>
                    <a:pt x="1146175" y="1473200"/>
                  </a:lnTo>
                  <a:lnTo>
                    <a:pt x="1155700" y="1482725"/>
                  </a:lnTo>
                  <a:lnTo>
                    <a:pt x="1155700" y="1492250"/>
                  </a:lnTo>
                  <a:lnTo>
                    <a:pt x="1155700" y="1498600"/>
                  </a:lnTo>
                  <a:lnTo>
                    <a:pt x="1168400" y="1492250"/>
                  </a:lnTo>
                  <a:lnTo>
                    <a:pt x="1165225" y="1485900"/>
                  </a:lnTo>
                  <a:lnTo>
                    <a:pt x="1171575" y="1482725"/>
                  </a:lnTo>
                  <a:lnTo>
                    <a:pt x="1177925" y="1485900"/>
                  </a:lnTo>
                  <a:lnTo>
                    <a:pt x="1177925" y="1482725"/>
                  </a:lnTo>
                  <a:lnTo>
                    <a:pt x="1177925" y="1476375"/>
                  </a:lnTo>
                  <a:lnTo>
                    <a:pt x="1177925" y="1466850"/>
                  </a:lnTo>
                  <a:lnTo>
                    <a:pt x="1181100" y="1460500"/>
                  </a:lnTo>
                  <a:lnTo>
                    <a:pt x="1187450" y="1441450"/>
                  </a:lnTo>
                  <a:lnTo>
                    <a:pt x="1190625" y="1425575"/>
                  </a:lnTo>
                  <a:lnTo>
                    <a:pt x="1200150" y="1406525"/>
                  </a:lnTo>
                  <a:lnTo>
                    <a:pt x="1206500" y="1406525"/>
                  </a:lnTo>
                  <a:lnTo>
                    <a:pt x="1206500" y="1393825"/>
                  </a:lnTo>
                  <a:lnTo>
                    <a:pt x="1203325" y="1381125"/>
                  </a:lnTo>
                  <a:lnTo>
                    <a:pt x="1196975" y="1365250"/>
                  </a:lnTo>
                  <a:lnTo>
                    <a:pt x="1196975" y="1336675"/>
                  </a:lnTo>
                  <a:lnTo>
                    <a:pt x="1216025" y="1336675"/>
                  </a:lnTo>
                  <a:lnTo>
                    <a:pt x="1225550" y="1339850"/>
                  </a:lnTo>
                  <a:lnTo>
                    <a:pt x="1238250" y="1346200"/>
                  </a:lnTo>
                  <a:lnTo>
                    <a:pt x="1247775" y="1349375"/>
                  </a:lnTo>
                  <a:lnTo>
                    <a:pt x="1263650" y="1358900"/>
                  </a:lnTo>
                  <a:lnTo>
                    <a:pt x="1276350" y="1371600"/>
                  </a:lnTo>
                  <a:lnTo>
                    <a:pt x="1289050" y="1377950"/>
                  </a:lnTo>
                  <a:lnTo>
                    <a:pt x="1289050" y="1406525"/>
                  </a:lnTo>
                  <a:lnTo>
                    <a:pt x="1279525" y="1422400"/>
                  </a:lnTo>
                  <a:lnTo>
                    <a:pt x="1273175" y="1425575"/>
                  </a:lnTo>
                  <a:lnTo>
                    <a:pt x="1270000" y="1419225"/>
                  </a:lnTo>
                  <a:lnTo>
                    <a:pt x="1263650" y="1422400"/>
                  </a:lnTo>
                  <a:lnTo>
                    <a:pt x="1260475" y="1425575"/>
                  </a:lnTo>
                  <a:lnTo>
                    <a:pt x="1270000" y="1450975"/>
                  </a:lnTo>
                  <a:lnTo>
                    <a:pt x="1279525" y="1463675"/>
                  </a:lnTo>
                  <a:lnTo>
                    <a:pt x="1289050" y="1479550"/>
                  </a:lnTo>
                  <a:lnTo>
                    <a:pt x="1289050" y="1492250"/>
                  </a:lnTo>
                  <a:lnTo>
                    <a:pt x="1285875" y="1504950"/>
                  </a:lnTo>
                  <a:lnTo>
                    <a:pt x="1276350" y="1508125"/>
                  </a:lnTo>
                  <a:lnTo>
                    <a:pt x="1270000" y="1517650"/>
                  </a:lnTo>
                  <a:lnTo>
                    <a:pt x="1266825" y="1520825"/>
                  </a:lnTo>
                  <a:lnTo>
                    <a:pt x="1250950" y="1533525"/>
                  </a:lnTo>
                  <a:lnTo>
                    <a:pt x="1238250" y="1536700"/>
                  </a:lnTo>
                  <a:lnTo>
                    <a:pt x="1238250" y="1549400"/>
                  </a:lnTo>
                  <a:lnTo>
                    <a:pt x="1231900" y="1549400"/>
                  </a:lnTo>
                  <a:lnTo>
                    <a:pt x="1219200" y="1543050"/>
                  </a:lnTo>
                  <a:lnTo>
                    <a:pt x="1219200" y="1546225"/>
                  </a:lnTo>
                  <a:lnTo>
                    <a:pt x="1203325" y="1539875"/>
                  </a:lnTo>
                  <a:lnTo>
                    <a:pt x="1200150" y="1533525"/>
                  </a:lnTo>
                  <a:lnTo>
                    <a:pt x="1190625" y="1530350"/>
                  </a:lnTo>
                  <a:lnTo>
                    <a:pt x="1177925" y="1530350"/>
                  </a:lnTo>
                  <a:lnTo>
                    <a:pt x="1171575" y="1533525"/>
                  </a:lnTo>
                  <a:lnTo>
                    <a:pt x="1174750" y="1543050"/>
                  </a:lnTo>
                  <a:lnTo>
                    <a:pt x="1184275" y="1546225"/>
                  </a:lnTo>
                  <a:lnTo>
                    <a:pt x="1190625" y="1549400"/>
                  </a:lnTo>
                  <a:lnTo>
                    <a:pt x="1187450" y="1558925"/>
                  </a:lnTo>
                  <a:lnTo>
                    <a:pt x="1181100" y="1565275"/>
                  </a:lnTo>
                  <a:lnTo>
                    <a:pt x="1174750" y="1574800"/>
                  </a:lnTo>
                  <a:lnTo>
                    <a:pt x="1168400" y="1584325"/>
                  </a:lnTo>
                  <a:lnTo>
                    <a:pt x="1162050" y="1590675"/>
                  </a:lnTo>
                  <a:lnTo>
                    <a:pt x="1162050" y="1597025"/>
                  </a:lnTo>
                  <a:lnTo>
                    <a:pt x="1165225" y="1609725"/>
                  </a:lnTo>
                  <a:lnTo>
                    <a:pt x="1155700" y="1631950"/>
                  </a:lnTo>
                  <a:lnTo>
                    <a:pt x="1149350" y="1644650"/>
                  </a:lnTo>
                  <a:lnTo>
                    <a:pt x="1146175" y="1651000"/>
                  </a:lnTo>
                  <a:lnTo>
                    <a:pt x="1130300" y="1663700"/>
                  </a:lnTo>
                  <a:lnTo>
                    <a:pt x="1117600" y="1660525"/>
                  </a:lnTo>
                  <a:lnTo>
                    <a:pt x="1111250" y="1657350"/>
                  </a:lnTo>
                  <a:lnTo>
                    <a:pt x="1104900" y="1666875"/>
                  </a:lnTo>
                  <a:lnTo>
                    <a:pt x="1101725" y="1673225"/>
                  </a:lnTo>
                  <a:lnTo>
                    <a:pt x="1095375" y="1679575"/>
                  </a:lnTo>
                  <a:lnTo>
                    <a:pt x="1089025" y="1689100"/>
                  </a:lnTo>
                  <a:lnTo>
                    <a:pt x="1085850" y="1701800"/>
                  </a:lnTo>
                  <a:lnTo>
                    <a:pt x="1085850" y="1711325"/>
                  </a:lnTo>
                  <a:lnTo>
                    <a:pt x="1079500" y="1714500"/>
                  </a:lnTo>
                  <a:lnTo>
                    <a:pt x="1066800" y="1717675"/>
                  </a:lnTo>
                  <a:lnTo>
                    <a:pt x="1050925" y="1717675"/>
                  </a:lnTo>
                  <a:lnTo>
                    <a:pt x="1044575" y="1727200"/>
                  </a:lnTo>
                  <a:lnTo>
                    <a:pt x="1041400" y="1739900"/>
                  </a:lnTo>
                  <a:lnTo>
                    <a:pt x="1041400" y="1749425"/>
                  </a:lnTo>
                  <a:lnTo>
                    <a:pt x="1031875" y="1758950"/>
                  </a:lnTo>
                  <a:lnTo>
                    <a:pt x="1022350" y="1774825"/>
                  </a:lnTo>
                  <a:lnTo>
                    <a:pt x="1016000" y="1781175"/>
                  </a:lnTo>
                  <a:lnTo>
                    <a:pt x="1016000" y="1784350"/>
                  </a:lnTo>
                  <a:lnTo>
                    <a:pt x="1012825" y="1787525"/>
                  </a:lnTo>
                  <a:lnTo>
                    <a:pt x="1006475" y="1809750"/>
                  </a:lnTo>
                  <a:lnTo>
                    <a:pt x="1000125" y="1825625"/>
                  </a:lnTo>
                  <a:lnTo>
                    <a:pt x="1003300" y="1828800"/>
                  </a:lnTo>
                  <a:lnTo>
                    <a:pt x="1000125" y="1841500"/>
                  </a:lnTo>
                  <a:lnTo>
                    <a:pt x="996950" y="1854200"/>
                  </a:lnTo>
                  <a:lnTo>
                    <a:pt x="1000125" y="1876425"/>
                  </a:lnTo>
                  <a:lnTo>
                    <a:pt x="996950" y="1885950"/>
                  </a:lnTo>
                  <a:lnTo>
                    <a:pt x="1006475" y="1892300"/>
                  </a:lnTo>
                  <a:lnTo>
                    <a:pt x="1009650" y="1898650"/>
                  </a:lnTo>
                  <a:lnTo>
                    <a:pt x="1019175" y="1895475"/>
                  </a:lnTo>
                  <a:lnTo>
                    <a:pt x="1031875" y="1898650"/>
                  </a:lnTo>
                  <a:lnTo>
                    <a:pt x="1035050" y="1911350"/>
                  </a:lnTo>
                  <a:lnTo>
                    <a:pt x="1041400" y="1933575"/>
                  </a:lnTo>
                  <a:lnTo>
                    <a:pt x="1044575" y="1943100"/>
                  </a:lnTo>
                  <a:lnTo>
                    <a:pt x="1047750" y="1949450"/>
                  </a:lnTo>
                  <a:lnTo>
                    <a:pt x="1050925" y="1955800"/>
                  </a:lnTo>
                  <a:lnTo>
                    <a:pt x="1054100" y="1962150"/>
                  </a:lnTo>
                  <a:lnTo>
                    <a:pt x="1057275" y="1965325"/>
                  </a:lnTo>
                  <a:lnTo>
                    <a:pt x="1085850" y="1958975"/>
                  </a:lnTo>
                  <a:lnTo>
                    <a:pt x="1108075" y="1971675"/>
                  </a:lnTo>
                  <a:lnTo>
                    <a:pt x="1123950" y="1974850"/>
                  </a:lnTo>
                  <a:lnTo>
                    <a:pt x="1136650" y="1984375"/>
                  </a:lnTo>
                  <a:lnTo>
                    <a:pt x="1146175" y="1990725"/>
                  </a:lnTo>
                  <a:lnTo>
                    <a:pt x="1155700" y="2006600"/>
                  </a:lnTo>
                  <a:lnTo>
                    <a:pt x="1177925" y="2016125"/>
                  </a:lnTo>
                  <a:lnTo>
                    <a:pt x="1193800" y="2022475"/>
                  </a:lnTo>
                  <a:lnTo>
                    <a:pt x="1203325" y="2032000"/>
                  </a:lnTo>
                  <a:lnTo>
                    <a:pt x="1228725" y="2035175"/>
                  </a:lnTo>
                  <a:lnTo>
                    <a:pt x="1241425" y="2035175"/>
                  </a:lnTo>
                  <a:lnTo>
                    <a:pt x="1250950" y="2035175"/>
                  </a:lnTo>
                  <a:lnTo>
                    <a:pt x="1254125" y="2038350"/>
                  </a:lnTo>
                  <a:lnTo>
                    <a:pt x="1263650" y="2041525"/>
                  </a:lnTo>
                  <a:lnTo>
                    <a:pt x="1270000" y="2047875"/>
                  </a:lnTo>
                  <a:lnTo>
                    <a:pt x="1270000" y="2057400"/>
                  </a:lnTo>
                  <a:lnTo>
                    <a:pt x="1270000" y="2079625"/>
                  </a:lnTo>
                  <a:lnTo>
                    <a:pt x="1270000" y="2089150"/>
                  </a:lnTo>
                  <a:lnTo>
                    <a:pt x="1273175" y="2098675"/>
                  </a:lnTo>
                  <a:lnTo>
                    <a:pt x="1273175" y="2108200"/>
                  </a:lnTo>
                  <a:lnTo>
                    <a:pt x="1270000" y="2111375"/>
                  </a:lnTo>
                  <a:lnTo>
                    <a:pt x="1270000" y="2120900"/>
                  </a:lnTo>
                  <a:lnTo>
                    <a:pt x="1276350" y="2130425"/>
                  </a:lnTo>
                  <a:lnTo>
                    <a:pt x="1282700" y="2136775"/>
                  </a:lnTo>
                  <a:lnTo>
                    <a:pt x="1285875" y="2139950"/>
                  </a:lnTo>
                  <a:lnTo>
                    <a:pt x="1285875" y="2146300"/>
                  </a:lnTo>
                  <a:lnTo>
                    <a:pt x="1292225" y="2152650"/>
                  </a:lnTo>
                  <a:lnTo>
                    <a:pt x="1301750" y="2162175"/>
                  </a:lnTo>
                  <a:lnTo>
                    <a:pt x="1304925" y="2168525"/>
                  </a:lnTo>
                  <a:lnTo>
                    <a:pt x="1314450" y="2178050"/>
                  </a:lnTo>
                  <a:lnTo>
                    <a:pt x="1320800" y="2181225"/>
                  </a:lnTo>
                  <a:lnTo>
                    <a:pt x="1327150" y="2190750"/>
                  </a:lnTo>
                  <a:lnTo>
                    <a:pt x="1327150" y="2174875"/>
                  </a:lnTo>
                  <a:lnTo>
                    <a:pt x="1327150" y="2171700"/>
                  </a:lnTo>
                  <a:lnTo>
                    <a:pt x="1330325" y="2165350"/>
                  </a:lnTo>
                  <a:lnTo>
                    <a:pt x="1336675" y="2171700"/>
                  </a:lnTo>
                  <a:lnTo>
                    <a:pt x="1343025" y="2184400"/>
                  </a:lnTo>
                  <a:lnTo>
                    <a:pt x="1346200" y="2171700"/>
                  </a:lnTo>
                  <a:lnTo>
                    <a:pt x="1343025" y="2165350"/>
                  </a:lnTo>
                  <a:lnTo>
                    <a:pt x="1339850" y="2159000"/>
                  </a:lnTo>
                  <a:lnTo>
                    <a:pt x="1352550" y="2146300"/>
                  </a:lnTo>
                  <a:lnTo>
                    <a:pt x="1343025" y="2127250"/>
                  </a:lnTo>
                  <a:lnTo>
                    <a:pt x="1339850" y="2101850"/>
                  </a:lnTo>
                  <a:lnTo>
                    <a:pt x="1330325" y="2076450"/>
                  </a:lnTo>
                  <a:lnTo>
                    <a:pt x="1327150" y="2070100"/>
                  </a:lnTo>
                  <a:lnTo>
                    <a:pt x="1323975" y="2057400"/>
                  </a:lnTo>
                  <a:lnTo>
                    <a:pt x="1336675" y="2051050"/>
                  </a:lnTo>
                  <a:lnTo>
                    <a:pt x="1349375" y="2044700"/>
                  </a:lnTo>
                  <a:lnTo>
                    <a:pt x="1362075" y="2038350"/>
                  </a:lnTo>
                  <a:lnTo>
                    <a:pt x="1374775" y="2025650"/>
                  </a:lnTo>
                  <a:lnTo>
                    <a:pt x="1384300" y="2016125"/>
                  </a:lnTo>
                  <a:lnTo>
                    <a:pt x="1390650" y="2006600"/>
                  </a:lnTo>
                  <a:lnTo>
                    <a:pt x="1390650" y="2000250"/>
                  </a:lnTo>
                  <a:lnTo>
                    <a:pt x="1393825" y="1997075"/>
                  </a:lnTo>
                  <a:lnTo>
                    <a:pt x="1393825" y="1987550"/>
                  </a:lnTo>
                  <a:lnTo>
                    <a:pt x="1393825" y="1974850"/>
                  </a:lnTo>
                  <a:lnTo>
                    <a:pt x="1393825" y="1965325"/>
                  </a:lnTo>
                  <a:lnTo>
                    <a:pt x="1390650" y="1949450"/>
                  </a:lnTo>
                  <a:lnTo>
                    <a:pt x="1381125" y="1930400"/>
                  </a:lnTo>
                  <a:lnTo>
                    <a:pt x="1371600" y="1920875"/>
                  </a:lnTo>
                  <a:lnTo>
                    <a:pt x="1362075" y="1914525"/>
                  </a:lnTo>
                  <a:lnTo>
                    <a:pt x="1352550" y="1908175"/>
                  </a:lnTo>
                  <a:lnTo>
                    <a:pt x="1349375" y="1901825"/>
                  </a:lnTo>
                  <a:lnTo>
                    <a:pt x="1349375" y="1892300"/>
                  </a:lnTo>
                  <a:lnTo>
                    <a:pt x="1352550" y="1889125"/>
                  </a:lnTo>
                  <a:lnTo>
                    <a:pt x="1355725" y="1882775"/>
                  </a:lnTo>
                  <a:lnTo>
                    <a:pt x="1365250" y="1860550"/>
                  </a:lnTo>
                  <a:lnTo>
                    <a:pt x="1371600" y="1857375"/>
                  </a:lnTo>
                  <a:lnTo>
                    <a:pt x="1374775" y="1854200"/>
                  </a:lnTo>
                  <a:lnTo>
                    <a:pt x="1377950" y="1844675"/>
                  </a:lnTo>
                  <a:lnTo>
                    <a:pt x="1368425" y="1838325"/>
                  </a:lnTo>
                  <a:lnTo>
                    <a:pt x="1362075" y="1809750"/>
                  </a:lnTo>
                  <a:lnTo>
                    <a:pt x="1355725" y="1809750"/>
                  </a:lnTo>
                  <a:lnTo>
                    <a:pt x="1358900" y="1803400"/>
                  </a:lnTo>
                  <a:lnTo>
                    <a:pt x="1365250" y="1797050"/>
                  </a:lnTo>
                  <a:lnTo>
                    <a:pt x="1365250" y="1784350"/>
                  </a:lnTo>
                  <a:lnTo>
                    <a:pt x="1365250" y="1771650"/>
                  </a:lnTo>
                  <a:lnTo>
                    <a:pt x="1362075" y="1768475"/>
                  </a:lnTo>
                  <a:lnTo>
                    <a:pt x="1355725" y="1746250"/>
                  </a:lnTo>
                  <a:lnTo>
                    <a:pt x="1365250" y="1733550"/>
                  </a:lnTo>
                  <a:lnTo>
                    <a:pt x="1371600" y="1730375"/>
                  </a:lnTo>
                  <a:lnTo>
                    <a:pt x="1377950" y="1730375"/>
                  </a:lnTo>
                  <a:lnTo>
                    <a:pt x="1390650" y="1733550"/>
                  </a:lnTo>
                  <a:lnTo>
                    <a:pt x="1400175" y="1736725"/>
                  </a:lnTo>
                  <a:lnTo>
                    <a:pt x="1406525" y="1739900"/>
                  </a:lnTo>
                  <a:lnTo>
                    <a:pt x="1406525" y="1749425"/>
                  </a:lnTo>
                  <a:lnTo>
                    <a:pt x="1425575" y="1743075"/>
                  </a:lnTo>
                  <a:lnTo>
                    <a:pt x="1444625" y="1739900"/>
                  </a:lnTo>
                  <a:lnTo>
                    <a:pt x="1454150" y="1733550"/>
                  </a:lnTo>
                  <a:lnTo>
                    <a:pt x="1460500" y="1739900"/>
                  </a:lnTo>
                  <a:lnTo>
                    <a:pt x="1476375" y="1749425"/>
                  </a:lnTo>
                  <a:lnTo>
                    <a:pt x="1476375" y="1758950"/>
                  </a:lnTo>
                  <a:lnTo>
                    <a:pt x="1485900" y="1762125"/>
                  </a:lnTo>
                  <a:lnTo>
                    <a:pt x="1489075" y="1768475"/>
                  </a:lnTo>
                  <a:lnTo>
                    <a:pt x="1492250" y="1768475"/>
                  </a:lnTo>
                  <a:lnTo>
                    <a:pt x="1498600" y="1774825"/>
                  </a:lnTo>
                  <a:lnTo>
                    <a:pt x="1492250" y="1781175"/>
                  </a:lnTo>
                  <a:lnTo>
                    <a:pt x="1504950" y="1793875"/>
                  </a:lnTo>
                  <a:lnTo>
                    <a:pt x="1517650" y="1797050"/>
                  </a:lnTo>
                  <a:lnTo>
                    <a:pt x="1533525" y="1803400"/>
                  </a:lnTo>
                  <a:lnTo>
                    <a:pt x="1539875" y="1803400"/>
                  </a:lnTo>
                  <a:lnTo>
                    <a:pt x="1546225" y="1809750"/>
                  </a:lnTo>
                  <a:lnTo>
                    <a:pt x="1539875" y="1828800"/>
                  </a:lnTo>
                  <a:lnTo>
                    <a:pt x="1536700" y="1847850"/>
                  </a:lnTo>
                  <a:lnTo>
                    <a:pt x="1539875" y="1866900"/>
                  </a:lnTo>
                  <a:lnTo>
                    <a:pt x="1543050" y="1885950"/>
                  </a:lnTo>
                  <a:lnTo>
                    <a:pt x="1543050" y="1892300"/>
                  </a:lnTo>
                  <a:lnTo>
                    <a:pt x="1549400" y="1892300"/>
                  </a:lnTo>
                  <a:lnTo>
                    <a:pt x="1558925" y="1892300"/>
                  </a:lnTo>
                  <a:lnTo>
                    <a:pt x="1568450" y="1895475"/>
                  </a:lnTo>
                  <a:lnTo>
                    <a:pt x="1574800" y="1908175"/>
                  </a:lnTo>
                  <a:lnTo>
                    <a:pt x="1584325" y="1911350"/>
                  </a:lnTo>
                  <a:lnTo>
                    <a:pt x="1587500" y="1917700"/>
                  </a:lnTo>
                  <a:lnTo>
                    <a:pt x="1597025" y="1911350"/>
                  </a:lnTo>
                  <a:lnTo>
                    <a:pt x="1603375" y="1908175"/>
                  </a:lnTo>
                  <a:lnTo>
                    <a:pt x="1606550" y="1898650"/>
                  </a:lnTo>
                  <a:lnTo>
                    <a:pt x="1612900" y="1895475"/>
                  </a:lnTo>
                  <a:lnTo>
                    <a:pt x="1619250" y="1901825"/>
                  </a:lnTo>
                  <a:lnTo>
                    <a:pt x="1622425" y="1895475"/>
                  </a:lnTo>
                  <a:lnTo>
                    <a:pt x="1625600" y="1889125"/>
                  </a:lnTo>
                  <a:lnTo>
                    <a:pt x="1628775" y="1873250"/>
                  </a:lnTo>
                  <a:lnTo>
                    <a:pt x="1631950" y="1854200"/>
                  </a:lnTo>
                  <a:lnTo>
                    <a:pt x="1638300" y="1844675"/>
                  </a:lnTo>
                  <a:lnTo>
                    <a:pt x="1644650" y="1828800"/>
                  </a:lnTo>
                  <a:lnTo>
                    <a:pt x="1647825" y="1831975"/>
                  </a:lnTo>
                  <a:lnTo>
                    <a:pt x="1644650" y="1844675"/>
                  </a:lnTo>
                  <a:lnTo>
                    <a:pt x="1654175" y="1844675"/>
                  </a:lnTo>
                  <a:lnTo>
                    <a:pt x="1660525" y="1844675"/>
                  </a:lnTo>
                  <a:lnTo>
                    <a:pt x="1660525" y="1854200"/>
                  </a:lnTo>
                  <a:lnTo>
                    <a:pt x="1663700" y="1863725"/>
                  </a:lnTo>
                  <a:lnTo>
                    <a:pt x="1676400" y="1882775"/>
                  </a:lnTo>
                  <a:lnTo>
                    <a:pt x="1682750" y="1889125"/>
                  </a:lnTo>
                  <a:lnTo>
                    <a:pt x="1682750" y="1898650"/>
                  </a:lnTo>
                  <a:lnTo>
                    <a:pt x="1685925" y="1901825"/>
                  </a:lnTo>
                  <a:lnTo>
                    <a:pt x="1692275" y="1908175"/>
                  </a:lnTo>
                  <a:lnTo>
                    <a:pt x="1692275" y="1914525"/>
                  </a:lnTo>
                  <a:lnTo>
                    <a:pt x="1698625" y="1924050"/>
                  </a:lnTo>
                  <a:lnTo>
                    <a:pt x="1704975" y="1936750"/>
                  </a:lnTo>
                  <a:lnTo>
                    <a:pt x="1708150" y="1939925"/>
                  </a:lnTo>
                  <a:lnTo>
                    <a:pt x="1708150" y="1946275"/>
                  </a:lnTo>
                  <a:lnTo>
                    <a:pt x="1711325" y="1955800"/>
                  </a:lnTo>
                  <a:lnTo>
                    <a:pt x="1704975" y="1958975"/>
                  </a:lnTo>
                  <a:lnTo>
                    <a:pt x="1711325" y="1962150"/>
                  </a:lnTo>
                  <a:lnTo>
                    <a:pt x="1717675" y="1968500"/>
                  </a:lnTo>
                  <a:lnTo>
                    <a:pt x="1711325" y="1978025"/>
                  </a:lnTo>
                  <a:lnTo>
                    <a:pt x="1711325" y="1990725"/>
                  </a:lnTo>
                  <a:lnTo>
                    <a:pt x="1711325" y="1993900"/>
                  </a:lnTo>
                  <a:lnTo>
                    <a:pt x="1711325" y="1997075"/>
                  </a:lnTo>
                  <a:lnTo>
                    <a:pt x="1720850" y="2000250"/>
                  </a:lnTo>
                  <a:lnTo>
                    <a:pt x="1724025" y="2012950"/>
                  </a:lnTo>
                  <a:lnTo>
                    <a:pt x="1733550" y="2012950"/>
                  </a:lnTo>
                  <a:lnTo>
                    <a:pt x="1736725" y="2022475"/>
                  </a:lnTo>
                  <a:lnTo>
                    <a:pt x="1739900" y="2022475"/>
                  </a:lnTo>
                  <a:lnTo>
                    <a:pt x="1743075" y="2025650"/>
                  </a:lnTo>
                  <a:lnTo>
                    <a:pt x="1746250" y="2032000"/>
                  </a:lnTo>
                  <a:lnTo>
                    <a:pt x="1752600" y="2035175"/>
                  </a:lnTo>
                  <a:lnTo>
                    <a:pt x="1755775" y="2038350"/>
                  </a:lnTo>
                  <a:lnTo>
                    <a:pt x="1762125" y="2038350"/>
                  </a:lnTo>
                  <a:lnTo>
                    <a:pt x="1771650" y="2041525"/>
                  </a:lnTo>
                  <a:lnTo>
                    <a:pt x="1774825" y="2051050"/>
                  </a:lnTo>
                  <a:lnTo>
                    <a:pt x="1778000" y="2054225"/>
                  </a:lnTo>
                  <a:lnTo>
                    <a:pt x="1793875" y="2057400"/>
                  </a:lnTo>
                  <a:lnTo>
                    <a:pt x="1803400" y="2060575"/>
                  </a:lnTo>
                  <a:lnTo>
                    <a:pt x="1806575" y="2063750"/>
                  </a:lnTo>
                  <a:lnTo>
                    <a:pt x="1806575" y="2076450"/>
                  </a:lnTo>
                  <a:lnTo>
                    <a:pt x="1809750" y="2085975"/>
                  </a:lnTo>
                  <a:lnTo>
                    <a:pt x="1812925" y="2092325"/>
                  </a:lnTo>
                  <a:lnTo>
                    <a:pt x="1819275" y="2092325"/>
                  </a:lnTo>
                  <a:lnTo>
                    <a:pt x="1831975" y="2098675"/>
                  </a:lnTo>
                  <a:lnTo>
                    <a:pt x="1838325" y="2101850"/>
                  </a:lnTo>
                  <a:lnTo>
                    <a:pt x="1838325" y="2114550"/>
                  </a:lnTo>
                  <a:lnTo>
                    <a:pt x="1841500" y="2133600"/>
                  </a:lnTo>
                  <a:lnTo>
                    <a:pt x="1841500" y="2152650"/>
                  </a:lnTo>
                  <a:lnTo>
                    <a:pt x="1831975" y="2159000"/>
                  </a:lnTo>
                  <a:lnTo>
                    <a:pt x="1819275" y="2171700"/>
                  </a:lnTo>
                  <a:lnTo>
                    <a:pt x="1812925" y="2174875"/>
                  </a:lnTo>
                  <a:lnTo>
                    <a:pt x="1809750" y="2171700"/>
                  </a:lnTo>
                  <a:lnTo>
                    <a:pt x="1793875" y="2174875"/>
                  </a:lnTo>
                  <a:lnTo>
                    <a:pt x="1784350" y="2181225"/>
                  </a:lnTo>
                  <a:lnTo>
                    <a:pt x="1778000" y="2184400"/>
                  </a:lnTo>
                  <a:lnTo>
                    <a:pt x="1774825" y="2190750"/>
                  </a:lnTo>
                  <a:lnTo>
                    <a:pt x="1762125" y="2200276"/>
                  </a:lnTo>
                  <a:lnTo>
                    <a:pt x="1752600" y="2212976"/>
                  </a:lnTo>
                  <a:lnTo>
                    <a:pt x="1724025" y="2216151"/>
                  </a:lnTo>
                  <a:lnTo>
                    <a:pt x="1711325" y="2216151"/>
                  </a:lnTo>
                  <a:lnTo>
                    <a:pt x="1698625" y="2216151"/>
                  </a:lnTo>
                  <a:lnTo>
                    <a:pt x="1670050" y="2212976"/>
                  </a:lnTo>
                  <a:lnTo>
                    <a:pt x="1657350" y="2212976"/>
                  </a:lnTo>
                  <a:lnTo>
                    <a:pt x="1654175" y="2212976"/>
                  </a:lnTo>
                  <a:lnTo>
                    <a:pt x="1647825" y="2212976"/>
                  </a:lnTo>
                  <a:lnTo>
                    <a:pt x="1635125" y="2212976"/>
                  </a:lnTo>
                  <a:lnTo>
                    <a:pt x="1622425" y="2216151"/>
                  </a:lnTo>
                  <a:lnTo>
                    <a:pt x="1609725" y="2219326"/>
                  </a:lnTo>
                  <a:lnTo>
                    <a:pt x="1603375" y="2219326"/>
                  </a:lnTo>
                  <a:lnTo>
                    <a:pt x="1600200" y="2225676"/>
                  </a:lnTo>
                  <a:lnTo>
                    <a:pt x="1593850" y="2228851"/>
                  </a:lnTo>
                  <a:lnTo>
                    <a:pt x="1593850" y="2238376"/>
                  </a:lnTo>
                  <a:lnTo>
                    <a:pt x="1587500" y="2244726"/>
                  </a:lnTo>
                  <a:lnTo>
                    <a:pt x="1581150" y="2247901"/>
                  </a:lnTo>
                  <a:lnTo>
                    <a:pt x="1568450" y="2251076"/>
                  </a:lnTo>
                  <a:lnTo>
                    <a:pt x="1565275" y="2254251"/>
                  </a:lnTo>
                  <a:lnTo>
                    <a:pt x="1555750" y="2263776"/>
                  </a:lnTo>
                  <a:lnTo>
                    <a:pt x="1549400" y="2270126"/>
                  </a:lnTo>
                  <a:lnTo>
                    <a:pt x="1546225" y="2279651"/>
                  </a:lnTo>
                  <a:lnTo>
                    <a:pt x="1539875" y="2282826"/>
                  </a:lnTo>
                  <a:lnTo>
                    <a:pt x="1536700" y="2292351"/>
                  </a:lnTo>
                  <a:lnTo>
                    <a:pt x="1533525" y="2298701"/>
                  </a:lnTo>
                  <a:lnTo>
                    <a:pt x="1520825" y="2311401"/>
                  </a:lnTo>
                  <a:lnTo>
                    <a:pt x="1504950" y="2327276"/>
                  </a:lnTo>
                  <a:lnTo>
                    <a:pt x="1517650" y="2320926"/>
                  </a:lnTo>
                  <a:lnTo>
                    <a:pt x="1527175" y="2314576"/>
                  </a:lnTo>
                  <a:lnTo>
                    <a:pt x="1536700" y="2301876"/>
                  </a:lnTo>
                  <a:lnTo>
                    <a:pt x="1546225" y="2289176"/>
                  </a:lnTo>
                  <a:lnTo>
                    <a:pt x="1565275" y="2273301"/>
                  </a:lnTo>
                  <a:lnTo>
                    <a:pt x="1581150" y="2263776"/>
                  </a:lnTo>
                  <a:lnTo>
                    <a:pt x="1593850" y="2257426"/>
                  </a:lnTo>
                  <a:lnTo>
                    <a:pt x="1644650" y="2251076"/>
                  </a:lnTo>
                  <a:lnTo>
                    <a:pt x="1657350" y="2273301"/>
                  </a:lnTo>
                  <a:lnTo>
                    <a:pt x="1654175" y="2276476"/>
                  </a:lnTo>
                  <a:lnTo>
                    <a:pt x="1644650" y="2282826"/>
                  </a:lnTo>
                  <a:lnTo>
                    <a:pt x="1635125" y="2289176"/>
                  </a:lnTo>
                  <a:lnTo>
                    <a:pt x="1622425" y="2282826"/>
                  </a:lnTo>
                  <a:lnTo>
                    <a:pt x="1622425" y="2292351"/>
                  </a:lnTo>
                  <a:lnTo>
                    <a:pt x="1625600" y="2292351"/>
                  </a:lnTo>
                  <a:lnTo>
                    <a:pt x="1628775" y="2301876"/>
                  </a:lnTo>
                  <a:lnTo>
                    <a:pt x="1635125" y="2295526"/>
                  </a:lnTo>
                  <a:lnTo>
                    <a:pt x="1644650" y="2295526"/>
                  </a:lnTo>
                  <a:lnTo>
                    <a:pt x="1644650" y="2305051"/>
                  </a:lnTo>
                  <a:lnTo>
                    <a:pt x="1641475" y="2317751"/>
                  </a:lnTo>
                  <a:lnTo>
                    <a:pt x="1644650" y="2320926"/>
                  </a:lnTo>
                  <a:lnTo>
                    <a:pt x="1644650" y="2324101"/>
                  </a:lnTo>
                  <a:lnTo>
                    <a:pt x="1647825" y="2336801"/>
                  </a:lnTo>
                  <a:lnTo>
                    <a:pt x="1654175" y="2343151"/>
                  </a:lnTo>
                  <a:lnTo>
                    <a:pt x="1660525" y="2346326"/>
                  </a:lnTo>
                  <a:lnTo>
                    <a:pt x="1666875" y="2349501"/>
                  </a:lnTo>
                  <a:lnTo>
                    <a:pt x="1663700" y="2352676"/>
                  </a:lnTo>
                  <a:lnTo>
                    <a:pt x="1682750" y="2359026"/>
                  </a:lnTo>
                  <a:lnTo>
                    <a:pt x="1692275" y="2362201"/>
                  </a:lnTo>
                  <a:lnTo>
                    <a:pt x="1704975" y="2359026"/>
                  </a:lnTo>
                  <a:lnTo>
                    <a:pt x="1724025" y="2368551"/>
                  </a:lnTo>
                  <a:lnTo>
                    <a:pt x="1727200" y="2374901"/>
                  </a:lnTo>
                  <a:lnTo>
                    <a:pt x="1720850" y="2378076"/>
                  </a:lnTo>
                  <a:lnTo>
                    <a:pt x="1714500" y="2378076"/>
                  </a:lnTo>
                  <a:lnTo>
                    <a:pt x="1711325" y="2381251"/>
                  </a:lnTo>
                  <a:lnTo>
                    <a:pt x="1704975" y="2384426"/>
                  </a:lnTo>
                  <a:lnTo>
                    <a:pt x="1692275" y="2387601"/>
                  </a:lnTo>
                  <a:lnTo>
                    <a:pt x="1679575" y="2393951"/>
                  </a:lnTo>
                  <a:lnTo>
                    <a:pt x="1676400" y="2393951"/>
                  </a:lnTo>
                  <a:lnTo>
                    <a:pt x="1673225" y="2397126"/>
                  </a:lnTo>
                  <a:lnTo>
                    <a:pt x="1660525" y="2397126"/>
                  </a:lnTo>
                  <a:lnTo>
                    <a:pt x="1657350" y="2397126"/>
                  </a:lnTo>
                  <a:lnTo>
                    <a:pt x="1654175" y="2403476"/>
                  </a:lnTo>
                  <a:lnTo>
                    <a:pt x="1644650" y="2416176"/>
                  </a:lnTo>
                  <a:lnTo>
                    <a:pt x="1641475" y="2422526"/>
                  </a:lnTo>
                  <a:lnTo>
                    <a:pt x="1635125" y="2422526"/>
                  </a:lnTo>
                  <a:lnTo>
                    <a:pt x="1631950" y="2428876"/>
                  </a:lnTo>
                  <a:lnTo>
                    <a:pt x="1625600" y="2425701"/>
                  </a:lnTo>
                  <a:lnTo>
                    <a:pt x="1622425" y="2419351"/>
                  </a:lnTo>
                  <a:lnTo>
                    <a:pt x="1619250" y="2422526"/>
                  </a:lnTo>
                  <a:lnTo>
                    <a:pt x="1616075" y="2416176"/>
                  </a:lnTo>
                  <a:lnTo>
                    <a:pt x="1616075" y="2400301"/>
                  </a:lnTo>
                  <a:lnTo>
                    <a:pt x="1628775" y="2390776"/>
                  </a:lnTo>
                  <a:lnTo>
                    <a:pt x="1651000" y="2374901"/>
                  </a:lnTo>
                  <a:lnTo>
                    <a:pt x="1663700" y="2374901"/>
                  </a:lnTo>
                  <a:lnTo>
                    <a:pt x="1676400" y="2371726"/>
                  </a:lnTo>
                  <a:lnTo>
                    <a:pt x="1670050" y="2371726"/>
                  </a:lnTo>
                  <a:lnTo>
                    <a:pt x="1663700" y="2371726"/>
                  </a:lnTo>
                  <a:lnTo>
                    <a:pt x="1651000" y="2371726"/>
                  </a:lnTo>
                  <a:lnTo>
                    <a:pt x="1641475" y="2371726"/>
                  </a:lnTo>
                  <a:lnTo>
                    <a:pt x="1647825" y="2365376"/>
                  </a:lnTo>
                  <a:lnTo>
                    <a:pt x="1657350" y="2355851"/>
                  </a:lnTo>
                  <a:lnTo>
                    <a:pt x="1651000" y="2355851"/>
                  </a:lnTo>
                  <a:lnTo>
                    <a:pt x="1644650" y="2365376"/>
                  </a:lnTo>
                  <a:lnTo>
                    <a:pt x="1622425" y="2374901"/>
                  </a:lnTo>
                  <a:lnTo>
                    <a:pt x="1619250" y="2374901"/>
                  </a:lnTo>
                  <a:lnTo>
                    <a:pt x="1609725" y="2381251"/>
                  </a:lnTo>
                  <a:lnTo>
                    <a:pt x="1600200" y="2381251"/>
                  </a:lnTo>
                  <a:lnTo>
                    <a:pt x="1597025" y="2378076"/>
                  </a:lnTo>
                  <a:lnTo>
                    <a:pt x="1593850" y="2378076"/>
                  </a:lnTo>
                  <a:lnTo>
                    <a:pt x="1590675" y="2365376"/>
                  </a:lnTo>
                  <a:lnTo>
                    <a:pt x="1584325" y="2362201"/>
                  </a:lnTo>
                  <a:lnTo>
                    <a:pt x="1581150" y="2362201"/>
                  </a:lnTo>
                  <a:lnTo>
                    <a:pt x="1581150" y="2355851"/>
                  </a:lnTo>
                  <a:lnTo>
                    <a:pt x="1581150" y="2330451"/>
                  </a:lnTo>
                  <a:lnTo>
                    <a:pt x="1581150" y="2320926"/>
                  </a:lnTo>
                  <a:lnTo>
                    <a:pt x="1577975" y="2314576"/>
                  </a:lnTo>
                  <a:lnTo>
                    <a:pt x="1568450" y="2308226"/>
                  </a:lnTo>
                  <a:lnTo>
                    <a:pt x="1558925" y="2314576"/>
                  </a:lnTo>
                  <a:lnTo>
                    <a:pt x="1552575" y="2311401"/>
                  </a:lnTo>
                  <a:lnTo>
                    <a:pt x="1552575" y="2305051"/>
                  </a:lnTo>
                  <a:lnTo>
                    <a:pt x="1543050" y="2314576"/>
                  </a:lnTo>
                  <a:lnTo>
                    <a:pt x="1533525" y="2327276"/>
                  </a:lnTo>
                  <a:lnTo>
                    <a:pt x="1533525" y="2336801"/>
                  </a:lnTo>
                  <a:lnTo>
                    <a:pt x="1530350" y="2343151"/>
                  </a:lnTo>
                  <a:lnTo>
                    <a:pt x="1527175" y="2352676"/>
                  </a:lnTo>
                  <a:lnTo>
                    <a:pt x="1524000" y="2359026"/>
                  </a:lnTo>
                  <a:lnTo>
                    <a:pt x="1514475" y="2368551"/>
                  </a:lnTo>
                  <a:lnTo>
                    <a:pt x="1501775" y="2381251"/>
                  </a:lnTo>
                  <a:lnTo>
                    <a:pt x="1492250" y="2381251"/>
                  </a:lnTo>
                  <a:lnTo>
                    <a:pt x="1460500" y="2381251"/>
                  </a:lnTo>
                  <a:lnTo>
                    <a:pt x="1431925" y="2381251"/>
                  </a:lnTo>
                  <a:lnTo>
                    <a:pt x="1409700" y="2397126"/>
                  </a:lnTo>
                  <a:lnTo>
                    <a:pt x="1393825" y="2409826"/>
                  </a:lnTo>
                  <a:lnTo>
                    <a:pt x="1390650" y="2419351"/>
                  </a:lnTo>
                  <a:lnTo>
                    <a:pt x="1384300" y="2422526"/>
                  </a:lnTo>
                  <a:lnTo>
                    <a:pt x="1365250" y="2422526"/>
                  </a:lnTo>
                  <a:lnTo>
                    <a:pt x="1349375" y="2422526"/>
                  </a:lnTo>
                  <a:lnTo>
                    <a:pt x="1336675" y="2428876"/>
                  </a:lnTo>
                  <a:lnTo>
                    <a:pt x="1336675" y="2435226"/>
                  </a:lnTo>
                  <a:lnTo>
                    <a:pt x="1336675" y="2438401"/>
                  </a:lnTo>
                  <a:lnTo>
                    <a:pt x="1339850" y="2444751"/>
                  </a:lnTo>
                  <a:lnTo>
                    <a:pt x="1336675" y="2447926"/>
                  </a:lnTo>
                  <a:lnTo>
                    <a:pt x="1323975" y="2454276"/>
                  </a:lnTo>
                  <a:lnTo>
                    <a:pt x="1314450" y="2460626"/>
                  </a:lnTo>
                  <a:lnTo>
                    <a:pt x="1298575" y="2463801"/>
                  </a:lnTo>
                  <a:lnTo>
                    <a:pt x="1285875" y="2465388"/>
                  </a:lnTo>
                  <a:lnTo>
                    <a:pt x="1273175" y="2474913"/>
                  </a:lnTo>
                  <a:lnTo>
                    <a:pt x="1266825" y="2478088"/>
                  </a:lnTo>
                  <a:lnTo>
                    <a:pt x="1260475" y="2478088"/>
                  </a:lnTo>
                  <a:lnTo>
                    <a:pt x="1250950" y="2471738"/>
                  </a:lnTo>
                  <a:lnTo>
                    <a:pt x="1250950" y="2460626"/>
                  </a:lnTo>
                  <a:lnTo>
                    <a:pt x="1257300" y="2460626"/>
                  </a:lnTo>
                  <a:lnTo>
                    <a:pt x="1260475" y="2454276"/>
                  </a:lnTo>
                  <a:lnTo>
                    <a:pt x="1266825" y="2441576"/>
                  </a:lnTo>
                  <a:lnTo>
                    <a:pt x="1270000" y="2428876"/>
                  </a:lnTo>
                  <a:lnTo>
                    <a:pt x="1270000" y="2416176"/>
                  </a:lnTo>
                  <a:lnTo>
                    <a:pt x="1266825" y="2390776"/>
                  </a:lnTo>
                  <a:lnTo>
                    <a:pt x="1263650" y="2374901"/>
                  </a:lnTo>
                  <a:lnTo>
                    <a:pt x="1257300" y="2368551"/>
                  </a:lnTo>
                  <a:lnTo>
                    <a:pt x="1238250" y="2355851"/>
                  </a:lnTo>
                  <a:lnTo>
                    <a:pt x="1241425" y="2352676"/>
                  </a:lnTo>
                  <a:lnTo>
                    <a:pt x="1241425" y="2349501"/>
                  </a:lnTo>
                  <a:lnTo>
                    <a:pt x="1231900" y="2343151"/>
                  </a:lnTo>
                  <a:lnTo>
                    <a:pt x="1222375" y="2336801"/>
                  </a:lnTo>
                  <a:lnTo>
                    <a:pt x="1216025" y="2330451"/>
                  </a:lnTo>
                  <a:lnTo>
                    <a:pt x="1212850" y="2324101"/>
                  </a:lnTo>
                  <a:lnTo>
                    <a:pt x="1187450" y="2308226"/>
                  </a:lnTo>
                  <a:lnTo>
                    <a:pt x="1162050" y="2292351"/>
                  </a:lnTo>
                  <a:lnTo>
                    <a:pt x="1149350" y="2286001"/>
                  </a:lnTo>
                  <a:lnTo>
                    <a:pt x="1136650" y="2279651"/>
                  </a:lnTo>
                  <a:lnTo>
                    <a:pt x="1123950" y="2282826"/>
                  </a:lnTo>
                  <a:lnTo>
                    <a:pt x="1114425" y="2289176"/>
                  </a:lnTo>
                  <a:lnTo>
                    <a:pt x="1111250" y="2289176"/>
                  </a:lnTo>
                  <a:lnTo>
                    <a:pt x="1095375" y="2286001"/>
                  </a:lnTo>
                  <a:lnTo>
                    <a:pt x="1089025" y="2286001"/>
                  </a:lnTo>
                  <a:lnTo>
                    <a:pt x="1082675" y="2282826"/>
                  </a:lnTo>
                  <a:lnTo>
                    <a:pt x="1079500" y="2282826"/>
                  </a:lnTo>
                  <a:lnTo>
                    <a:pt x="1069975" y="2286001"/>
                  </a:lnTo>
                  <a:lnTo>
                    <a:pt x="1066800" y="2286001"/>
                  </a:lnTo>
                  <a:lnTo>
                    <a:pt x="1063625" y="2282826"/>
                  </a:lnTo>
                  <a:lnTo>
                    <a:pt x="1050925" y="2279651"/>
                  </a:lnTo>
                  <a:lnTo>
                    <a:pt x="1047750" y="2279651"/>
                  </a:lnTo>
                  <a:lnTo>
                    <a:pt x="1047750" y="2276476"/>
                  </a:lnTo>
                  <a:lnTo>
                    <a:pt x="1047750" y="2273301"/>
                  </a:lnTo>
                  <a:lnTo>
                    <a:pt x="1038225" y="2270126"/>
                  </a:lnTo>
                  <a:lnTo>
                    <a:pt x="1028700" y="2270126"/>
                  </a:lnTo>
                  <a:lnTo>
                    <a:pt x="1019175" y="2266951"/>
                  </a:lnTo>
                  <a:lnTo>
                    <a:pt x="1000125" y="2260601"/>
                  </a:lnTo>
                  <a:lnTo>
                    <a:pt x="996950" y="2247901"/>
                  </a:lnTo>
                  <a:lnTo>
                    <a:pt x="990600" y="2244726"/>
                  </a:lnTo>
                  <a:lnTo>
                    <a:pt x="990600" y="2257426"/>
                  </a:lnTo>
                  <a:lnTo>
                    <a:pt x="946150" y="2257426"/>
                  </a:lnTo>
                  <a:lnTo>
                    <a:pt x="857250" y="2257426"/>
                  </a:lnTo>
                  <a:lnTo>
                    <a:pt x="800100" y="2257426"/>
                  </a:lnTo>
                  <a:lnTo>
                    <a:pt x="669925" y="2257426"/>
                  </a:lnTo>
                  <a:lnTo>
                    <a:pt x="581025" y="2257426"/>
                  </a:lnTo>
                  <a:lnTo>
                    <a:pt x="539750" y="2257426"/>
                  </a:lnTo>
                  <a:lnTo>
                    <a:pt x="517525" y="2257426"/>
                  </a:lnTo>
                  <a:lnTo>
                    <a:pt x="393700" y="2257426"/>
                  </a:lnTo>
                  <a:lnTo>
                    <a:pt x="387350" y="2257426"/>
                  </a:lnTo>
                  <a:lnTo>
                    <a:pt x="387350" y="2251076"/>
                  </a:lnTo>
                  <a:lnTo>
                    <a:pt x="377825" y="2241551"/>
                  </a:lnTo>
                  <a:lnTo>
                    <a:pt x="374650" y="2238376"/>
                  </a:lnTo>
                  <a:lnTo>
                    <a:pt x="371475" y="2235201"/>
                  </a:lnTo>
                  <a:lnTo>
                    <a:pt x="368300" y="2235201"/>
                  </a:lnTo>
                  <a:lnTo>
                    <a:pt x="355600" y="2228851"/>
                  </a:lnTo>
                  <a:lnTo>
                    <a:pt x="349250" y="2222501"/>
                  </a:lnTo>
                  <a:lnTo>
                    <a:pt x="355600" y="2216151"/>
                  </a:lnTo>
                  <a:lnTo>
                    <a:pt x="355600" y="2206626"/>
                  </a:lnTo>
                  <a:lnTo>
                    <a:pt x="349250" y="2200276"/>
                  </a:lnTo>
                  <a:lnTo>
                    <a:pt x="342900" y="2209801"/>
                  </a:lnTo>
                  <a:lnTo>
                    <a:pt x="330200" y="2209801"/>
                  </a:lnTo>
                  <a:lnTo>
                    <a:pt x="320678" y="2206627"/>
                  </a:lnTo>
                  <a:lnTo>
                    <a:pt x="327025" y="2209800"/>
                  </a:lnTo>
                  <a:lnTo>
                    <a:pt x="336550" y="2212975"/>
                  </a:lnTo>
                  <a:lnTo>
                    <a:pt x="339725" y="2219325"/>
                  </a:lnTo>
                  <a:lnTo>
                    <a:pt x="342900" y="2225675"/>
                  </a:lnTo>
                  <a:lnTo>
                    <a:pt x="352425" y="2241550"/>
                  </a:lnTo>
                  <a:lnTo>
                    <a:pt x="374650" y="2257425"/>
                  </a:lnTo>
                  <a:lnTo>
                    <a:pt x="381000" y="2270125"/>
                  </a:lnTo>
                  <a:lnTo>
                    <a:pt x="377825" y="2279650"/>
                  </a:lnTo>
                  <a:lnTo>
                    <a:pt x="374650" y="2279650"/>
                  </a:lnTo>
                  <a:lnTo>
                    <a:pt x="346075" y="2266950"/>
                  </a:lnTo>
                  <a:lnTo>
                    <a:pt x="333375" y="2257425"/>
                  </a:lnTo>
                  <a:lnTo>
                    <a:pt x="330200" y="2254250"/>
                  </a:lnTo>
                  <a:lnTo>
                    <a:pt x="327025" y="2244725"/>
                  </a:lnTo>
                  <a:lnTo>
                    <a:pt x="323850" y="2241550"/>
                  </a:lnTo>
                  <a:lnTo>
                    <a:pt x="317500" y="2244725"/>
                  </a:lnTo>
                  <a:lnTo>
                    <a:pt x="311150" y="2244725"/>
                  </a:lnTo>
                  <a:lnTo>
                    <a:pt x="311150" y="2238375"/>
                  </a:lnTo>
                  <a:lnTo>
                    <a:pt x="298450" y="2225675"/>
                  </a:lnTo>
                  <a:lnTo>
                    <a:pt x="288925" y="2219325"/>
                  </a:lnTo>
                  <a:lnTo>
                    <a:pt x="285750" y="2219325"/>
                  </a:lnTo>
                  <a:lnTo>
                    <a:pt x="282575" y="2212975"/>
                  </a:lnTo>
                  <a:lnTo>
                    <a:pt x="276225" y="2206625"/>
                  </a:lnTo>
                  <a:lnTo>
                    <a:pt x="273050" y="2197100"/>
                  </a:lnTo>
                  <a:lnTo>
                    <a:pt x="279400" y="2193925"/>
                  </a:lnTo>
                  <a:lnTo>
                    <a:pt x="288925" y="2193925"/>
                  </a:lnTo>
                  <a:lnTo>
                    <a:pt x="295275" y="2200275"/>
                  </a:lnTo>
                  <a:lnTo>
                    <a:pt x="314325" y="2206625"/>
                  </a:lnTo>
                  <a:lnTo>
                    <a:pt x="320675" y="2206625"/>
                  </a:lnTo>
                  <a:lnTo>
                    <a:pt x="320675" y="2190750"/>
                  </a:lnTo>
                  <a:lnTo>
                    <a:pt x="311150" y="2193926"/>
                  </a:lnTo>
                  <a:lnTo>
                    <a:pt x="301625" y="2193926"/>
                  </a:lnTo>
                  <a:lnTo>
                    <a:pt x="285750" y="2184400"/>
                  </a:lnTo>
                  <a:lnTo>
                    <a:pt x="285750" y="2178050"/>
                  </a:lnTo>
                  <a:lnTo>
                    <a:pt x="285750" y="2171700"/>
                  </a:lnTo>
                  <a:lnTo>
                    <a:pt x="282575" y="2159000"/>
                  </a:lnTo>
                  <a:lnTo>
                    <a:pt x="285750" y="2146300"/>
                  </a:lnTo>
                  <a:lnTo>
                    <a:pt x="285750" y="2139950"/>
                  </a:lnTo>
                  <a:lnTo>
                    <a:pt x="279400" y="2130425"/>
                  </a:lnTo>
                  <a:lnTo>
                    <a:pt x="279400" y="2124075"/>
                  </a:lnTo>
                  <a:lnTo>
                    <a:pt x="276225" y="2127250"/>
                  </a:lnTo>
                  <a:lnTo>
                    <a:pt x="263525" y="2111375"/>
                  </a:lnTo>
                  <a:lnTo>
                    <a:pt x="260350" y="2105025"/>
                  </a:lnTo>
                  <a:lnTo>
                    <a:pt x="263525" y="2098675"/>
                  </a:lnTo>
                  <a:lnTo>
                    <a:pt x="263525" y="2095500"/>
                  </a:lnTo>
                  <a:lnTo>
                    <a:pt x="263525" y="2092325"/>
                  </a:lnTo>
                  <a:lnTo>
                    <a:pt x="266700" y="2089150"/>
                  </a:lnTo>
                  <a:lnTo>
                    <a:pt x="263525" y="2085975"/>
                  </a:lnTo>
                  <a:lnTo>
                    <a:pt x="257175" y="2095500"/>
                  </a:lnTo>
                  <a:lnTo>
                    <a:pt x="254000" y="2095500"/>
                  </a:lnTo>
                  <a:lnTo>
                    <a:pt x="254000" y="2105025"/>
                  </a:lnTo>
                  <a:lnTo>
                    <a:pt x="247650" y="2098675"/>
                  </a:lnTo>
                  <a:lnTo>
                    <a:pt x="238125" y="2085975"/>
                  </a:lnTo>
                  <a:lnTo>
                    <a:pt x="234950" y="2079625"/>
                  </a:lnTo>
                  <a:lnTo>
                    <a:pt x="234950" y="2076450"/>
                  </a:lnTo>
                  <a:lnTo>
                    <a:pt x="231775" y="2076450"/>
                  </a:lnTo>
                  <a:lnTo>
                    <a:pt x="231775" y="2073275"/>
                  </a:lnTo>
                  <a:lnTo>
                    <a:pt x="228600" y="2070100"/>
                  </a:lnTo>
                  <a:lnTo>
                    <a:pt x="231775" y="2057400"/>
                  </a:lnTo>
                  <a:lnTo>
                    <a:pt x="234950" y="2051050"/>
                  </a:lnTo>
                  <a:lnTo>
                    <a:pt x="234950" y="2041525"/>
                  </a:lnTo>
                  <a:lnTo>
                    <a:pt x="234950" y="2032000"/>
                  </a:lnTo>
                  <a:lnTo>
                    <a:pt x="234950" y="2019300"/>
                  </a:lnTo>
                  <a:lnTo>
                    <a:pt x="234950" y="2003425"/>
                  </a:lnTo>
                  <a:lnTo>
                    <a:pt x="231775" y="2003425"/>
                  </a:lnTo>
                  <a:lnTo>
                    <a:pt x="225425" y="2000250"/>
                  </a:lnTo>
                  <a:lnTo>
                    <a:pt x="209550" y="1987550"/>
                  </a:lnTo>
                  <a:lnTo>
                    <a:pt x="190500" y="1962150"/>
                  </a:lnTo>
                  <a:lnTo>
                    <a:pt x="168275" y="1920875"/>
                  </a:lnTo>
                  <a:lnTo>
                    <a:pt x="165100" y="1917700"/>
                  </a:lnTo>
                  <a:lnTo>
                    <a:pt x="165100" y="1911350"/>
                  </a:lnTo>
                  <a:lnTo>
                    <a:pt x="152400" y="1898650"/>
                  </a:lnTo>
                  <a:lnTo>
                    <a:pt x="136525" y="1873250"/>
                  </a:lnTo>
                  <a:lnTo>
                    <a:pt x="127000" y="1860550"/>
                  </a:lnTo>
                  <a:lnTo>
                    <a:pt x="117475" y="1854200"/>
                  </a:lnTo>
                  <a:lnTo>
                    <a:pt x="107950" y="1860550"/>
                  </a:lnTo>
                  <a:lnTo>
                    <a:pt x="104775" y="1866900"/>
                  </a:lnTo>
                  <a:lnTo>
                    <a:pt x="98425" y="1866900"/>
                  </a:lnTo>
                  <a:lnTo>
                    <a:pt x="92075" y="1879600"/>
                  </a:lnTo>
                  <a:lnTo>
                    <a:pt x="88900" y="1882775"/>
                  </a:lnTo>
                  <a:lnTo>
                    <a:pt x="79375" y="1889125"/>
                  </a:lnTo>
                  <a:lnTo>
                    <a:pt x="76200" y="1879600"/>
                  </a:lnTo>
                  <a:lnTo>
                    <a:pt x="73025" y="1876425"/>
                  </a:lnTo>
                  <a:lnTo>
                    <a:pt x="57150" y="1857375"/>
                  </a:lnTo>
                  <a:lnTo>
                    <a:pt x="44450" y="1847850"/>
                  </a:lnTo>
                  <a:lnTo>
                    <a:pt x="41275" y="1838325"/>
                  </a:lnTo>
                  <a:lnTo>
                    <a:pt x="41275" y="1828800"/>
                  </a:lnTo>
                  <a:lnTo>
                    <a:pt x="28575" y="1831975"/>
                  </a:lnTo>
                  <a:lnTo>
                    <a:pt x="22225" y="1838325"/>
                  </a:lnTo>
                  <a:lnTo>
                    <a:pt x="15875" y="1835150"/>
                  </a:lnTo>
                  <a:lnTo>
                    <a:pt x="0" y="1831975"/>
                  </a:lnTo>
                  <a:lnTo>
                    <a:pt x="0" y="1803400"/>
                  </a:lnTo>
                  <a:lnTo>
                    <a:pt x="0" y="1743075"/>
                  </a:lnTo>
                  <a:lnTo>
                    <a:pt x="0" y="1622425"/>
                  </a:lnTo>
                  <a:lnTo>
                    <a:pt x="0" y="1349375"/>
                  </a:lnTo>
                  <a:lnTo>
                    <a:pt x="28575" y="1352550"/>
                  </a:lnTo>
                  <a:lnTo>
                    <a:pt x="50800" y="1371600"/>
                  </a:lnTo>
                  <a:lnTo>
                    <a:pt x="57150" y="1374775"/>
                  </a:lnTo>
                  <a:lnTo>
                    <a:pt x="60325" y="1381125"/>
                  </a:lnTo>
                  <a:lnTo>
                    <a:pt x="73025" y="1387475"/>
                  </a:lnTo>
                  <a:lnTo>
                    <a:pt x="82550" y="1393825"/>
                  </a:lnTo>
                  <a:lnTo>
                    <a:pt x="92075" y="1397000"/>
                  </a:lnTo>
                  <a:lnTo>
                    <a:pt x="98425" y="1397000"/>
                  </a:lnTo>
                  <a:lnTo>
                    <a:pt x="111125" y="1397000"/>
                  </a:lnTo>
                  <a:lnTo>
                    <a:pt x="120650" y="1397000"/>
                  </a:lnTo>
                  <a:lnTo>
                    <a:pt x="133350" y="1387475"/>
                  </a:lnTo>
                  <a:lnTo>
                    <a:pt x="155575" y="1368425"/>
                  </a:lnTo>
                  <a:lnTo>
                    <a:pt x="168275" y="1365250"/>
                  </a:lnTo>
                  <a:lnTo>
                    <a:pt x="174625" y="1349375"/>
                  </a:lnTo>
                  <a:lnTo>
                    <a:pt x="200025" y="1339850"/>
                  </a:lnTo>
                  <a:lnTo>
                    <a:pt x="215900" y="1327150"/>
                  </a:lnTo>
                  <a:lnTo>
                    <a:pt x="225425" y="1317625"/>
                  </a:lnTo>
                  <a:lnTo>
                    <a:pt x="244475" y="1311275"/>
                  </a:lnTo>
                  <a:lnTo>
                    <a:pt x="254000" y="1323975"/>
                  </a:lnTo>
                  <a:lnTo>
                    <a:pt x="260350" y="1330325"/>
                  </a:lnTo>
                  <a:lnTo>
                    <a:pt x="266700" y="1327150"/>
                  </a:lnTo>
                  <a:lnTo>
                    <a:pt x="273050" y="1320800"/>
                  </a:lnTo>
                  <a:lnTo>
                    <a:pt x="276225" y="1301750"/>
                  </a:lnTo>
                  <a:lnTo>
                    <a:pt x="282575" y="1292225"/>
                  </a:lnTo>
                  <a:lnTo>
                    <a:pt x="292100" y="1301750"/>
                  </a:lnTo>
                  <a:lnTo>
                    <a:pt x="301625" y="1314450"/>
                  </a:lnTo>
                  <a:lnTo>
                    <a:pt x="304800" y="1323975"/>
                  </a:lnTo>
                  <a:lnTo>
                    <a:pt x="307975" y="1330325"/>
                  </a:lnTo>
                  <a:lnTo>
                    <a:pt x="307975" y="1333500"/>
                  </a:lnTo>
                  <a:lnTo>
                    <a:pt x="314325" y="1349375"/>
                  </a:lnTo>
                  <a:lnTo>
                    <a:pt x="323850" y="1365250"/>
                  </a:lnTo>
                  <a:lnTo>
                    <a:pt x="336550" y="1371600"/>
                  </a:lnTo>
                  <a:lnTo>
                    <a:pt x="342900" y="1362075"/>
                  </a:lnTo>
                  <a:lnTo>
                    <a:pt x="336550" y="1362075"/>
                  </a:lnTo>
                  <a:lnTo>
                    <a:pt x="339725" y="1343025"/>
                  </a:lnTo>
                  <a:lnTo>
                    <a:pt x="342900" y="1327150"/>
                  </a:lnTo>
                  <a:lnTo>
                    <a:pt x="355600" y="1317625"/>
                  </a:lnTo>
                  <a:lnTo>
                    <a:pt x="361950" y="1327150"/>
                  </a:lnTo>
                  <a:lnTo>
                    <a:pt x="365125" y="1346200"/>
                  </a:lnTo>
                  <a:lnTo>
                    <a:pt x="361950" y="1352550"/>
                  </a:lnTo>
                  <a:lnTo>
                    <a:pt x="355600" y="1365250"/>
                  </a:lnTo>
                  <a:lnTo>
                    <a:pt x="368300" y="1368425"/>
                  </a:lnTo>
                  <a:lnTo>
                    <a:pt x="381000" y="1365250"/>
                  </a:lnTo>
                  <a:lnTo>
                    <a:pt x="387350" y="1355725"/>
                  </a:lnTo>
                  <a:lnTo>
                    <a:pt x="387350" y="1343025"/>
                  </a:lnTo>
                  <a:lnTo>
                    <a:pt x="393700" y="1339850"/>
                  </a:lnTo>
                  <a:lnTo>
                    <a:pt x="400050" y="1339850"/>
                  </a:lnTo>
                  <a:lnTo>
                    <a:pt x="425450" y="1343025"/>
                  </a:lnTo>
                  <a:lnTo>
                    <a:pt x="438150" y="1355725"/>
                  </a:lnTo>
                  <a:lnTo>
                    <a:pt x="450850" y="1365250"/>
                  </a:lnTo>
                  <a:lnTo>
                    <a:pt x="469900" y="1371600"/>
                  </a:lnTo>
                  <a:lnTo>
                    <a:pt x="482600" y="1374775"/>
                  </a:lnTo>
                  <a:lnTo>
                    <a:pt x="488950" y="1384300"/>
                  </a:lnTo>
                  <a:lnTo>
                    <a:pt x="511175" y="1393825"/>
                  </a:lnTo>
                  <a:lnTo>
                    <a:pt x="523875" y="1397000"/>
                  </a:lnTo>
                  <a:lnTo>
                    <a:pt x="533400" y="1393825"/>
                  </a:lnTo>
                  <a:lnTo>
                    <a:pt x="542925" y="1390650"/>
                  </a:lnTo>
                  <a:lnTo>
                    <a:pt x="558800" y="1397000"/>
                  </a:lnTo>
                  <a:lnTo>
                    <a:pt x="584200" y="1422400"/>
                  </a:lnTo>
                  <a:lnTo>
                    <a:pt x="584200" y="1435100"/>
                  </a:lnTo>
                  <a:lnTo>
                    <a:pt x="577850" y="1435100"/>
                  </a:lnTo>
                  <a:lnTo>
                    <a:pt x="565150" y="1431925"/>
                  </a:lnTo>
                  <a:lnTo>
                    <a:pt x="552450" y="1450975"/>
                  </a:lnTo>
                  <a:lnTo>
                    <a:pt x="549275" y="1454150"/>
                  </a:lnTo>
                  <a:lnTo>
                    <a:pt x="558800" y="1457325"/>
                  </a:lnTo>
                  <a:lnTo>
                    <a:pt x="571500" y="1460500"/>
                  </a:lnTo>
                  <a:lnTo>
                    <a:pt x="577850" y="1463675"/>
                  </a:lnTo>
                  <a:lnTo>
                    <a:pt x="584200" y="1466850"/>
                  </a:lnTo>
                  <a:lnTo>
                    <a:pt x="612775" y="1466850"/>
                  </a:lnTo>
                  <a:lnTo>
                    <a:pt x="622300" y="1463675"/>
                  </a:lnTo>
                  <a:lnTo>
                    <a:pt x="638175" y="1463675"/>
                  </a:lnTo>
                  <a:lnTo>
                    <a:pt x="650875" y="1457325"/>
                  </a:lnTo>
                  <a:lnTo>
                    <a:pt x="663575" y="1450975"/>
                  </a:lnTo>
                  <a:lnTo>
                    <a:pt x="669925" y="1450975"/>
                  </a:lnTo>
                  <a:lnTo>
                    <a:pt x="673100" y="1457325"/>
                  </a:lnTo>
                  <a:lnTo>
                    <a:pt x="679450" y="1460500"/>
                  </a:lnTo>
                  <a:lnTo>
                    <a:pt x="688975" y="1466850"/>
                  </a:lnTo>
                  <a:lnTo>
                    <a:pt x="701675" y="1476375"/>
                  </a:lnTo>
                  <a:lnTo>
                    <a:pt x="711200" y="1489075"/>
                  </a:lnTo>
                  <a:lnTo>
                    <a:pt x="714375" y="1495425"/>
                  </a:lnTo>
                  <a:lnTo>
                    <a:pt x="720725" y="1511300"/>
                  </a:lnTo>
                  <a:lnTo>
                    <a:pt x="730250" y="1514475"/>
                  </a:lnTo>
                  <a:lnTo>
                    <a:pt x="727075" y="1498600"/>
                  </a:lnTo>
                  <a:lnTo>
                    <a:pt x="723900" y="1495425"/>
                  </a:lnTo>
                  <a:lnTo>
                    <a:pt x="714375" y="1466850"/>
                  </a:lnTo>
                  <a:lnTo>
                    <a:pt x="708025" y="1441450"/>
                  </a:lnTo>
                  <a:lnTo>
                    <a:pt x="701675" y="1435100"/>
                  </a:lnTo>
                  <a:lnTo>
                    <a:pt x="695325" y="1431925"/>
                  </a:lnTo>
                  <a:lnTo>
                    <a:pt x="704850" y="1412875"/>
                  </a:lnTo>
                  <a:lnTo>
                    <a:pt x="717550" y="1409700"/>
                  </a:lnTo>
                  <a:lnTo>
                    <a:pt x="742950" y="1400175"/>
                  </a:lnTo>
                  <a:lnTo>
                    <a:pt x="752475" y="1393825"/>
                  </a:lnTo>
                  <a:lnTo>
                    <a:pt x="765175" y="1403350"/>
                  </a:lnTo>
                  <a:lnTo>
                    <a:pt x="768350" y="1416050"/>
                  </a:lnTo>
                  <a:lnTo>
                    <a:pt x="771525" y="1425575"/>
                  </a:lnTo>
                  <a:lnTo>
                    <a:pt x="771525" y="1428750"/>
                  </a:lnTo>
                  <a:lnTo>
                    <a:pt x="774700" y="1431925"/>
                  </a:lnTo>
                  <a:lnTo>
                    <a:pt x="777875" y="1435100"/>
                  </a:lnTo>
                  <a:lnTo>
                    <a:pt x="777875" y="1431925"/>
                  </a:lnTo>
                  <a:lnTo>
                    <a:pt x="787400" y="1435100"/>
                  </a:lnTo>
                  <a:lnTo>
                    <a:pt x="787400" y="1438275"/>
                  </a:lnTo>
                  <a:lnTo>
                    <a:pt x="787400" y="1444625"/>
                  </a:lnTo>
                  <a:lnTo>
                    <a:pt x="800100" y="1447800"/>
                  </a:lnTo>
                  <a:lnTo>
                    <a:pt x="838200" y="1466850"/>
                  </a:lnTo>
                  <a:lnTo>
                    <a:pt x="847725" y="1466850"/>
                  </a:lnTo>
                  <a:lnTo>
                    <a:pt x="854075" y="1466850"/>
                  </a:lnTo>
                  <a:lnTo>
                    <a:pt x="866775" y="1463675"/>
                  </a:lnTo>
                  <a:lnTo>
                    <a:pt x="873125" y="1460500"/>
                  </a:lnTo>
                  <a:lnTo>
                    <a:pt x="876300" y="1457325"/>
                  </a:lnTo>
                  <a:lnTo>
                    <a:pt x="889000" y="1457325"/>
                  </a:lnTo>
                  <a:lnTo>
                    <a:pt x="898525" y="1460500"/>
                  </a:lnTo>
                  <a:lnTo>
                    <a:pt x="908050" y="1463675"/>
                  </a:lnTo>
                  <a:lnTo>
                    <a:pt x="920750" y="1460500"/>
                  </a:lnTo>
                  <a:lnTo>
                    <a:pt x="911225" y="1447800"/>
                  </a:lnTo>
                  <a:lnTo>
                    <a:pt x="914400" y="1425575"/>
                  </a:lnTo>
                  <a:lnTo>
                    <a:pt x="933450" y="1416050"/>
                  </a:lnTo>
                  <a:lnTo>
                    <a:pt x="946150" y="1422400"/>
                  </a:lnTo>
                  <a:lnTo>
                    <a:pt x="949325" y="1431925"/>
                  </a:lnTo>
                  <a:lnTo>
                    <a:pt x="952500" y="1431925"/>
                  </a:lnTo>
                  <a:lnTo>
                    <a:pt x="965200" y="1431925"/>
                  </a:lnTo>
                  <a:lnTo>
                    <a:pt x="974725" y="1431925"/>
                  </a:lnTo>
                  <a:lnTo>
                    <a:pt x="971550" y="1435100"/>
                  </a:lnTo>
                  <a:lnTo>
                    <a:pt x="971550" y="1447800"/>
                  </a:lnTo>
                  <a:lnTo>
                    <a:pt x="965200" y="1466850"/>
                  </a:lnTo>
                  <a:lnTo>
                    <a:pt x="965200" y="1479550"/>
                  </a:lnTo>
                  <a:lnTo>
                    <a:pt x="971550" y="1492250"/>
                  </a:lnTo>
                  <a:lnTo>
                    <a:pt x="981075" y="1482725"/>
                  </a:lnTo>
                  <a:lnTo>
                    <a:pt x="987425" y="1498600"/>
                  </a:lnTo>
                  <a:lnTo>
                    <a:pt x="984250" y="1460500"/>
                  </a:lnTo>
                  <a:lnTo>
                    <a:pt x="993775" y="1444625"/>
                  </a:lnTo>
                  <a:lnTo>
                    <a:pt x="1003300" y="1441450"/>
                  </a:lnTo>
                  <a:lnTo>
                    <a:pt x="1009650" y="1435100"/>
                  </a:lnTo>
                  <a:lnTo>
                    <a:pt x="1025525" y="1416050"/>
                  </a:lnTo>
                  <a:lnTo>
                    <a:pt x="1022350" y="1403350"/>
                  </a:lnTo>
                  <a:lnTo>
                    <a:pt x="1009650" y="1403350"/>
                  </a:lnTo>
                  <a:lnTo>
                    <a:pt x="1006475" y="1406525"/>
                  </a:lnTo>
                  <a:lnTo>
                    <a:pt x="1003300" y="1400175"/>
                  </a:lnTo>
                  <a:lnTo>
                    <a:pt x="1003300" y="1390650"/>
                  </a:lnTo>
                  <a:lnTo>
                    <a:pt x="1006475" y="1390650"/>
                  </a:lnTo>
                  <a:lnTo>
                    <a:pt x="1012825" y="1387475"/>
                  </a:lnTo>
                  <a:lnTo>
                    <a:pt x="1016000" y="1381125"/>
                  </a:lnTo>
                  <a:lnTo>
                    <a:pt x="1028700" y="1368425"/>
                  </a:lnTo>
                  <a:lnTo>
                    <a:pt x="1019175" y="1358900"/>
                  </a:lnTo>
                  <a:lnTo>
                    <a:pt x="1016000" y="1362075"/>
                  </a:lnTo>
                  <a:lnTo>
                    <a:pt x="1006475" y="1355725"/>
                  </a:lnTo>
                  <a:lnTo>
                    <a:pt x="993775" y="1352550"/>
                  </a:lnTo>
                  <a:lnTo>
                    <a:pt x="981075" y="1343025"/>
                  </a:lnTo>
                  <a:lnTo>
                    <a:pt x="968375" y="1330325"/>
                  </a:lnTo>
                  <a:lnTo>
                    <a:pt x="958850" y="1314450"/>
                  </a:lnTo>
                  <a:lnTo>
                    <a:pt x="965200" y="1292225"/>
                  </a:lnTo>
                  <a:lnTo>
                    <a:pt x="958850" y="1279525"/>
                  </a:lnTo>
                  <a:lnTo>
                    <a:pt x="958850" y="1270000"/>
                  </a:lnTo>
                  <a:lnTo>
                    <a:pt x="962025" y="1257300"/>
                  </a:lnTo>
                  <a:lnTo>
                    <a:pt x="958850" y="1254125"/>
                  </a:lnTo>
                  <a:lnTo>
                    <a:pt x="965200" y="1241425"/>
                  </a:lnTo>
                  <a:lnTo>
                    <a:pt x="981075" y="1216025"/>
                  </a:lnTo>
                  <a:close/>
                  <a:moveTo>
                    <a:pt x="955675" y="1111250"/>
                  </a:moveTo>
                  <a:lnTo>
                    <a:pt x="958850" y="1127125"/>
                  </a:lnTo>
                  <a:lnTo>
                    <a:pt x="949325" y="1127125"/>
                  </a:lnTo>
                  <a:close/>
                  <a:moveTo>
                    <a:pt x="571500" y="1095375"/>
                  </a:moveTo>
                  <a:lnTo>
                    <a:pt x="584200" y="1114425"/>
                  </a:lnTo>
                  <a:lnTo>
                    <a:pt x="603250" y="1123950"/>
                  </a:lnTo>
                  <a:lnTo>
                    <a:pt x="609600" y="1123950"/>
                  </a:lnTo>
                  <a:lnTo>
                    <a:pt x="619125" y="1127125"/>
                  </a:lnTo>
                  <a:lnTo>
                    <a:pt x="635000" y="1136650"/>
                  </a:lnTo>
                  <a:lnTo>
                    <a:pt x="641350" y="1143000"/>
                  </a:lnTo>
                  <a:lnTo>
                    <a:pt x="644525" y="1165225"/>
                  </a:lnTo>
                  <a:lnTo>
                    <a:pt x="650875" y="1162050"/>
                  </a:lnTo>
                  <a:lnTo>
                    <a:pt x="660400" y="1155700"/>
                  </a:lnTo>
                  <a:lnTo>
                    <a:pt x="666750" y="1158875"/>
                  </a:lnTo>
                  <a:lnTo>
                    <a:pt x="673100" y="1165225"/>
                  </a:lnTo>
                  <a:lnTo>
                    <a:pt x="673100" y="1162050"/>
                  </a:lnTo>
                  <a:lnTo>
                    <a:pt x="669925" y="1143000"/>
                  </a:lnTo>
                  <a:lnTo>
                    <a:pt x="657225" y="1133475"/>
                  </a:lnTo>
                  <a:lnTo>
                    <a:pt x="654050" y="1123950"/>
                  </a:lnTo>
                  <a:lnTo>
                    <a:pt x="657225" y="1123950"/>
                  </a:lnTo>
                  <a:lnTo>
                    <a:pt x="669925" y="1127125"/>
                  </a:lnTo>
                  <a:lnTo>
                    <a:pt x="698500" y="1158875"/>
                  </a:lnTo>
                  <a:lnTo>
                    <a:pt x="704850" y="1187450"/>
                  </a:lnTo>
                  <a:lnTo>
                    <a:pt x="708025" y="1209675"/>
                  </a:lnTo>
                  <a:lnTo>
                    <a:pt x="711200" y="1219200"/>
                  </a:lnTo>
                  <a:lnTo>
                    <a:pt x="717550" y="1222375"/>
                  </a:lnTo>
                  <a:lnTo>
                    <a:pt x="720725" y="1212850"/>
                  </a:lnTo>
                  <a:lnTo>
                    <a:pt x="720725" y="1193800"/>
                  </a:lnTo>
                  <a:lnTo>
                    <a:pt x="717550" y="1168400"/>
                  </a:lnTo>
                  <a:lnTo>
                    <a:pt x="708025" y="1130300"/>
                  </a:lnTo>
                  <a:lnTo>
                    <a:pt x="711200" y="1101725"/>
                  </a:lnTo>
                  <a:lnTo>
                    <a:pt x="720725" y="1098550"/>
                  </a:lnTo>
                  <a:lnTo>
                    <a:pt x="736600" y="1101725"/>
                  </a:lnTo>
                  <a:lnTo>
                    <a:pt x="742950" y="1104900"/>
                  </a:lnTo>
                  <a:lnTo>
                    <a:pt x="758825" y="1120775"/>
                  </a:lnTo>
                  <a:lnTo>
                    <a:pt x="765175" y="1133475"/>
                  </a:lnTo>
                  <a:lnTo>
                    <a:pt x="771525" y="1158875"/>
                  </a:lnTo>
                  <a:lnTo>
                    <a:pt x="781050" y="1187450"/>
                  </a:lnTo>
                  <a:lnTo>
                    <a:pt x="787400" y="1209675"/>
                  </a:lnTo>
                  <a:lnTo>
                    <a:pt x="793750" y="1235075"/>
                  </a:lnTo>
                  <a:lnTo>
                    <a:pt x="787400" y="1254125"/>
                  </a:lnTo>
                  <a:lnTo>
                    <a:pt x="796925" y="1273175"/>
                  </a:lnTo>
                  <a:lnTo>
                    <a:pt x="809625" y="1289050"/>
                  </a:lnTo>
                  <a:lnTo>
                    <a:pt x="815975" y="1292225"/>
                  </a:lnTo>
                  <a:lnTo>
                    <a:pt x="822325" y="1292225"/>
                  </a:lnTo>
                  <a:lnTo>
                    <a:pt x="835025" y="1301750"/>
                  </a:lnTo>
                  <a:lnTo>
                    <a:pt x="850900" y="1314450"/>
                  </a:lnTo>
                  <a:lnTo>
                    <a:pt x="863600" y="1314450"/>
                  </a:lnTo>
                  <a:lnTo>
                    <a:pt x="866775" y="1339850"/>
                  </a:lnTo>
                  <a:lnTo>
                    <a:pt x="857250" y="1349375"/>
                  </a:lnTo>
                  <a:lnTo>
                    <a:pt x="847725" y="1346200"/>
                  </a:lnTo>
                  <a:lnTo>
                    <a:pt x="835025" y="1346200"/>
                  </a:lnTo>
                  <a:lnTo>
                    <a:pt x="825500" y="1352550"/>
                  </a:lnTo>
                  <a:lnTo>
                    <a:pt x="822325" y="1355725"/>
                  </a:lnTo>
                  <a:lnTo>
                    <a:pt x="822325" y="1368425"/>
                  </a:lnTo>
                  <a:lnTo>
                    <a:pt x="835025" y="1358900"/>
                  </a:lnTo>
                  <a:lnTo>
                    <a:pt x="844550" y="1365250"/>
                  </a:lnTo>
                  <a:lnTo>
                    <a:pt x="844550" y="1390650"/>
                  </a:lnTo>
                  <a:lnTo>
                    <a:pt x="831850" y="1397000"/>
                  </a:lnTo>
                  <a:lnTo>
                    <a:pt x="806450" y="1400175"/>
                  </a:lnTo>
                  <a:lnTo>
                    <a:pt x="774700" y="1397000"/>
                  </a:lnTo>
                  <a:lnTo>
                    <a:pt x="765175" y="1381125"/>
                  </a:lnTo>
                  <a:lnTo>
                    <a:pt x="762000" y="1377950"/>
                  </a:lnTo>
                  <a:lnTo>
                    <a:pt x="752475" y="1374775"/>
                  </a:lnTo>
                  <a:lnTo>
                    <a:pt x="749300" y="1368425"/>
                  </a:lnTo>
                  <a:lnTo>
                    <a:pt x="746125" y="1358900"/>
                  </a:lnTo>
                  <a:lnTo>
                    <a:pt x="736600" y="1371600"/>
                  </a:lnTo>
                  <a:lnTo>
                    <a:pt x="720725" y="1390650"/>
                  </a:lnTo>
                  <a:lnTo>
                    <a:pt x="708025" y="1393825"/>
                  </a:lnTo>
                  <a:lnTo>
                    <a:pt x="701675" y="1393825"/>
                  </a:lnTo>
                  <a:lnTo>
                    <a:pt x="695325" y="1403350"/>
                  </a:lnTo>
                  <a:lnTo>
                    <a:pt x="682625" y="1409700"/>
                  </a:lnTo>
                  <a:lnTo>
                    <a:pt x="657225" y="1412875"/>
                  </a:lnTo>
                  <a:lnTo>
                    <a:pt x="625475" y="1419225"/>
                  </a:lnTo>
                  <a:lnTo>
                    <a:pt x="600075" y="1422400"/>
                  </a:lnTo>
                  <a:lnTo>
                    <a:pt x="590550" y="1400175"/>
                  </a:lnTo>
                  <a:lnTo>
                    <a:pt x="590550" y="1387475"/>
                  </a:lnTo>
                  <a:lnTo>
                    <a:pt x="587375" y="1374775"/>
                  </a:lnTo>
                  <a:lnTo>
                    <a:pt x="574675" y="1371600"/>
                  </a:lnTo>
                  <a:lnTo>
                    <a:pt x="565150" y="1374775"/>
                  </a:lnTo>
                  <a:lnTo>
                    <a:pt x="539750" y="1371600"/>
                  </a:lnTo>
                  <a:lnTo>
                    <a:pt x="523875" y="1358900"/>
                  </a:lnTo>
                  <a:lnTo>
                    <a:pt x="511175" y="1339850"/>
                  </a:lnTo>
                  <a:lnTo>
                    <a:pt x="508000" y="1327150"/>
                  </a:lnTo>
                  <a:lnTo>
                    <a:pt x="514350" y="1323975"/>
                  </a:lnTo>
                  <a:lnTo>
                    <a:pt x="527050" y="1317625"/>
                  </a:lnTo>
                  <a:lnTo>
                    <a:pt x="552450" y="1311275"/>
                  </a:lnTo>
                  <a:lnTo>
                    <a:pt x="609600" y="1314450"/>
                  </a:lnTo>
                  <a:lnTo>
                    <a:pt x="625475" y="1314450"/>
                  </a:lnTo>
                  <a:lnTo>
                    <a:pt x="638175" y="1308100"/>
                  </a:lnTo>
                  <a:lnTo>
                    <a:pt x="625475" y="1301750"/>
                  </a:lnTo>
                  <a:lnTo>
                    <a:pt x="615950" y="1295400"/>
                  </a:lnTo>
                  <a:lnTo>
                    <a:pt x="584200" y="1282700"/>
                  </a:lnTo>
                  <a:lnTo>
                    <a:pt x="571500" y="1289050"/>
                  </a:lnTo>
                  <a:lnTo>
                    <a:pt x="558800" y="1289050"/>
                  </a:lnTo>
                  <a:lnTo>
                    <a:pt x="527050" y="1289050"/>
                  </a:lnTo>
                  <a:lnTo>
                    <a:pt x="514350" y="1289050"/>
                  </a:lnTo>
                  <a:lnTo>
                    <a:pt x="508000" y="1289050"/>
                  </a:lnTo>
                  <a:lnTo>
                    <a:pt x="498475" y="1279525"/>
                  </a:lnTo>
                  <a:lnTo>
                    <a:pt x="488950" y="1266825"/>
                  </a:lnTo>
                  <a:lnTo>
                    <a:pt x="479425" y="1225550"/>
                  </a:lnTo>
                  <a:lnTo>
                    <a:pt x="473075" y="1209675"/>
                  </a:lnTo>
                  <a:lnTo>
                    <a:pt x="476250" y="1196975"/>
                  </a:lnTo>
                  <a:lnTo>
                    <a:pt x="482600" y="1174750"/>
                  </a:lnTo>
                  <a:lnTo>
                    <a:pt x="488950" y="1155700"/>
                  </a:lnTo>
                  <a:lnTo>
                    <a:pt x="504825" y="1139825"/>
                  </a:lnTo>
                  <a:lnTo>
                    <a:pt x="561975" y="1098550"/>
                  </a:lnTo>
                  <a:close/>
                  <a:moveTo>
                    <a:pt x="1301750" y="1066800"/>
                  </a:moveTo>
                  <a:lnTo>
                    <a:pt x="1327150" y="1076325"/>
                  </a:lnTo>
                  <a:lnTo>
                    <a:pt x="1349375" y="1073150"/>
                  </a:lnTo>
                  <a:lnTo>
                    <a:pt x="1377950" y="1085850"/>
                  </a:lnTo>
                  <a:lnTo>
                    <a:pt x="1400175" y="1127125"/>
                  </a:lnTo>
                  <a:lnTo>
                    <a:pt x="1393825" y="1136650"/>
                  </a:lnTo>
                  <a:lnTo>
                    <a:pt x="1381125" y="1136650"/>
                  </a:lnTo>
                  <a:lnTo>
                    <a:pt x="1368425" y="1130300"/>
                  </a:lnTo>
                  <a:lnTo>
                    <a:pt x="1355725" y="1130300"/>
                  </a:lnTo>
                  <a:lnTo>
                    <a:pt x="1330325" y="1143000"/>
                  </a:lnTo>
                  <a:lnTo>
                    <a:pt x="1308100" y="1114425"/>
                  </a:lnTo>
                  <a:lnTo>
                    <a:pt x="1298575" y="1098550"/>
                  </a:lnTo>
                  <a:lnTo>
                    <a:pt x="1298575" y="1079500"/>
                  </a:lnTo>
                  <a:close/>
                  <a:moveTo>
                    <a:pt x="765175" y="1066800"/>
                  </a:moveTo>
                  <a:lnTo>
                    <a:pt x="777875" y="1069975"/>
                  </a:lnTo>
                  <a:lnTo>
                    <a:pt x="790575" y="1082675"/>
                  </a:lnTo>
                  <a:lnTo>
                    <a:pt x="774700" y="1127125"/>
                  </a:lnTo>
                  <a:lnTo>
                    <a:pt x="765175" y="1123950"/>
                  </a:lnTo>
                  <a:lnTo>
                    <a:pt x="746125" y="1095375"/>
                  </a:lnTo>
                  <a:lnTo>
                    <a:pt x="733425" y="1089025"/>
                  </a:lnTo>
                  <a:lnTo>
                    <a:pt x="746125" y="1069975"/>
                  </a:lnTo>
                  <a:close/>
                  <a:moveTo>
                    <a:pt x="1196975" y="1060450"/>
                  </a:moveTo>
                  <a:lnTo>
                    <a:pt x="1212850" y="1066800"/>
                  </a:lnTo>
                  <a:lnTo>
                    <a:pt x="1203325" y="1082675"/>
                  </a:lnTo>
                  <a:lnTo>
                    <a:pt x="1190625" y="1095375"/>
                  </a:lnTo>
                  <a:lnTo>
                    <a:pt x="1177925" y="1123950"/>
                  </a:lnTo>
                  <a:lnTo>
                    <a:pt x="1171575" y="1149350"/>
                  </a:lnTo>
                  <a:lnTo>
                    <a:pt x="1177925" y="1177925"/>
                  </a:lnTo>
                  <a:lnTo>
                    <a:pt x="1177925" y="1193800"/>
                  </a:lnTo>
                  <a:lnTo>
                    <a:pt x="1190625" y="1216025"/>
                  </a:lnTo>
                  <a:lnTo>
                    <a:pt x="1203325" y="1231900"/>
                  </a:lnTo>
                  <a:lnTo>
                    <a:pt x="1206500" y="1235075"/>
                  </a:lnTo>
                  <a:lnTo>
                    <a:pt x="1203325" y="1247775"/>
                  </a:lnTo>
                  <a:lnTo>
                    <a:pt x="1209675" y="1250950"/>
                  </a:lnTo>
                  <a:lnTo>
                    <a:pt x="1219200" y="1235075"/>
                  </a:lnTo>
                  <a:lnTo>
                    <a:pt x="1219200" y="1225550"/>
                  </a:lnTo>
                  <a:lnTo>
                    <a:pt x="1216025" y="1219200"/>
                  </a:lnTo>
                  <a:lnTo>
                    <a:pt x="1209675" y="1219200"/>
                  </a:lnTo>
                  <a:lnTo>
                    <a:pt x="1203325" y="1216025"/>
                  </a:lnTo>
                  <a:lnTo>
                    <a:pt x="1200150" y="1190625"/>
                  </a:lnTo>
                  <a:lnTo>
                    <a:pt x="1200150" y="1177925"/>
                  </a:lnTo>
                  <a:lnTo>
                    <a:pt x="1209675" y="1177925"/>
                  </a:lnTo>
                  <a:lnTo>
                    <a:pt x="1203325" y="1168400"/>
                  </a:lnTo>
                  <a:lnTo>
                    <a:pt x="1196975" y="1162050"/>
                  </a:lnTo>
                  <a:lnTo>
                    <a:pt x="1196975" y="1130300"/>
                  </a:lnTo>
                  <a:lnTo>
                    <a:pt x="1200150" y="1127125"/>
                  </a:lnTo>
                  <a:lnTo>
                    <a:pt x="1203325" y="1120775"/>
                  </a:lnTo>
                  <a:lnTo>
                    <a:pt x="1209675" y="1095375"/>
                  </a:lnTo>
                  <a:lnTo>
                    <a:pt x="1241425" y="1079500"/>
                  </a:lnTo>
                  <a:lnTo>
                    <a:pt x="1254125" y="1069975"/>
                  </a:lnTo>
                  <a:lnTo>
                    <a:pt x="1266825" y="1069975"/>
                  </a:lnTo>
                  <a:lnTo>
                    <a:pt x="1282700" y="1069975"/>
                  </a:lnTo>
                  <a:lnTo>
                    <a:pt x="1289050" y="1082675"/>
                  </a:lnTo>
                  <a:lnTo>
                    <a:pt x="1292225" y="1095375"/>
                  </a:lnTo>
                  <a:lnTo>
                    <a:pt x="1295400" y="1101725"/>
                  </a:lnTo>
                  <a:lnTo>
                    <a:pt x="1301750" y="1114425"/>
                  </a:lnTo>
                  <a:lnTo>
                    <a:pt x="1308100" y="1139825"/>
                  </a:lnTo>
                  <a:lnTo>
                    <a:pt x="1308100" y="1162050"/>
                  </a:lnTo>
                  <a:lnTo>
                    <a:pt x="1304925" y="1190625"/>
                  </a:lnTo>
                  <a:lnTo>
                    <a:pt x="1311275" y="1190625"/>
                  </a:lnTo>
                  <a:lnTo>
                    <a:pt x="1317625" y="1181100"/>
                  </a:lnTo>
                  <a:lnTo>
                    <a:pt x="1314450" y="1171575"/>
                  </a:lnTo>
                  <a:lnTo>
                    <a:pt x="1320800" y="1162050"/>
                  </a:lnTo>
                  <a:lnTo>
                    <a:pt x="1330325" y="1168400"/>
                  </a:lnTo>
                  <a:lnTo>
                    <a:pt x="1346200" y="1168400"/>
                  </a:lnTo>
                  <a:lnTo>
                    <a:pt x="1349375" y="1158875"/>
                  </a:lnTo>
                  <a:lnTo>
                    <a:pt x="1355725" y="1149350"/>
                  </a:lnTo>
                  <a:lnTo>
                    <a:pt x="1409700" y="1155700"/>
                  </a:lnTo>
                  <a:lnTo>
                    <a:pt x="1419225" y="1158875"/>
                  </a:lnTo>
                  <a:lnTo>
                    <a:pt x="1425575" y="1171575"/>
                  </a:lnTo>
                  <a:lnTo>
                    <a:pt x="1425575" y="1187450"/>
                  </a:lnTo>
                  <a:lnTo>
                    <a:pt x="1441450" y="1190625"/>
                  </a:lnTo>
                  <a:lnTo>
                    <a:pt x="1444625" y="1196975"/>
                  </a:lnTo>
                  <a:lnTo>
                    <a:pt x="1450975" y="1212850"/>
                  </a:lnTo>
                  <a:lnTo>
                    <a:pt x="1457325" y="1231900"/>
                  </a:lnTo>
                  <a:lnTo>
                    <a:pt x="1460500" y="1241425"/>
                  </a:lnTo>
                  <a:lnTo>
                    <a:pt x="1470025" y="1241425"/>
                  </a:lnTo>
                  <a:lnTo>
                    <a:pt x="1476375" y="1225550"/>
                  </a:lnTo>
                  <a:lnTo>
                    <a:pt x="1482725" y="1222375"/>
                  </a:lnTo>
                  <a:lnTo>
                    <a:pt x="1498600" y="1228725"/>
                  </a:lnTo>
                  <a:lnTo>
                    <a:pt x="1508125" y="1244600"/>
                  </a:lnTo>
                  <a:lnTo>
                    <a:pt x="1514475" y="1257300"/>
                  </a:lnTo>
                  <a:lnTo>
                    <a:pt x="1517650" y="1257300"/>
                  </a:lnTo>
                  <a:lnTo>
                    <a:pt x="1524000" y="1276350"/>
                  </a:lnTo>
                  <a:lnTo>
                    <a:pt x="1536700" y="1270000"/>
                  </a:lnTo>
                  <a:lnTo>
                    <a:pt x="1549400" y="1279525"/>
                  </a:lnTo>
                  <a:lnTo>
                    <a:pt x="1562100" y="1289050"/>
                  </a:lnTo>
                  <a:lnTo>
                    <a:pt x="1565275" y="1301750"/>
                  </a:lnTo>
                  <a:lnTo>
                    <a:pt x="1562100" y="1314450"/>
                  </a:lnTo>
                  <a:lnTo>
                    <a:pt x="1568450" y="1320800"/>
                  </a:lnTo>
                  <a:lnTo>
                    <a:pt x="1574800" y="1308100"/>
                  </a:lnTo>
                  <a:lnTo>
                    <a:pt x="1584325" y="1314450"/>
                  </a:lnTo>
                  <a:lnTo>
                    <a:pt x="1597025" y="1346200"/>
                  </a:lnTo>
                  <a:lnTo>
                    <a:pt x="1581150" y="1343025"/>
                  </a:lnTo>
                  <a:lnTo>
                    <a:pt x="1571625" y="1349375"/>
                  </a:lnTo>
                  <a:lnTo>
                    <a:pt x="1590675" y="1362075"/>
                  </a:lnTo>
                  <a:lnTo>
                    <a:pt x="1606550" y="1377950"/>
                  </a:lnTo>
                  <a:lnTo>
                    <a:pt x="1574800" y="1377950"/>
                  </a:lnTo>
                  <a:lnTo>
                    <a:pt x="1581150" y="1400175"/>
                  </a:lnTo>
                  <a:lnTo>
                    <a:pt x="1584325" y="1412875"/>
                  </a:lnTo>
                  <a:lnTo>
                    <a:pt x="1587500" y="1416050"/>
                  </a:lnTo>
                  <a:lnTo>
                    <a:pt x="1597025" y="1419225"/>
                  </a:lnTo>
                  <a:lnTo>
                    <a:pt x="1606550" y="1422400"/>
                  </a:lnTo>
                  <a:lnTo>
                    <a:pt x="1603375" y="1422400"/>
                  </a:lnTo>
                  <a:lnTo>
                    <a:pt x="1616075" y="1444625"/>
                  </a:lnTo>
                  <a:lnTo>
                    <a:pt x="1619250" y="1450975"/>
                  </a:lnTo>
                  <a:lnTo>
                    <a:pt x="1628775" y="1447800"/>
                  </a:lnTo>
                  <a:lnTo>
                    <a:pt x="1631950" y="1454150"/>
                  </a:lnTo>
                  <a:lnTo>
                    <a:pt x="1638300" y="1447800"/>
                  </a:lnTo>
                  <a:lnTo>
                    <a:pt x="1647825" y="1450975"/>
                  </a:lnTo>
                  <a:lnTo>
                    <a:pt x="1657350" y="1463675"/>
                  </a:lnTo>
                  <a:lnTo>
                    <a:pt x="1660525" y="1473200"/>
                  </a:lnTo>
                  <a:lnTo>
                    <a:pt x="1663700" y="1489075"/>
                  </a:lnTo>
                  <a:lnTo>
                    <a:pt x="1673225" y="1492250"/>
                  </a:lnTo>
                  <a:lnTo>
                    <a:pt x="1682750" y="1485900"/>
                  </a:lnTo>
                  <a:lnTo>
                    <a:pt x="1689100" y="1508125"/>
                  </a:lnTo>
                  <a:lnTo>
                    <a:pt x="1689100" y="1514475"/>
                  </a:lnTo>
                  <a:lnTo>
                    <a:pt x="1692275" y="1508125"/>
                  </a:lnTo>
                  <a:lnTo>
                    <a:pt x="1701800" y="1501775"/>
                  </a:lnTo>
                  <a:lnTo>
                    <a:pt x="1717675" y="1517650"/>
                  </a:lnTo>
                  <a:lnTo>
                    <a:pt x="1720850" y="1530350"/>
                  </a:lnTo>
                  <a:lnTo>
                    <a:pt x="1717675" y="1539875"/>
                  </a:lnTo>
                  <a:lnTo>
                    <a:pt x="1711325" y="1543050"/>
                  </a:lnTo>
                  <a:lnTo>
                    <a:pt x="1701800" y="1543050"/>
                  </a:lnTo>
                  <a:lnTo>
                    <a:pt x="1692275" y="1546225"/>
                  </a:lnTo>
                  <a:lnTo>
                    <a:pt x="1708150" y="1558925"/>
                  </a:lnTo>
                  <a:lnTo>
                    <a:pt x="1698625" y="1562100"/>
                  </a:lnTo>
                  <a:lnTo>
                    <a:pt x="1692275" y="1577975"/>
                  </a:lnTo>
                  <a:lnTo>
                    <a:pt x="1679575" y="1577975"/>
                  </a:lnTo>
                  <a:lnTo>
                    <a:pt x="1673225" y="1593850"/>
                  </a:lnTo>
                  <a:lnTo>
                    <a:pt x="1676400" y="1597025"/>
                  </a:lnTo>
                  <a:lnTo>
                    <a:pt x="1673225" y="1600200"/>
                  </a:lnTo>
                  <a:lnTo>
                    <a:pt x="1676400" y="1606550"/>
                  </a:lnTo>
                  <a:lnTo>
                    <a:pt x="1666875" y="1612900"/>
                  </a:lnTo>
                  <a:lnTo>
                    <a:pt x="1663700" y="1609725"/>
                  </a:lnTo>
                  <a:lnTo>
                    <a:pt x="1660525" y="1609725"/>
                  </a:lnTo>
                  <a:lnTo>
                    <a:pt x="1651000" y="1600200"/>
                  </a:lnTo>
                  <a:lnTo>
                    <a:pt x="1644650" y="1593850"/>
                  </a:lnTo>
                  <a:lnTo>
                    <a:pt x="1631950" y="1568450"/>
                  </a:lnTo>
                  <a:lnTo>
                    <a:pt x="1622425" y="1552575"/>
                  </a:lnTo>
                  <a:lnTo>
                    <a:pt x="1612900" y="1546225"/>
                  </a:lnTo>
                  <a:lnTo>
                    <a:pt x="1616075" y="1546225"/>
                  </a:lnTo>
                  <a:lnTo>
                    <a:pt x="1597025" y="1533525"/>
                  </a:lnTo>
                  <a:lnTo>
                    <a:pt x="1587500" y="1533525"/>
                  </a:lnTo>
                  <a:lnTo>
                    <a:pt x="1581150" y="1533525"/>
                  </a:lnTo>
                  <a:lnTo>
                    <a:pt x="1584325" y="1549400"/>
                  </a:lnTo>
                  <a:lnTo>
                    <a:pt x="1593850" y="1555750"/>
                  </a:lnTo>
                  <a:lnTo>
                    <a:pt x="1587500" y="1565275"/>
                  </a:lnTo>
                  <a:lnTo>
                    <a:pt x="1581150" y="1565275"/>
                  </a:lnTo>
                  <a:lnTo>
                    <a:pt x="1574800" y="1552575"/>
                  </a:lnTo>
                  <a:lnTo>
                    <a:pt x="1568450" y="1565275"/>
                  </a:lnTo>
                  <a:lnTo>
                    <a:pt x="1574800" y="1577975"/>
                  </a:lnTo>
                  <a:lnTo>
                    <a:pt x="1584325" y="1577975"/>
                  </a:lnTo>
                  <a:lnTo>
                    <a:pt x="1590675" y="1584325"/>
                  </a:lnTo>
                  <a:lnTo>
                    <a:pt x="1597025" y="1587500"/>
                  </a:lnTo>
                  <a:lnTo>
                    <a:pt x="1593850" y="1597025"/>
                  </a:lnTo>
                  <a:lnTo>
                    <a:pt x="1597025" y="1606550"/>
                  </a:lnTo>
                  <a:lnTo>
                    <a:pt x="1600200" y="1609725"/>
                  </a:lnTo>
                  <a:lnTo>
                    <a:pt x="1603375" y="1616075"/>
                  </a:lnTo>
                  <a:lnTo>
                    <a:pt x="1603375" y="1622425"/>
                  </a:lnTo>
                  <a:lnTo>
                    <a:pt x="1609725" y="1619250"/>
                  </a:lnTo>
                  <a:lnTo>
                    <a:pt x="1622425" y="1616075"/>
                  </a:lnTo>
                  <a:lnTo>
                    <a:pt x="1628775" y="1622425"/>
                  </a:lnTo>
                  <a:lnTo>
                    <a:pt x="1628775" y="1631950"/>
                  </a:lnTo>
                  <a:lnTo>
                    <a:pt x="1628775" y="1635125"/>
                  </a:lnTo>
                  <a:lnTo>
                    <a:pt x="1638300" y="1638300"/>
                  </a:lnTo>
                  <a:lnTo>
                    <a:pt x="1635125" y="1654175"/>
                  </a:lnTo>
                  <a:lnTo>
                    <a:pt x="1641475" y="1670050"/>
                  </a:lnTo>
                  <a:lnTo>
                    <a:pt x="1651000" y="1679575"/>
                  </a:lnTo>
                  <a:lnTo>
                    <a:pt x="1651000" y="1695450"/>
                  </a:lnTo>
                  <a:lnTo>
                    <a:pt x="1647825" y="1695450"/>
                  </a:lnTo>
                  <a:lnTo>
                    <a:pt x="1644650" y="1685925"/>
                  </a:lnTo>
                  <a:lnTo>
                    <a:pt x="1638300" y="1676400"/>
                  </a:lnTo>
                  <a:lnTo>
                    <a:pt x="1641475" y="1689100"/>
                  </a:lnTo>
                  <a:lnTo>
                    <a:pt x="1644650" y="1701800"/>
                  </a:lnTo>
                  <a:lnTo>
                    <a:pt x="1644650" y="1704975"/>
                  </a:lnTo>
                  <a:lnTo>
                    <a:pt x="1647825" y="1711325"/>
                  </a:lnTo>
                  <a:lnTo>
                    <a:pt x="1647825" y="1717675"/>
                  </a:lnTo>
                  <a:lnTo>
                    <a:pt x="1635125" y="1730375"/>
                  </a:lnTo>
                  <a:lnTo>
                    <a:pt x="1625600" y="1714500"/>
                  </a:lnTo>
                  <a:lnTo>
                    <a:pt x="1619250" y="1711325"/>
                  </a:lnTo>
                  <a:lnTo>
                    <a:pt x="1616075" y="1711325"/>
                  </a:lnTo>
                  <a:lnTo>
                    <a:pt x="1603375" y="1704975"/>
                  </a:lnTo>
                  <a:lnTo>
                    <a:pt x="1590675" y="1692275"/>
                  </a:lnTo>
                  <a:lnTo>
                    <a:pt x="1584325" y="1689100"/>
                  </a:lnTo>
                  <a:lnTo>
                    <a:pt x="1581150" y="1692275"/>
                  </a:lnTo>
                  <a:lnTo>
                    <a:pt x="1577975" y="1685925"/>
                  </a:lnTo>
                  <a:lnTo>
                    <a:pt x="1568450" y="1676400"/>
                  </a:lnTo>
                  <a:lnTo>
                    <a:pt x="1555750" y="1676400"/>
                  </a:lnTo>
                  <a:lnTo>
                    <a:pt x="1565275" y="1689100"/>
                  </a:lnTo>
                  <a:lnTo>
                    <a:pt x="1577975" y="1704975"/>
                  </a:lnTo>
                  <a:lnTo>
                    <a:pt x="1584325" y="1708150"/>
                  </a:lnTo>
                  <a:lnTo>
                    <a:pt x="1584325" y="1714500"/>
                  </a:lnTo>
                  <a:lnTo>
                    <a:pt x="1590675" y="1711325"/>
                  </a:lnTo>
                  <a:lnTo>
                    <a:pt x="1597025" y="1720850"/>
                  </a:lnTo>
                  <a:lnTo>
                    <a:pt x="1609725" y="1736725"/>
                  </a:lnTo>
                  <a:lnTo>
                    <a:pt x="1612900" y="1736725"/>
                  </a:lnTo>
                  <a:lnTo>
                    <a:pt x="1619250" y="1746250"/>
                  </a:lnTo>
                  <a:lnTo>
                    <a:pt x="1622425" y="1758950"/>
                  </a:lnTo>
                  <a:lnTo>
                    <a:pt x="1619250" y="1762125"/>
                  </a:lnTo>
                  <a:lnTo>
                    <a:pt x="1593850" y="1752600"/>
                  </a:lnTo>
                  <a:lnTo>
                    <a:pt x="1565275" y="1743075"/>
                  </a:lnTo>
                  <a:lnTo>
                    <a:pt x="1555750" y="1739900"/>
                  </a:lnTo>
                  <a:lnTo>
                    <a:pt x="1546225" y="1727200"/>
                  </a:lnTo>
                  <a:lnTo>
                    <a:pt x="1543050" y="1727200"/>
                  </a:lnTo>
                  <a:lnTo>
                    <a:pt x="1543050" y="1724025"/>
                  </a:lnTo>
                  <a:lnTo>
                    <a:pt x="1536700" y="1720850"/>
                  </a:lnTo>
                  <a:lnTo>
                    <a:pt x="1527175" y="1720850"/>
                  </a:lnTo>
                  <a:lnTo>
                    <a:pt x="1514475" y="1714500"/>
                  </a:lnTo>
                  <a:lnTo>
                    <a:pt x="1504950" y="1708150"/>
                  </a:lnTo>
                  <a:lnTo>
                    <a:pt x="1495425" y="1701800"/>
                  </a:lnTo>
                  <a:lnTo>
                    <a:pt x="1485900" y="1689100"/>
                  </a:lnTo>
                  <a:lnTo>
                    <a:pt x="1498600" y="1689100"/>
                  </a:lnTo>
                  <a:lnTo>
                    <a:pt x="1492250" y="1676400"/>
                  </a:lnTo>
                  <a:lnTo>
                    <a:pt x="1489075" y="1676400"/>
                  </a:lnTo>
                  <a:lnTo>
                    <a:pt x="1476375" y="1670050"/>
                  </a:lnTo>
                  <a:lnTo>
                    <a:pt x="1476375" y="1660525"/>
                  </a:lnTo>
                  <a:lnTo>
                    <a:pt x="1473200" y="1654175"/>
                  </a:lnTo>
                  <a:lnTo>
                    <a:pt x="1466850" y="1647825"/>
                  </a:lnTo>
                  <a:lnTo>
                    <a:pt x="1460500" y="1638300"/>
                  </a:lnTo>
                  <a:lnTo>
                    <a:pt x="1454150" y="1638300"/>
                  </a:lnTo>
                  <a:lnTo>
                    <a:pt x="1447800" y="1641475"/>
                  </a:lnTo>
                  <a:lnTo>
                    <a:pt x="1435100" y="1641475"/>
                  </a:lnTo>
                  <a:lnTo>
                    <a:pt x="1428750" y="1641475"/>
                  </a:lnTo>
                  <a:lnTo>
                    <a:pt x="1425575" y="1638300"/>
                  </a:lnTo>
                  <a:lnTo>
                    <a:pt x="1409700" y="1631950"/>
                  </a:lnTo>
                  <a:lnTo>
                    <a:pt x="1400175" y="1641475"/>
                  </a:lnTo>
                  <a:lnTo>
                    <a:pt x="1393825" y="1644650"/>
                  </a:lnTo>
                  <a:lnTo>
                    <a:pt x="1387475" y="1647825"/>
                  </a:lnTo>
                  <a:lnTo>
                    <a:pt x="1362075" y="1641475"/>
                  </a:lnTo>
                  <a:lnTo>
                    <a:pt x="1358900" y="1635125"/>
                  </a:lnTo>
                  <a:lnTo>
                    <a:pt x="1355725" y="1625600"/>
                  </a:lnTo>
                  <a:lnTo>
                    <a:pt x="1358900" y="1612900"/>
                  </a:lnTo>
                  <a:lnTo>
                    <a:pt x="1362075" y="1609725"/>
                  </a:lnTo>
                  <a:lnTo>
                    <a:pt x="1371600" y="1603375"/>
                  </a:lnTo>
                  <a:lnTo>
                    <a:pt x="1374775" y="1600200"/>
                  </a:lnTo>
                  <a:lnTo>
                    <a:pt x="1374775" y="1590675"/>
                  </a:lnTo>
                  <a:lnTo>
                    <a:pt x="1409700" y="1603375"/>
                  </a:lnTo>
                  <a:lnTo>
                    <a:pt x="1412875" y="1597025"/>
                  </a:lnTo>
                  <a:lnTo>
                    <a:pt x="1419225" y="1597025"/>
                  </a:lnTo>
                  <a:lnTo>
                    <a:pt x="1431925" y="1590675"/>
                  </a:lnTo>
                  <a:lnTo>
                    <a:pt x="1431925" y="1587500"/>
                  </a:lnTo>
                  <a:lnTo>
                    <a:pt x="1438275" y="1590675"/>
                  </a:lnTo>
                  <a:lnTo>
                    <a:pt x="1444625" y="1587500"/>
                  </a:lnTo>
                  <a:lnTo>
                    <a:pt x="1457325" y="1584325"/>
                  </a:lnTo>
                  <a:lnTo>
                    <a:pt x="1447800" y="1568450"/>
                  </a:lnTo>
                  <a:lnTo>
                    <a:pt x="1438275" y="1552575"/>
                  </a:lnTo>
                  <a:lnTo>
                    <a:pt x="1441450" y="1546225"/>
                  </a:lnTo>
                  <a:lnTo>
                    <a:pt x="1450975" y="1536700"/>
                  </a:lnTo>
                  <a:lnTo>
                    <a:pt x="1460500" y="1524000"/>
                  </a:lnTo>
                  <a:lnTo>
                    <a:pt x="1466850" y="1517650"/>
                  </a:lnTo>
                  <a:lnTo>
                    <a:pt x="1470025" y="1511300"/>
                  </a:lnTo>
                  <a:lnTo>
                    <a:pt x="1476375" y="1501775"/>
                  </a:lnTo>
                  <a:lnTo>
                    <a:pt x="1485900" y="1489075"/>
                  </a:lnTo>
                  <a:lnTo>
                    <a:pt x="1482725" y="1482725"/>
                  </a:lnTo>
                  <a:lnTo>
                    <a:pt x="1476375" y="1463675"/>
                  </a:lnTo>
                  <a:lnTo>
                    <a:pt x="1470025" y="1454150"/>
                  </a:lnTo>
                  <a:lnTo>
                    <a:pt x="1466850" y="1444625"/>
                  </a:lnTo>
                  <a:lnTo>
                    <a:pt x="1463675" y="1425575"/>
                  </a:lnTo>
                  <a:lnTo>
                    <a:pt x="1457325" y="1431925"/>
                  </a:lnTo>
                  <a:lnTo>
                    <a:pt x="1450975" y="1425575"/>
                  </a:lnTo>
                  <a:lnTo>
                    <a:pt x="1444625" y="1419225"/>
                  </a:lnTo>
                  <a:lnTo>
                    <a:pt x="1435100" y="1409700"/>
                  </a:lnTo>
                  <a:lnTo>
                    <a:pt x="1428750" y="1400175"/>
                  </a:lnTo>
                  <a:lnTo>
                    <a:pt x="1422400" y="1397000"/>
                  </a:lnTo>
                  <a:lnTo>
                    <a:pt x="1419225" y="1393825"/>
                  </a:lnTo>
                  <a:lnTo>
                    <a:pt x="1419225" y="1390650"/>
                  </a:lnTo>
                  <a:lnTo>
                    <a:pt x="1412875" y="1397000"/>
                  </a:lnTo>
                  <a:lnTo>
                    <a:pt x="1400175" y="1403350"/>
                  </a:lnTo>
                  <a:lnTo>
                    <a:pt x="1390650" y="1409700"/>
                  </a:lnTo>
                  <a:lnTo>
                    <a:pt x="1390650" y="1406525"/>
                  </a:lnTo>
                  <a:lnTo>
                    <a:pt x="1390650" y="1390650"/>
                  </a:lnTo>
                  <a:lnTo>
                    <a:pt x="1400175" y="1387475"/>
                  </a:lnTo>
                  <a:lnTo>
                    <a:pt x="1412875" y="1384300"/>
                  </a:lnTo>
                  <a:lnTo>
                    <a:pt x="1412875" y="1377950"/>
                  </a:lnTo>
                  <a:lnTo>
                    <a:pt x="1409700" y="1371600"/>
                  </a:lnTo>
                  <a:lnTo>
                    <a:pt x="1397000" y="1362075"/>
                  </a:lnTo>
                  <a:lnTo>
                    <a:pt x="1384300" y="1352550"/>
                  </a:lnTo>
                  <a:lnTo>
                    <a:pt x="1377950" y="1349375"/>
                  </a:lnTo>
                  <a:lnTo>
                    <a:pt x="1377950" y="1333500"/>
                  </a:lnTo>
                  <a:lnTo>
                    <a:pt x="1368425" y="1343025"/>
                  </a:lnTo>
                  <a:lnTo>
                    <a:pt x="1365250" y="1314450"/>
                  </a:lnTo>
                  <a:lnTo>
                    <a:pt x="1343025" y="1314450"/>
                  </a:lnTo>
                  <a:lnTo>
                    <a:pt x="1346200" y="1333500"/>
                  </a:lnTo>
                  <a:lnTo>
                    <a:pt x="1330325" y="1336675"/>
                  </a:lnTo>
                  <a:lnTo>
                    <a:pt x="1320800" y="1330325"/>
                  </a:lnTo>
                  <a:lnTo>
                    <a:pt x="1308100" y="1327150"/>
                  </a:lnTo>
                  <a:lnTo>
                    <a:pt x="1289050" y="1320800"/>
                  </a:lnTo>
                  <a:lnTo>
                    <a:pt x="1279525" y="1320800"/>
                  </a:lnTo>
                  <a:lnTo>
                    <a:pt x="1279525" y="1336675"/>
                  </a:lnTo>
                  <a:lnTo>
                    <a:pt x="1276350" y="1339850"/>
                  </a:lnTo>
                  <a:lnTo>
                    <a:pt x="1260475" y="1336675"/>
                  </a:lnTo>
                  <a:lnTo>
                    <a:pt x="1225550" y="1330325"/>
                  </a:lnTo>
                  <a:lnTo>
                    <a:pt x="1196975" y="1320800"/>
                  </a:lnTo>
                  <a:lnTo>
                    <a:pt x="1203325" y="1330325"/>
                  </a:lnTo>
                  <a:lnTo>
                    <a:pt x="1187450" y="1323975"/>
                  </a:lnTo>
                  <a:lnTo>
                    <a:pt x="1177925" y="1317625"/>
                  </a:lnTo>
                  <a:lnTo>
                    <a:pt x="1174750" y="1308100"/>
                  </a:lnTo>
                  <a:lnTo>
                    <a:pt x="1177925" y="1301750"/>
                  </a:lnTo>
                  <a:lnTo>
                    <a:pt x="1174750" y="1304925"/>
                  </a:lnTo>
                  <a:lnTo>
                    <a:pt x="1174750" y="1308100"/>
                  </a:lnTo>
                  <a:lnTo>
                    <a:pt x="1158875" y="1311275"/>
                  </a:lnTo>
                  <a:lnTo>
                    <a:pt x="1146175" y="1314450"/>
                  </a:lnTo>
                  <a:lnTo>
                    <a:pt x="1133475" y="1301750"/>
                  </a:lnTo>
                  <a:lnTo>
                    <a:pt x="1120775" y="1289050"/>
                  </a:lnTo>
                  <a:lnTo>
                    <a:pt x="1114425" y="1276350"/>
                  </a:lnTo>
                  <a:lnTo>
                    <a:pt x="1114425" y="1263650"/>
                  </a:lnTo>
                  <a:lnTo>
                    <a:pt x="1130300" y="1260475"/>
                  </a:lnTo>
                  <a:lnTo>
                    <a:pt x="1155700" y="1266825"/>
                  </a:lnTo>
                  <a:lnTo>
                    <a:pt x="1162050" y="1263650"/>
                  </a:lnTo>
                  <a:lnTo>
                    <a:pt x="1149350" y="1250950"/>
                  </a:lnTo>
                  <a:lnTo>
                    <a:pt x="1139825" y="1247775"/>
                  </a:lnTo>
                  <a:lnTo>
                    <a:pt x="1117600" y="1244600"/>
                  </a:lnTo>
                  <a:lnTo>
                    <a:pt x="1101725" y="1231900"/>
                  </a:lnTo>
                  <a:lnTo>
                    <a:pt x="1101725" y="1200150"/>
                  </a:lnTo>
                  <a:lnTo>
                    <a:pt x="1108075" y="1184275"/>
                  </a:lnTo>
                  <a:lnTo>
                    <a:pt x="1104900" y="1165225"/>
                  </a:lnTo>
                  <a:lnTo>
                    <a:pt x="1114425" y="1143000"/>
                  </a:lnTo>
                  <a:lnTo>
                    <a:pt x="1114425" y="1127125"/>
                  </a:lnTo>
                  <a:lnTo>
                    <a:pt x="1120775" y="1111250"/>
                  </a:lnTo>
                  <a:lnTo>
                    <a:pt x="1143000" y="1076325"/>
                  </a:lnTo>
                  <a:close/>
                  <a:moveTo>
                    <a:pt x="885825" y="1050925"/>
                  </a:moveTo>
                  <a:lnTo>
                    <a:pt x="898525" y="1063625"/>
                  </a:lnTo>
                  <a:lnTo>
                    <a:pt x="904875" y="1069975"/>
                  </a:lnTo>
                  <a:lnTo>
                    <a:pt x="911225" y="1066800"/>
                  </a:lnTo>
                  <a:lnTo>
                    <a:pt x="923925" y="1060450"/>
                  </a:lnTo>
                  <a:lnTo>
                    <a:pt x="930275" y="1057275"/>
                  </a:lnTo>
                  <a:lnTo>
                    <a:pt x="933450" y="1054100"/>
                  </a:lnTo>
                  <a:lnTo>
                    <a:pt x="939800" y="1057275"/>
                  </a:lnTo>
                  <a:lnTo>
                    <a:pt x="946150" y="1060450"/>
                  </a:lnTo>
                  <a:lnTo>
                    <a:pt x="952500" y="1076325"/>
                  </a:lnTo>
                  <a:lnTo>
                    <a:pt x="946150" y="1095375"/>
                  </a:lnTo>
                  <a:lnTo>
                    <a:pt x="939800" y="1098550"/>
                  </a:lnTo>
                  <a:lnTo>
                    <a:pt x="930275" y="1104900"/>
                  </a:lnTo>
                  <a:lnTo>
                    <a:pt x="923925" y="1117600"/>
                  </a:lnTo>
                  <a:lnTo>
                    <a:pt x="917575" y="1123950"/>
                  </a:lnTo>
                  <a:lnTo>
                    <a:pt x="920750" y="1133475"/>
                  </a:lnTo>
                  <a:lnTo>
                    <a:pt x="920750" y="1127125"/>
                  </a:lnTo>
                  <a:lnTo>
                    <a:pt x="933450" y="1120775"/>
                  </a:lnTo>
                  <a:lnTo>
                    <a:pt x="942975" y="1123950"/>
                  </a:lnTo>
                  <a:lnTo>
                    <a:pt x="946150" y="1133475"/>
                  </a:lnTo>
                  <a:lnTo>
                    <a:pt x="949325" y="1152525"/>
                  </a:lnTo>
                  <a:lnTo>
                    <a:pt x="958850" y="1143000"/>
                  </a:lnTo>
                  <a:lnTo>
                    <a:pt x="965200" y="1158875"/>
                  </a:lnTo>
                  <a:lnTo>
                    <a:pt x="962025" y="1177925"/>
                  </a:lnTo>
                  <a:lnTo>
                    <a:pt x="962025" y="1187450"/>
                  </a:lnTo>
                  <a:lnTo>
                    <a:pt x="962025" y="1200150"/>
                  </a:lnTo>
                  <a:lnTo>
                    <a:pt x="958850" y="1209675"/>
                  </a:lnTo>
                  <a:lnTo>
                    <a:pt x="946150" y="1219200"/>
                  </a:lnTo>
                  <a:lnTo>
                    <a:pt x="936625" y="1222375"/>
                  </a:lnTo>
                  <a:lnTo>
                    <a:pt x="927100" y="1231900"/>
                  </a:lnTo>
                  <a:lnTo>
                    <a:pt x="914400" y="1244600"/>
                  </a:lnTo>
                  <a:lnTo>
                    <a:pt x="908050" y="1238250"/>
                  </a:lnTo>
                  <a:lnTo>
                    <a:pt x="904875" y="1238250"/>
                  </a:lnTo>
                  <a:lnTo>
                    <a:pt x="901700" y="1235075"/>
                  </a:lnTo>
                  <a:lnTo>
                    <a:pt x="889000" y="1209675"/>
                  </a:lnTo>
                  <a:lnTo>
                    <a:pt x="882650" y="1203325"/>
                  </a:lnTo>
                  <a:lnTo>
                    <a:pt x="879475" y="1196975"/>
                  </a:lnTo>
                  <a:lnTo>
                    <a:pt x="866775" y="1181100"/>
                  </a:lnTo>
                  <a:lnTo>
                    <a:pt x="863600" y="1181100"/>
                  </a:lnTo>
                  <a:lnTo>
                    <a:pt x="857250" y="1174750"/>
                  </a:lnTo>
                  <a:lnTo>
                    <a:pt x="841375" y="1165225"/>
                  </a:lnTo>
                  <a:lnTo>
                    <a:pt x="828675" y="1149350"/>
                  </a:lnTo>
                  <a:lnTo>
                    <a:pt x="825500" y="1139825"/>
                  </a:lnTo>
                  <a:lnTo>
                    <a:pt x="831850" y="1123950"/>
                  </a:lnTo>
                  <a:lnTo>
                    <a:pt x="847725" y="1123950"/>
                  </a:lnTo>
                  <a:lnTo>
                    <a:pt x="847725" y="1127125"/>
                  </a:lnTo>
                  <a:lnTo>
                    <a:pt x="866775" y="1146175"/>
                  </a:lnTo>
                  <a:lnTo>
                    <a:pt x="876300" y="1143000"/>
                  </a:lnTo>
                  <a:lnTo>
                    <a:pt x="879475" y="1136650"/>
                  </a:lnTo>
                  <a:lnTo>
                    <a:pt x="885825" y="1127125"/>
                  </a:lnTo>
                  <a:lnTo>
                    <a:pt x="879475" y="1114425"/>
                  </a:lnTo>
                  <a:lnTo>
                    <a:pt x="876300" y="1117600"/>
                  </a:lnTo>
                  <a:lnTo>
                    <a:pt x="869950" y="1104900"/>
                  </a:lnTo>
                  <a:lnTo>
                    <a:pt x="860425" y="1098550"/>
                  </a:lnTo>
                  <a:lnTo>
                    <a:pt x="850900" y="1085850"/>
                  </a:lnTo>
                  <a:lnTo>
                    <a:pt x="860425" y="1069975"/>
                  </a:lnTo>
                  <a:lnTo>
                    <a:pt x="873125" y="1057275"/>
                  </a:lnTo>
                  <a:close/>
                  <a:moveTo>
                    <a:pt x="936625" y="1041400"/>
                  </a:moveTo>
                  <a:lnTo>
                    <a:pt x="917575" y="1060450"/>
                  </a:lnTo>
                  <a:lnTo>
                    <a:pt x="898525" y="1057275"/>
                  </a:lnTo>
                  <a:lnTo>
                    <a:pt x="908050" y="1047750"/>
                  </a:lnTo>
                  <a:lnTo>
                    <a:pt x="917575" y="1044575"/>
                  </a:lnTo>
                  <a:close/>
                  <a:moveTo>
                    <a:pt x="1031875" y="1035050"/>
                  </a:moveTo>
                  <a:lnTo>
                    <a:pt x="1057275" y="1050925"/>
                  </a:lnTo>
                  <a:lnTo>
                    <a:pt x="1076325" y="1047750"/>
                  </a:lnTo>
                  <a:lnTo>
                    <a:pt x="1098550" y="1054100"/>
                  </a:lnTo>
                  <a:lnTo>
                    <a:pt x="1085850" y="1082675"/>
                  </a:lnTo>
                  <a:lnTo>
                    <a:pt x="1066800" y="1120775"/>
                  </a:lnTo>
                  <a:lnTo>
                    <a:pt x="1044575" y="1143000"/>
                  </a:lnTo>
                  <a:lnTo>
                    <a:pt x="1031875" y="1139825"/>
                  </a:lnTo>
                  <a:lnTo>
                    <a:pt x="1028700" y="1139825"/>
                  </a:lnTo>
                  <a:lnTo>
                    <a:pt x="1022350" y="1139825"/>
                  </a:lnTo>
                  <a:lnTo>
                    <a:pt x="1012825" y="1139825"/>
                  </a:lnTo>
                  <a:lnTo>
                    <a:pt x="1009650" y="1139825"/>
                  </a:lnTo>
                  <a:lnTo>
                    <a:pt x="1009650" y="1146175"/>
                  </a:lnTo>
                  <a:lnTo>
                    <a:pt x="1016000" y="1146175"/>
                  </a:lnTo>
                  <a:lnTo>
                    <a:pt x="1022350" y="1152525"/>
                  </a:lnTo>
                  <a:lnTo>
                    <a:pt x="1028700" y="1162050"/>
                  </a:lnTo>
                  <a:lnTo>
                    <a:pt x="1022350" y="1174750"/>
                  </a:lnTo>
                  <a:lnTo>
                    <a:pt x="1012825" y="1190625"/>
                  </a:lnTo>
                  <a:lnTo>
                    <a:pt x="1006475" y="1193800"/>
                  </a:lnTo>
                  <a:lnTo>
                    <a:pt x="990600" y="1196975"/>
                  </a:lnTo>
                  <a:lnTo>
                    <a:pt x="990600" y="1174750"/>
                  </a:lnTo>
                  <a:lnTo>
                    <a:pt x="990600" y="1158875"/>
                  </a:lnTo>
                  <a:lnTo>
                    <a:pt x="984250" y="1146175"/>
                  </a:lnTo>
                  <a:lnTo>
                    <a:pt x="981075" y="1146175"/>
                  </a:lnTo>
                  <a:lnTo>
                    <a:pt x="977900" y="1104900"/>
                  </a:lnTo>
                  <a:lnTo>
                    <a:pt x="981075" y="1066800"/>
                  </a:lnTo>
                  <a:lnTo>
                    <a:pt x="987425" y="1057275"/>
                  </a:lnTo>
                  <a:lnTo>
                    <a:pt x="990600" y="1047750"/>
                  </a:lnTo>
                  <a:lnTo>
                    <a:pt x="1006475" y="1038225"/>
                  </a:lnTo>
                  <a:close/>
                  <a:moveTo>
                    <a:pt x="406400" y="1009650"/>
                  </a:moveTo>
                  <a:lnTo>
                    <a:pt x="431800" y="1009650"/>
                  </a:lnTo>
                  <a:lnTo>
                    <a:pt x="463550" y="1028700"/>
                  </a:lnTo>
                  <a:lnTo>
                    <a:pt x="488950" y="1025525"/>
                  </a:lnTo>
                  <a:lnTo>
                    <a:pt x="514350" y="1035050"/>
                  </a:lnTo>
                  <a:lnTo>
                    <a:pt x="542925" y="1066800"/>
                  </a:lnTo>
                  <a:lnTo>
                    <a:pt x="552450" y="1082675"/>
                  </a:lnTo>
                  <a:lnTo>
                    <a:pt x="546100" y="1095375"/>
                  </a:lnTo>
                  <a:lnTo>
                    <a:pt x="523875" y="1111250"/>
                  </a:lnTo>
                  <a:lnTo>
                    <a:pt x="488950" y="1136650"/>
                  </a:lnTo>
                  <a:lnTo>
                    <a:pt x="479425" y="1146175"/>
                  </a:lnTo>
                  <a:lnTo>
                    <a:pt x="473075" y="1149350"/>
                  </a:lnTo>
                  <a:lnTo>
                    <a:pt x="469900" y="1162050"/>
                  </a:lnTo>
                  <a:lnTo>
                    <a:pt x="469900" y="1171575"/>
                  </a:lnTo>
                  <a:lnTo>
                    <a:pt x="457200" y="1181100"/>
                  </a:lnTo>
                  <a:lnTo>
                    <a:pt x="447675" y="1196975"/>
                  </a:lnTo>
                  <a:lnTo>
                    <a:pt x="444500" y="1209675"/>
                  </a:lnTo>
                  <a:lnTo>
                    <a:pt x="444500" y="1225550"/>
                  </a:lnTo>
                  <a:lnTo>
                    <a:pt x="431800" y="1235075"/>
                  </a:lnTo>
                  <a:lnTo>
                    <a:pt x="419100" y="1238250"/>
                  </a:lnTo>
                  <a:lnTo>
                    <a:pt x="406400" y="1244600"/>
                  </a:lnTo>
                  <a:lnTo>
                    <a:pt x="384175" y="1254125"/>
                  </a:lnTo>
                  <a:lnTo>
                    <a:pt x="377825" y="1235075"/>
                  </a:lnTo>
                  <a:lnTo>
                    <a:pt x="368300" y="1219200"/>
                  </a:lnTo>
                  <a:lnTo>
                    <a:pt x="346075" y="1203325"/>
                  </a:lnTo>
                  <a:lnTo>
                    <a:pt x="330200" y="1196975"/>
                  </a:lnTo>
                  <a:lnTo>
                    <a:pt x="333375" y="1177925"/>
                  </a:lnTo>
                  <a:lnTo>
                    <a:pt x="336550" y="1165225"/>
                  </a:lnTo>
                  <a:lnTo>
                    <a:pt x="346075" y="1155700"/>
                  </a:lnTo>
                  <a:lnTo>
                    <a:pt x="349250" y="1133475"/>
                  </a:lnTo>
                  <a:lnTo>
                    <a:pt x="349250" y="1120775"/>
                  </a:lnTo>
                  <a:lnTo>
                    <a:pt x="349250" y="1117600"/>
                  </a:lnTo>
                  <a:lnTo>
                    <a:pt x="355600" y="1101725"/>
                  </a:lnTo>
                  <a:lnTo>
                    <a:pt x="368300" y="1079500"/>
                  </a:lnTo>
                  <a:lnTo>
                    <a:pt x="358775" y="1044575"/>
                  </a:lnTo>
                  <a:lnTo>
                    <a:pt x="352425" y="1025525"/>
                  </a:lnTo>
                  <a:lnTo>
                    <a:pt x="352425" y="1019175"/>
                  </a:lnTo>
                  <a:lnTo>
                    <a:pt x="381000" y="1012825"/>
                  </a:lnTo>
                  <a:close/>
                  <a:moveTo>
                    <a:pt x="793750" y="930275"/>
                  </a:moveTo>
                  <a:lnTo>
                    <a:pt x="809625" y="952500"/>
                  </a:lnTo>
                  <a:lnTo>
                    <a:pt x="793750" y="965200"/>
                  </a:lnTo>
                  <a:lnTo>
                    <a:pt x="781050" y="955675"/>
                  </a:lnTo>
                  <a:close/>
                  <a:moveTo>
                    <a:pt x="993775" y="914400"/>
                  </a:moveTo>
                  <a:lnTo>
                    <a:pt x="1019175" y="933450"/>
                  </a:lnTo>
                  <a:lnTo>
                    <a:pt x="1022350" y="939800"/>
                  </a:lnTo>
                  <a:lnTo>
                    <a:pt x="1028700" y="955675"/>
                  </a:lnTo>
                  <a:lnTo>
                    <a:pt x="1025525" y="993775"/>
                  </a:lnTo>
                  <a:lnTo>
                    <a:pt x="1006475" y="996950"/>
                  </a:lnTo>
                  <a:lnTo>
                    <a:pt x="993775" y="990600"/>
                  </a:lnTo>
                  <a:lnTo>
                    <a:pt x="981075" y="981075"/>
                  </a:lnTo>
                  <a:lnTo>
                    <a:pt x="965200" y="974725"/>
                  </a:lnTo>
                  <a:lnTo>
                    <a:pt x="958850" y="958850"/>
                  </a:lnTo>
                  <a:lnTo>
                    <a:pt x="971550" y="942975"/>
                  </a:lnTo>
                  <a:lnTo>
                    <a:pt x="974725" y="927100"/>
                  </a:lnTo>
                  <a:lnTo>
                    <a:pt x="981075" y="920750"/>
                  </a:lnTo>
                  <a:close/>
                  <a:moveTo>
                    <a:pt x="968375" y="914400"/>
                  </a:moveTo>
                  <a:lnTo>
                    <a:pt x="971550" y="920750"/>
                  </a:lnTo>
                  <a:lnTo>
                    <a:pt x="965200" y="930275"/>
                  </a:lnTo>
                  <a:lnTo>
                    <a:pt x="949325" y="923925"/>
                  </a:lnTo>
                  <a:close/>
                  <a:moveTo>
                    <a:pt x="1003300" y="882650"/>
                  </a:moveTo>
                  <a:lnTo>
                    <a:pt x="1009650" y="898525"/>
                  </a:lnTo>
                  <a:lnTo>
                    <a:pt x="1003300" y="901700"/>
                  </a:lnTo>
                  <a:lnTo>
                    <a:pt x="996950" y="895350"/>
                  </a:lnTo>
                  <a:lnTo>
                    <a:pt x="1000125" y="885825"/>
                  </a:lnTo>
                  <a:close/>
                  <a:moveTo>
                    <a:pt x="825500" y="882650"/>
                  </a:moveTo>
                  <a:lnTo>
                    <a:pt x="841375" y="882650"/>
                  </a:lnTo>
                  <a:lnTo>
                    <a:pt x="825500" y="898525"/>
                  </a:lnTo>
                  <a:lnTo>
                    <a:pt x="812800" y="898525"/>
                  </a:lnTo>
                  <a:close/>
                  <a:moveTo>
                    <a:pt x="1343025" y="869950"/>
                  </a:moveTo>
                  <a:lnTo>
                    <a:pt x="1330325" y="895350"/>
                  </a:lnTo>
                  <a:lnTo>
                    <a:pt x="1323975" y="892175"/>
                  </a:lnTo>
                  <a:close/>
                  <a:moveTo>
                    <a:pt x="504825" y="869950"/>
                  </a:moveTo>
                  <a:lnTo>
                    <a:pt x="508000" y="873125"/>
                  </a:lnTo>
                  <a:lnTo>
                    <a:pt x="498475" y="904875"/>
                  </a:lnTo>
                  <a:lnTo>
                    <a:pt x="488950" y="920750"/>
                  </a:lnTo>
                  <a:lnTo>
                    <a:pt x="479425" y="923925"/>
                  </a:lnTo>
                  <a:lnTo>
                    <a:pt x="466725" y="917575"/>
                  </a:lnTo>
                  <a:lnTo>
                    <a:pt x="473075" y="904875"/>
                  </a:lnTo>
                  <a:lnTo>
                    <a:pt x="485775" y="889000"/>
                  </a:lnTo>
                  <a:lnTo>
                    <a:pt x="498475" y="876300"/>
                  </a:lnTo>
                  <a:close/>
                  <a:moveTo>
                    <a:pt x="815975" y="866775"/>
                  </a:moveTo>
                  <a:lnTo>
                    <a:pt x="831850" y="866775"/>
                  </a:lnTo>
                  <a:lnTo>
                    <a:pt x="828675" y="873125"/>
                  </a:lnTo>
                  <a:lnTo>
                    <a:pt x="819150" y="876300"/>
                  </a:lnTo>
                  <a:lnTo>
                    <a:pt x="806450" y="882650"/>
                  </a:lnTo>
                  <a:lnTo>
                    <a:pt x="796925" y="876300"/>
                  </a:lnTo>
                  <a:close/>
                  <a:moveTo>
                    <a:pt x="806450" y="841375"/>
                  </a:moveTo>
                  <a:lnTo>
                    <a:pt x="825500" y="841375"/>
                  </a:lnTo>
                  <a:lnTo>
                    <a:pt x="825500" y="854075"/>
                  </a:lnTo>
                  <a:lnTo>
                    <a:pt x="822325" y="860425"/>
                  </a:lnTo>
                  <a:lnTo>
                    <a:pt x="809625" y="863600"/>
                  </a:lnTo>
                  <a:lnTo>
                    <a:pt x="796925" y="863600"/>
                  </a:lnTo>
                  <a:lnTo>
                    <a:pt x="784225" y="854075"/>
                  </a:lnTo>
                  <a:lnTo>
                    <a:pt x="793750" y="844550"/>
                  </a:lnTo>
                  <a:close/>
                  <a:moveTo>
                    <a:pt x="876300" y="825500"/>
                  </a:moveTo>
                  <a:lnTo>
                    <a:pt x="889000" y="825500"/>
                  </a:lnTo>
                  <a:lnTo>
                    <a:pt x="901700" y="835025"/>
                  </a:lnTo>
                  <a:lnTo>
                    <a:pt x="904875" y="844550"/>
                  </a:lnTo>
                  <a:lnTo>
                    <a:pt x="904875" y="825500"/>
                  </a:lnTo>
                  <a:lnTo>
                    <a:pt x="933450" y="831850"/>
                  </a:lnTo>
                  <a:lnTo>
                    <a:pt x="936625" y="838200"/>
                  </a:lnTo>
                  <a:lnTo>
                    <a:pt x="939800" y="866775"/>
                  </a:lnTo>
                  <a:lnTo>
                    <a:pt x="936625" y="882650"/>
                  </a:lnTo>
                  <a:lnTo>
                    <a:pt x="933450" y="901700"/>
                  </a:lnTo>
                  <a:lnTo>
                    <a:pt x="930275" y="955675"/>
                  </a:lnTo>
                  <a:lnTo>
                    <a:pt x="927100" y="965200"/>
                  </a:lnTo>
                  <a:lnTo>
                    <a:pt x="904875" y="968375"/>
                  </a:lnTo>
                  <a:lnTo>
                    <a:pt x="882650" y="968375"/>
                  </a:lnTo>
                  <a:lnTo>
                    <a:pt x="876300" y="955675"/>
                  </a:lnTo>
                  <a:lnTo>
                    <a:pt x="873125" y="942975"/>
                  </a:lnTo>
                  <a:lnTo>
                    <a:pt x="869950" y="936625"/>
                  </a:lnTo>
                  <a:lnTo>
                    <a:pt x="873125" y="930275"/>
                  </a:lnTo>
                  <a:lnTo>
                    <a:pt x="866775" y="914400"/>
                  </a:lnTo>
                  <a:lnTo>
                    <a:pt x="860425" y="917575"/>
                  </a:lnTo>
                  <a:lnTo>
                    <a:pt x="847725" y="917575"/>
                  </a:lnTo>
                  <a:lnTo>
                    <a:pt x="831850" y="923925"/>
                  </a:lnTo>
                  <a:lnTo>
                    <a:pt x="822325" y="914400"/>
                  </a:lnTo>
                  <a:lnTo>
                    <a:pt x="838200" y="892175"/>
                  </a:lnTo>
                  <a:lnTo>
                    <a:pt x="850900" y="895350"/>
                  </a:lnTo>
                  <a:lnTo>
                    <a:pt x="847725" y="866775"/>
                  </a:lnTo>
                  <a:lnTo>
                    <a:pt x="838200" y="860425"/>
                  </a:lnTo>
                  <a:lnTo>
                    <a:pt x="844550" y="841375"/>
                  </a:lnTo>
                  <a:lnTo>
                    <a:pt x="850900" y="841375"/>
                  </a:lnTo>
                  <a:lnTo>
                    <a:pt x="857250" y="841375"/>
                  </a:lnTo>
                  <a:lnTo>
                    <a:pt x="863600" y="835025"/>
                  </a:lnTo>
                  <a:lnTo>
                    <a:pt x="869950" y="831850"/>
                  </a:lnTo>
                  <a:close/>
                  <a:moveTo>
                    <a:pt x="879475" y="812800"/>
                  </a:moveTo>
                  <a:lnTo>
                    <a:pt x="879475" y="815975"/>
                  </a:lnTo>
                  <a:lnTo>
                    <a:pt x="847725" y="828675"/>
                  </a:lnTo>
                  <a:close/>
                  <a:moveTo>
                    <a:pt x="793750" y="806450"/>
                  </a:moveTo>
                  <a:lnTo>
                    <a:pt x="815975" y="822325"/>
                  </a:lnTo>
                  <a:lnTo>
                    <a:pt x="815975" y="831850"/>
                  </a:lnTo>
                  <a:lnTo>
                    <a:pt x="806450" y="838200"/>
                  </a:lnTo>
                  <a:lnTo>
                    <a:pt x="796925" y="838200"/>
                  </a:lnTo>
                  <a:lnTo>
                    <a:pt x="787400" y="835025"/>
                  </a:lnTo>
                  <a:lnTo>
                    <a:pt x="784225" y="809625"/>
                  </a:lnTo>
                  <a:close/>
                  <a:moveTo>
                    <a:pt x="688975" y="806450"/>
                  </a:moveTo>
                  <a:lnTo>
                    <a:pt x="698500" y="806450"/>
                  </a:lnTo>
                  <a:lnTo>
                    <a:pt x="701675" y="822325"/>
                  </a:lnTo>
                  <a:lnTo>
                    <a:pt x="701675" y="844550"/>
                  </a:lnTo>
                  <a:lnTo>
                    <a:pt x="711200" y="863600"/>
                  </a:lnTo>
                  <a:lnTo>
                    <a:pt x="720725" y="882650"/>
                  </a:lnTo>
                  <a:lnTo>
                    <a:pt x="736600" y="885825"/>
                  </a:lnTo>
                  <a:lnTo>
                    <a:pt x="749300" y="876300"/>
                  </a:lnTo>
                  <a:lnTo>
                    <a:pt x="768350" y="901700"/>
                  </a:lnTo>
                  <a:lnTo>
                    <a:pt x="768350" y="920750"/>
                  </a:lnTo>
                  <a:lnTo>
                    <a:pt x="762000" y="939800"/>
                  </a:lnTo>
                  <a:lnTo>
                    <a:pt x="755650" y="958850"/>
                  </a:lnTo>
                  <a:lnTo>
                    <a:pt x="749300" y="965200"/>
                  </a:lnTo>
                  <a:lnTo>
                    <a:pt x="727075" y="974725"/>
                  </a:lnTo>
                  <a:lnTo>
                    <a:pt x="720725" y="968375"/>
                  </a:lnTo>
                  <a:lnTo>
                    <a:pt x="704850" y="974725"/>
                  </a:lnTo>
                  <a:lnTo>
                    <a:pt x="698500" y="962025"/>
                  </a:lnTo>
                  <a:lnTo>
                    <a:pt x="688975" y="968375"/>
                  </a:lnTo>
                  <a:lnTo>
                    <a:pt x="679450" y="977900"/>
                  </a:lnTo>
                  <a:lnTo>
                    <a:pt x="666750" y="981075"/>
                  </a:lnTo>
                  <a:lnTo>
                    <a:pt x="660400" y="984250"/>
                  </a:lnTo>
                  <a:lnTo>
                    <a:pt x="654050" y="993775"/>
                  </a:lnTo>
                  <a:lnTo>
                    <a:pt x="638175" y="1003300"/>
                  </a:lnTo>
                  <a:lnTo>
                    <a:pt x="612775" y="1016000"/>
                  </a:lnTo>
                  <a:lnTo>
                    <a:pt x="587375" y="1009650"/>
                  </a:lnTo>
                  <a:lnTo>
                    <a:pt x="577850" y="996950"/>
                  </a:lnTo>
                  <a:lnTo>
                    <a:pt x="571500" y="977900"/>
                  </a:lnTo>
                  <a:lnTo>
                    <a:pt x="565150" y="968375"/>
                  </a:lnTo>
                  <a:lnTo>
                    <a:pt x="555625" y="968375"/>
                  </a:lnTo>
                  <a:lnTo>
                    <a:pt x="549275" y="965200"/>
                  </a:lnTo>
                  <a:lnTo>
                    <a:pt x="546100" y="968375"/>
                  </a:lnTo>
                  <a:lnTo>
                    <a:pt x="536575" y="958850"/>
                  </a:lnTo>
                  <a:lnTo>
                    <a:pt x="527050" y="955675"/>
                  </a:lnTo>
                  <a:lnTo>
                    <a:pt x="508000" y="949325"/>
                  </a:lnTo>
                  <a:lnTo>
                    <a:pt x="508000" y="936625"/>
                  </a:lnTo>
                  <a:lnTo>
                    <a:pt x="511175" y="930275"/>
                  </a:lnTo>
                  <a:lnTo>
                    <a:pt x="514350" y="917575"/>
                  </a:lnTo>
                  <a:lnTo>
                    <a:pt x="520700" y="901700"/>
                  </a:lnTo>
                  <a:lnTo>
                    <a:pt x="523875" y="892175"/>
                  </a:lnTo>
                  <a:lnTo>
                    <a:pt x="527050" y="869950"/>
                  </a:lnTo>
                  <a:lnTo>
                    <a:pt x="533400" y="863600"/>
                  </a:lnTo>
                  <a:lnTo>
                    <a:pt x="542925" y="850900"/>
                  </a:lnTo>
                  <a:lnTo>
                    <a:pt x="552450" y="838200"/>
                  </a:lnTo>
                  <a:lnTo>
                    <a:pt x="581025" y="838200"/>
                  </a:lnTo>
                  <a:lnTo>
                    <a:pt x="581025" y="844550"/>
                  </a:lnTo>
                  <a:lnTo>
                    <a:pt x="581025" y="854075"/>
                  </a:lnTo>
                  <a:lnTo>
                    <a:pt x="584200" y="863600"/>
                  </a:lnTo>
                  <a:lnTo>
                    <a:pt x="593725" y="860425"/>
                  </a:lnTo>
                  <a:lnTo>
                    <a:pt x="619125" y="869950"/>
                  </a:lnTo>
                  <a:lnTo>
                    <a:pt x="631825" y="889000"/>
                  </a:lnTo>
                  <a:lnTo>
                    <a:pt x="638175" y="908050"/>
                  </a:lnTo>
                  <a:lnTo>
                    <a:pt x="641350" y="917575"/>
                  </a:lnTo>
                  <a:lnTo>
                    <a:pt x="650875" y="920750"/>
                  </a:lnTo>
                  <a:lnTo>
                    <a:pt x="657225" y="917575"/>
                  </a:lnTo>
                  <a:lnTo>
                    <a:pt x="660400" y="920750"/>
                  </a:lnTo>
                  <a:lnTo>
                    <a:pt x="685800" y="923925"/>
                  </a:lnTo>
                  <a:lnTo>
                    <a:pt x="695325" y="923925"/>
                  </a:lnTo>
                  <a:lnTo>
                    <a:pt x="695325" y="908050"/>
                  </a:lnTo>
                  <a:lnTo>
                    <a:pt x="688975" y="901700"/>
                  </a:lnTo>
                  <a:lnTo>
                    <a:pt x="669925" y="889000"/>
                  </a:lnTo>
                  <a:lnTo>
                    <a:pt x="676275" y="885825"/>
                  </a:lnTo>
                  <a:lnTo>
                    <a:pt x="685800" y="873125"/>
                  </a:lnTo>
                  <a:lnTo>
                    <a:pt x="673100" y="860425"/>
                  </a:lnTo>
                  <a:lnTo>
                    <a:pt x="673100" y="835025"/>
                  </a:lnTo>
                  <a:lnTo>
                    <a:pt x="679450" y="819150"/>
                  </a:lnTo>
                  <a:close/>
                  <a:moveTo>
                    <a:pt x="1101725" y="803275"/>
                  </a:moveTo>
                  <a:lnTo>
                    <a:pt x="1108075" y="812800"/>
                  </a:lnTo>
                  <a:lnTo>
                    <a:pt x="1108075" y="835025"/>
                  </a:lnTo>
                  <a:lnTo>
                    <a:pt x="1098550" y="831850"/>
                  </a:lnTo>
                  <a:lnTo>
                    <a:pt x="1092200" y="819150"/>
                  </a:lnTo>
                  <a:lnTo>
                    <a:pt x="1089025" y="809625"/>
                  </a:lnTo>
                  <a:lnTo>
                    <a:pt x="1095375" y="806450"/>
                  </a:lnTo>
                  <a:close/>
                  <a:moveTo>
                    <a:pt x="581025" y="800100"/>
                  </a:moveTo>
                  <a:lnTo>
                    <a:pt x="596900" y="809625"/>
                  </a:lnTo>
                  <a:lnTo>
                    <a:pt x="581025" y="815975"/>
                  </a:lnTo>
                  <a:lnTo>
                    <a:pt x="565150" y="812800"/>
                  </a:lnTo>
                  <a:close/>
                  <a:moveTo>
                    <a:pt x="971550" y="784225"/>
                  </a:moveTo>
                  <a:lnTo>
                    <a:pt x="996950" y="790575"/>
                  </a:lnTo>
                  <a:lnTo>
                    <a:pt x="1016000" y="796925"/>
                  </a:lnTo>
                  <a:lnTo>
                    <a:pt x="1025525" y="800100"/>
                  </a:lnTo>
                  <a:lnTo>
                    <a:pt x="1031875" y="819150"/>
                  </a:lnTo>
                  <a:lnTo>
                    <a:pt x="1047750" y="822325"/>
                  </a:lnTo>
                  <a:lnTo>
                    <a:pt x="1063625" y="819150"/>
                  </a:lnTo>
                  <a:lnTo>
                    <a:pt x="1079500" y="822325"/>
                  </a:lnTo>
                  <a:lnTo>
                    <a:pt x="1092200" y="838200"/>
                  </a:lnTo>
                  <a:lnTo>
                    <a:pt x="1079500" y="838200"/>
                  </a:lnTo>
                  <a:lnTo>
                    <a:pt x="1095375" y="844550"/>
                  </a:lnTo>
                  <a:lnTo>
                    <a:pt x="1104900" y="850900"/>
                  </a:lnTo>
                  <a:lnTo>
                    <a:pt x="1117600" y="857250"/>
                  </a:lnTo>
                  <a:lnTo>
                    <a:pt x="1120775" y="898525"/>
                  </a:lnTo>
                  <a:lnTo>
                    <a:pt x="1111250" y="914400"/>
                  </a:lnTo>
                  <a:lnTo>
                    <a:pt x="1117600" y="923925"/>
                  </a:lnTo>
                  <a:lnTo>
                    <a:pt x="1123950" y="930275"/>
                  </a:lnTo>
                  <a:lnTo>
                    <a:pt x="1130300" y="927100"/>
                  </a:lnTo>
                  <a:lnTo>
                    <a:pt x="1133475" y="911225"/>
                  </a:lnTo>
                  <a:lnTo>
                    <a:pt x="1149350" y="917575"/>
                  </a:lnTo>
                  <a:lnTo>
                    <a:pt x="1162050" y="914400"/>
                  </a:lnTo>
                  <a:lnTo>
                    <a:pt x="1193800" y="917575"/>
                  </a:lnTo>
                  <a:lnTo>
                    <a:pt x="1203325" y="917575"/>
                  </a:lnTo>
                  <a:lnTo>
                    <a:pt x="1219200" y="914400"/>
                  </a:lnTo>
                  <a:lnTo>
                    <a:pt x="1231900" y="901700"/>
                  </a:lnTo>
                  <a:lnTo>
                    <a:pt x="1235075" y="901700"/>
                  </a:lnTo>
                  <a:lnTo>
                    <a:pt x="1244600" y="904875"/>
                  </a:lnTo>
                  <a:lnTo>
                    <a:pt x="1270000" y="895350"/>
                  </a:lnTo>
                  <a:lnTo>
                    <a:pt x="1323975" y="923925"/>
                  </a:lnTo>
                  <a:lnTo>
                    <a:pt x="1330325" y="949325"/>
                  </a:lnTo>
                  <a:lnTo>
                    <a:pt x="1330325" y="974725"/>
                  </a:lnTo>
                  <a:lnTo>
                    <a:pt x="1327150" y="977900"/>
                  </a:lnTo>
                  <a:lnTo>
                    <a:pt x="1320800" y="981075"/>
                  </a:lnTo>
                  <a:lnTo>
                    <a:pt x="1314450" y="996950"/>
                  </a:lnTo>
                  <a:lnTo>
                    <a:pt x="1304925" y="1003300"/>
                  </a:lnTo>
                  <a:lnTo>
                    <a:pt x="1273175" y="1009650"/>
                  </a:lnTo>
                  <a:lnTo>
                    <a:pt x="1260475" y="1006475"/>
                  </a:lnTo>
                  <a:lnTo>
                    <a:pt x="1254125" y="1003300"/>
                  </a:lnTo>
                  <a:lnTo>
                    <a:pt x="1250950" y="1000125"/>
                  </a:lnTo>
                  <a:lnTo>
                    <a:pt x="1222375" y="1006475"/>
                  </a:lnTo>
                  <a:lnTo>
                    <a:pt x="1193800" y="1009650"/>
                  </a:lnTo>
                  <a:lnTo>
                    <a:pt x="1136650" y="1009650"/>
                  </a:lnTo>
                  <a:lnTo>
                    <a:pt x="1133475" y="1003300"/>
                  </a:lnTo>
                  <a:lnTo>
                    <a:pt x="1136650" y="984250"/>
                  </a:lnTo>
                  <a:lnTo>
                    <a:pt x="1133475" y="974725"/>
                  </a:lnTo>
                  <a:lnTo>
                    <a:pt x="1123950" y="984250"/>
                  </a:lnTo>
                  <a:lnTo>
                    <a:pt x="1120775" y="996950"/>
                  </a:lnTo>
                  <a:lnTo>
                    <a:pt x="1117600" y="1003300"/>
                  </a:lnTo>
                  <a:lnTo>
                    <a:pt x="1092200" y="1000125"/>
                  </a:lnTo>
                  <a:lnTo>
                    <a:pt x="1079500" y="993775"/>
                  </a:lnTo>
                  <a:lnTo>
                    <a:pt x="1069975" y="996950"/>
                  </a:lnTo>
                  <a:lnTo>
                    <a:pt x="1063625" y="990600"/>
                  </a:lnTo>
                  <a:lnTo>
                    <a:pt x="1057275" y="984250"/>
                  </a:lnTo>
                  <a:lnTo>
                    <a:pt x="1047750" y="942975"/>
                  </a:lnTo>
                  <a:lnTo>
                    <a:pt x="1057275" y="917575"/>
                  </a:lnTo>
                  <a:lnTo>
                    <a:pt x="1057275" y="895350"/>
                  </a:lnTo>
                  <a:lnTo>
                    <a:pt x="1054100" y="889000"/>
                  </a:lnTo>
                  <a:lnTo>
                    <a:pt x="1047750" y="882650"/>
                  </a:lnTo>
                  <a:lnTo>
                    <a:pt x="1044575" y="873125"/>
                  </a:lnTo>
                  <a:lnTo>
                    <a:pt x="1044575" y="869950"/>
                  </a:lnTo>
                  <a:lnTo>
                    <a:pt x="1035050" y="850900"/>
                  </a:lnTo>
                  <a:lnTo>
                    <a:pt x="1028700" y="847725"/>
                  </a:lnTo>
                  <a:lnTo>
                    <a:pt x="1016000" y="857250"/>
                  </a:lnTo>
                  <a:lnTo>
                    <a:pt x="996950" y="854075"/>
                  </a:lnTo>
                  <a:lnTo>
                    <a:pt x="987425" y="860425"/>
                  </a:lnTo>
                  <a:lnTo>
                    <a:pt x="984250" y="854075"/>
                  </a:lnTo>
                  <a:lnTo>
                    <a:pt x="974725" y="841375"/>
                  </a:lnTo>
                  <a:lnTo>
                    <a:pt x="952500" y="812800"/>
                  </a:lnTo>
                  <a:lnTo>
                    <a:pt x="952500" y="796925"/>
                  </a:lnTo>
                  <a:lnTo>
                    <a:pt x="958850" y="787400"/>
                  </a:lnTo>
                  <a:close/>
                  <a:moveTo>
                    <a:pt x="536575" y="736600"/>
                  </a:moveTo>
                  <a:lnTo>
                    <a:pt x="546100" y="749300"/>
                  </a:lnTo>
                  <a:lnTo>
                    <a:pt x="552450" y="758825"/>
                  </a:lnTo>
                  <a:lnTo>
                    <a:pt x="536575" y="768350"/>
                  </a:lnTo>
                  <a:lnTo>
                    <a:pt x="542925" y="793750"/>
                  </a:lnTo>
                  <a:lnTo>
                    <a:pt x="542925" y="806450"/>
                  </a:lnTo>
                  <a:lnTo>
                    <a:pt x="542925" y="819150"/>
                  </a:lnTo>
                  <a:lnTo>
                    <a:pt x="523875" y="844550"/>
                  </a:lnTo>
                  <a:lnTo>
                    <a:pt x="511175" y="857250"/>
                  </a:lnTo>
                  <a:lnTo>
                    <a:pt x="495300" y="844550"/>
                  </a:lnTo>
                  <a:lnTo>
                    <a:pt x="498475" y="809625"/>
                  </a:lnTo>
                  <a:lnTo>
                    <a:pt x="485775" y="815975"/>
                  </a:lnTo>
                  <a:lnTo>
                    <a:pt x="488950" y="819150"/>
                  </a:lnTo>
                  <a:lnTo>
                    <a:pt x="482600" y="854075"/>
                  </a:lnTo>
                  <a:lnTo>
                    <a:pt x="473075" y="876300"/>
                  </a:lnTo>
                  <a:lnTo>
                    <a:pt x="447675" y="898525"/>
                  </a:lnTo>
                  <a:lnTo>
                    <a:pt x="441325" y="879475"/>
                  </a:lnTo>
                  <a:lnTo>
                    <a:pt x="434975" y="873125"/>
                  </a:lnTo>
                  <a:lnTo>
                    <a:pt x="431800" y="876300"/>
                  </a:lnTo>
                  <a:lnTo>
                    <a:pt x="415925" y="879475"/>
                  </a:lnTo>
                  <a:lnTo>
                    <a:pt x="409575" y="876300"/>
                  </a:lnTo>
                  <a:lnTo>
                    <a:pt x="409575" y="882650"/>
                  </a:lnTo>
                  <a:lnTo>
                    <a:pt x="406400" y="882650"/>
                  </a:lnTo>
                  <a:lnTo>
                    <a:pt x="387350" y="873125"/>
                  </a:lnTo>
                  <a:lnTo>
                    <a:pt x="400050" y="847725"/>
                  </a:lnTo>
                  <a:lnTo>
                    <a:pt x="412750" y="841375"/>
                  </a:lnTo>
                  <a:lnTo>
                    <a:pt x="422275" y="838200"/>
                  </a:lnTo>
                  <a:lnTo>
                    <a:pt x="428625" y="825500"/>
                  </a:lnTo>
                  <a:lnTo>
                    <a:pt x="434975" y="819150"/>
                  </a:lnTo>
                  <a:lnTo>
                    <a:pt x="447675" y="800100"/>
                  </a:lnTo>
                  <a:lnTo>
                    <a:pt x="460375" y="774700"/>
                  </a:lnTo>
                  <a:lnTo>
                    <a:pt x="473075" y="755650"/>
                  </a:lnTo>
                  <a:lnTo>
                    <a:pt x="485775" y="752475"/>
                  </a:lnTo>
                  <a:lnTo>
                    <a:pt x="498475" y="749300"/>
                  </a:lnTo>
                  <a:lnTo>
                    <a:pt x="501650" y="752475"/>
                  </a:lnTo>
                  <a:lnTo>
                    <a:pt x="517525" y="739775"/>
                  </a:lnTo>
                  <a:close/>
                  <a:moveTo>
                    <a:pt x="1082675" y="723900"/>
                  </a:moveTo>
                  <a:lnTo>
                    <a:pt x="1092200" y="727075"/>
                  </a:lnTo>
                  <a:lnTo>
                    <a:pt x="1108075" y="749300"/>
                  </a:lnTo>
                  <a:lnTo>
                    <a:pt x="1108075" y="758825"/>
                  </a:lnTo>
                  <a:lnTo>
                    <a:pt x="1104900" y="765175"/>
                  </a:lnTo>
                  <a:lnTo>
                    <a:pt x="1092200" y="768350"/>
                  </a:lnTo>
                  <a:lnTo>
                    <a:pt x="1076325" y="749300"/>
                  </a:lnTo>
                  <a:close/>
                  <a:moveTo>
                    <a:pt x="765175" y="714375"/>
                  </a:moveTo>
                  <a:lnTo>
                    <a:pt x="768350" y="717550"/>
                  </a:lnTo>
                  <a:lnTo>
                    <a:pt x="774700" y="730250"/>
                  </a:lnTo>
                  <a:lnTo>
                    <a:pt x="787400" y="755650"/>
                  </a:lnTo>
                  <a:lnTo>
                    <a:pt x="790575" y="771525"/>
                  </a:lnTo>
                  <a:lnTo>
                    <a:pt x="784225" y="777875"/>
                  </a:lnTo>
                  <a:lnTo>
                    <a:pt x="774700" y="771525"/>
                  </a:lnTo>
                  <a:lnTo>
                    <a:pt x="765175" y="758825"/>
                  </a:lnTo>
                  <a:lnTo>
                    <a:pt x="758825" y="730250"/>
                  </a:lnTo>
                  <a:close/>
                  <a:moveTo>
                    <a:pt x="1000125" y="711200"/>
                  </a:moveTo>
                  <a:lnTo>
                    <a:pt x="1016000" y="711200"/>
                  </a:lnTo>
                  <a:lnTo>
                    <a:pt x="1031875" y="717550"/>
                  </a:lnTo>
                  <a:lnTo>
                    <a:pt x="1025525" y="746125"/>
                  </a:lnTo>
                  <a:lnTo>
                    <a:pt x="1009650" y="742950"/>
                  </a:lnTo>
                  <a:lnTo>
                    <a:pt x="977900" y="742950"/>
                  </a:lnTo>
                  <a:lnTo>
                    <a:pt x="971550" y="739775"/>
                  </a:lnTo>
                  <a:lnTo>
                    <a:pt x="965200" y="727075"/>
                  </a:lnTo>
                  <a:lnTo>
                    <a:pt x="968375" y="717550"/>
                  </a:lnTo>
                  <a:close/>
                  <a:moveTo>
                    <a:pt x="841375" y="698500"/>
                  </a:moveTo>
                  <a:lnTo>
                    <a:pt x="860425" y="708025"/>
                  </a:lnTo>
                  <a:lnTo>
                    <a:pt x="863600" y="714375"/>
                  </a:lnTo>
                  <a:lnTo>
                    <a:pt x="863600" y="717550"/>
                  </a:lnTo>
                  <a:lnTo>
                    <a:pt x="854075" y="720725"/>
                  </a:lnTo>
                  <a:lnTo>
                    <a:pt x="835025" y="717550"/>
                  </a:lnTo>
                  <a:lnTo>
                    <a:pt x="831850" y="701675"/>
                  </a:lnTo>
                  <a:close/>
                  <a:moveTo>
                    <a:pt x="577850" y="682625"/>
                  </a:moveTo>
                  <a:lnTo>
                    <a:pt x="584200" y="695325"/>
                  </a:lnTo>
                  <a:lnTo>
                    <a:pt x="593725" y="708025"/>
                  </a:lnTo>
                  <a:lnTo>
                    <a:pt x="558800" y="692150"/>
                  </a:lnTo>
                  <a:lnTo>
                    <a:pt x="568325" y="685800"/>
                  </a:lnTo>
                  <a:close/>
                  <a:moveTo>
                    <a:pt x="641350" y="679450"/>
                  </a:moveTo>
                  <a:lnTo>
                    <a:pt x="673100" y="679450"/>
                  </a:lnTo>
                  <a:lnTo>
                    <a:pt x="679450" y="682625"/>
                  </a:lnTo>
                  <a:lnTo>
                    <a:pt x="676275" y="695325"/>
                  </a:lnTo>
                  <a:lnTo>
                    <a:pt x="666750" y="736600"/>
                  </a:lnTo>
                  <a:lnTo>
                    <a:pt x="641350" y="752475"/>
                  </a:lnTo>
                  <a:lnTo>
                    <a:pt x="615950" y="752475"/>
                  </a:lnTo>
                  <a:lnTo>
                    <a:pt x="606425" y="742950"/>
                  </a:lnTo>
                  <a:lnTo>
                    <a:pt x="600075" y="736600"/>
                  </a:lnTo>
                  <a:lnTo>
                    <a:pt x="596900" y="711200"/>
                  </a:lnTo>
                  <a:lnTo>
                    <a:pt x="600075" y="698500"/>
                  </a:lnTo>
                  <a:lnTo>
                    <a:pt x="609600" y="692150"/>
                  </a:lnTo>
                  <a:lnTo>
                    <a:pt x="615950" y="688975"/>
                  </a:lnTo>
                  <a:close/>
                  <a:moveTo>
                    <a:pt x="644525" y="612775"/>
                  </a:moveTo>
                  <a:lnTo>
                    <a:pt x="673100" y="619125"/>
                  </a:lnTo>
                  <a:lnTo>
                    <a:pt x="685800" y="638175"/>
                  </a:lnTo>
                  <a:lnTo>
                    <a:pt x="682625" y="657225"/>
                  </a:lnTo>
                  <a:lnTo>
                    <a:pt x="676275" y="657225"/>
                  </a:lnTo>
                  <a:lnTo>
                    <a:pt x="638175" y="660400"/>
                  </a:lnTo>
                  <a:lnTo>
                    <a:pt x="631825" y="660400"/>
                  </a:lnTo>
                  <a:lnTo>
                    <a:pt x="628650" y="654050"/>
                  </a:lnTo>
                  <a:lnTo>
                    <a:pt x="625475" y="650875"/>
                  </a:lnTo>
                  <a:lnTo>
                    <a:pt x="609600" y="657225"/>
                  </a:lnTo>
                  <a:lnTo>
                    <a:pt x="596900" y="654050"/>
                  </a:lnTo>
                  <a:lnTo>
                    <a:pt x="622300" y="628650"/>
                  </a:lnTo>
                  <a:lnTo>
                    <a:pt x="631825" y="628650"/>
                  </a:lnTo>
                  <a:lnTo>
                    <a:pt x="641350" y="622300"/>
                  </a:lnTo>
                  <a:close/>
                  <a:moveTo>
                    <a:pt x="930275" y="600075"/>
                  </a:moveTo>
                  <a:lnTo>
                    <a:pt x="946150" y="606425"/>
                  </a:lnTo>
                  <a:lnTo>
                    <a:pt x="971550" y="625475"/>
                  </a:lnTo>
                  <a:lnTo>
                    <a:pt x="984250" y="635000"/>
                  </a:lnTo>
                  <a:lnTo>
                    <a:pt x="996950" y="647700"/>
                  </a:lnTo>
                  <a:lnTo>
                    <a:pt x="996950" y="682625"/>
                  </a:lnTo>
                  <a:lnTo>
                    <a:pt x="990600" y="695325"/>
                  </a:lnTo>
                  <a:lnTo>
                    <a:pt x="968375" y="701675"/>
                  </a:lnTo>
                  <a:lnTo>
                    <a:pt x="955675" y="711200"/>
                  </a:lnTo>
                  <a:lnTo>
                    <a:pt x="939800" y="688975"/>
                  </a:lnTo>
                  <a:lnTo>
                    <a:pt x="942975" y="666750"/>
                  </a:lnTo>
                  <a:lnTo>
                    <a:pt x="930275" y="657225"/>
                  </a:lnTo>
                  <a:lnTo>
                    <a:pt x="920750" y="635000"/>
                  </a:lnTo>
                  <a:lnTo>
                    <a:pt x="923925" y="615950"/>
                  </a:lnTo>
                  <a:close/>
                  <a:moveTo>
                    <a:pt x="793750" y="539750"/>
                  </a:moveTo>
                  <a:lnTo>
                    <a:pt x="819150" y="546100"/>
                  </a:lnTo>
                  <a:lnTo>
                    <a:pt x="828675" y="568325"/>
                  </a:lnTo>
                  <a:lnTo>
                    <a:pt x="835025" y="568325"/>
                  </a:lnTo>
                  <a:lnTo>
                    <a:pt x="841375" y="571500"/>
                  </a:lnTo>
                  <a:lnTo>
                    <a:pt x="854075" y="577850"/>
                  </a:lnTo>
                  <a:lnTo>
                    <a:pt x="873125" y="593725"/>
                  </a:lnTo>
                  <a:lnTo>
                    <a:pt x="895350" y="625475"/>
                  </a:lnTo>
                  <a:lnTo>
                    <a:pt x="895350" y="647700"/>
                  </a:lnTo>
                  <a:lnTo>
                    <a:pt x="898525" y="666750"/>
                  </a:lnTo>
                  <a:lnTo>
                    <a:pt x="908050" y="679450"/>
                  </a:lnTo>
                  <a:lnTo>
                    <a:pt x="908050" y="701675"/>
                  </a:lnTo>
                  <a:lnTo>
                    <a:pt x="901700" y="704850"/>
                  </a:lnTo>
                  <a:lnTo>
                    <a:pt x="892175" y="708025"/>
                  </a:lnTo>
                  <a:lnTo>
                    <a:pt x="879475" y="708025"/>
                  </a:lnTo>
                  <a:lnTo>
                    <a:pt x="866775" y="688975"/>
                  </a:lnTo>
                  <a:lnTo>
                    <a:pt x="863600" y="673100"/>
                  </a:lnTo>
                  <a:lnTo>
                    <a:pt x="860425" y="666750"/>
                  </a:lnTo>
                  <a:lnTo>
                    <a:pt x="828675" y="650875"/>
                  </a:lnTo>
                  <a:lnTo>
                    <a:pt x="796925" y="663575"/>
                  </a:lnTo>
                  <a:lnTo>
                    <a:pt x="784225" y="654050"/>
                  </a:lnTo>
                  <a:lnTo>
                    <a:pt x="777875" y="644525"/>
                  </a:lnTo>
                  <a:lnTo>
                    <a:pt x="777875" y="631825"/>
                  </a:lnTo>
                  <a:lnTo>
                    <a:pt x="800100" y="635000"/>
                  </a:lnTo>
                  <a:lnTo>
                    <a:pt x="812800" y="622300"/>
                  </a:lnTo>
                  <a:lnTo>
                    <a:pt x="812800" y="606425"/>
                  </a:lnTo>
                  <a:lnTo>
                    <a:pt x="803275" y="590550"/>
                  </a:lnTo>
                  <a:lnTo>
                    <a:pt x="793750" y="581025"/>
                  </a:lnTo>
                  <a:lnTo>
                    <a:pt x="781050" y="574675"/>
                  </a:lnTo>
                  <a:lnTo>
                    <a:pt x="765175" y="558800"/>
                  </a:lnTo>
                  <a:lnTo>
                    <a:pt x="774700" y="542925"/>
                  </a:lnTo>
                  <a:close/>
                  <a:moveTo>
                    <a:pt x="892175" y="441325"/>
                  </a:moveTo>
                  <a:lnTo>
                    <a:pt x="901700" y="447675"/>
                  </a:lnTo>
                  <a:lnTo>
                    <a:pt x="911225" y="450850"/>
                  </a:lnTo>
                  <a:lnTo>
                    <a:pt x="914400" y="485775"/>
                  </a:lnTo>
                  <a:lnTo>
                    <a:pt x="908050" y="498475"/>
                  </a:lnTo>
                  <a:lnTo>
                    <a:pt x="885825" y="476250"/>
                  </a:lnTo>
                  <a:lnTo>
                    <a:pt x="882650" y="450850"/>
                  </a:lnTo>
                  <a:close/>
                  <a:moveTo>
                    <a:pt x="1025525" y="276225"/>
                  </a:moveTo>
                  <a:lnTo>
                    <a:pt x="1050925" y="295275"/>
                  </a:lnTo>
                  <a:lnTo>
                    <a:pt x="1063625" y="317500"/>
                  </a:lnTo>
                  <a:lnTo>
                    <a:pt x="1076325" y="358775"/>
                  </a:lnTo>
                  <a:lnTo>
                    <a:pt x="1092200" y="390525"/>
                  </a:lnTo>
                  <a:lnTo>
                    <a:pt x="1104900" y="393700"/>
                  </a:lnTo>
                  <a:lnTo>
                    <a:pt x="1117600" y="393700"/>
                  </a:lnTo>
                  <a:lnTo>
                    <a:pt x="1130300" y="415925"/>
                  </a:lnTo>
                  <a:lnTo>
                    <a:pt x="1133475" y="406400"/>
                  </a:lnTo>
                  <a:lnTo>
                    <a:pt x="1139825" y="406400"/>
                  </a:lnTo>
                  <a:lnTo>
                    <a:pt x="1149350" y="409575"/>
                  </a:lnTo>
                  <a:lnTo>
                    <a:pt x="1152525" y="415925"/>
                  </a:lnTo>
                  <a:lnTo>
                    <a:pt x="1165225" y="460375"/>
                  </a:lnTo>
                  <a:lnTo>
                    <a:pt x="1168400" y="479425"/>
                  </a:lnTo>
                  <a:lnTo>
                    <a:pt x="1174750" y="504825"/>
                  </a:lnTo>
                  <a:lnTo>
                    <a:pt x="1177925" y="504825"/>
                  </a:lnTo>
                  <a:lnTo>
                    <a:pt x="1187450" y="508000"/>
                  </a:lnTo>
                  <a:lnTo>
                    <a:pt x="1200150" y="517525"/>
                  </a:lnTo>
                  <a:lnTo>
                    <a:pt x="1209675" y="546100"/>
                  </a:lnTo>
                  <a:lnTo>
                    <a:pt x="1209675" y="552450"/>
                  </a:lnTo>
                  <a:lnTo>
                    <a:pt x="1200150" y="558800"/>
                  </a:lnTo>
                  <a:lnTo>
                    <a:pt x="1187450" y="568325"/>
                  </a:lnTo>
                  <a:lnTo>
                    <a:pt x="1174750" y="574675"/>
                  </a:lnTo>
                  <a:lnTo>
                    <a:pt x="1162050" y="600075"/>
                  </a:lnTo>
                  <a:lnTo>
                    <a:pt x="1152525" y="619125"/>
                  </a:lnTo>
                  <a:lnTo>
                    <a:pt x="1146175" y="625475"/>
                  </a:lnTo>
                  <a:lnTo>
                    <a:pt x="1143000" y="638175"/>
                  </a:lnTo>
                  <a:lnTo>
                    <a:pt x="1133475" y="650875"/>
                  </a:lnTo>
                  <a:lnTo>
                    <a:pt x="1120775" y="669925"/>
                  </a:lnTo>
                  <a:lnTo>
                    <a:pt x="1108075" y="657225"/>
                  </a:lnTo>
                  <a:lnTo>
                    <a:pt x="1082675" y="673100"/>
                  </a:lnTo>
                  <a:lnTo>
                    <a:pt x="1057275" y="666750"/>
                  </a:lnTo>
                  <a:lnTo>
                    <a:pt x="1044575" y="654050"/>
                  </a:lnTo>
                  <a:lnTo>
                    <a:pt x="1038225" y="641350"/>
                  </a:lnTo>
                  <a:lnTo>
                    <a:pt x="1031875" y="625475"/>
                  </a:lnTo>
                  <a:lnTo>
                    <a:pt x="1028700" y="622300"/>
                  </a:lnTo>
                  <a:lnTo>
                    <a:pt x="1022350" y="609600"/>
                  </a:lnTo>
                  <a:lnTo>
                    <a:pt x="1012825" y="593725"/>
                  </a:lnTo>
                  <a:lnTo>
                    <a:pt x="1009650" y="581025"/>
                  </a:lnTo>
                  <a:lnTo>
                    <a:pt x="1028700" y="561975"/>
                  </a:lnTo>
                  <a:lnTo>
                    <a:pt x="1041400" y="561975"/>
                  </a:lnTo>
                  <a:lnTo>
                    <a:pt x="1038225" y="536575"/>
                  </a:lnTo>
                  <a:lnTo>
                    <a:pt x="1031875" y="539750"/>
                  </a:lnTo>
                  <a:lnTo>
                    <a:pt x="1003300" y="549275"/>
                  </a:lnTo>
                  <a:lnTo>
                    <a:pt x="990600" y="549275"/>
                  </a:lnTo>
                  <a:lnTo>
                    <a:pt x="981075" y="539750"/>
                  </a:lnTo>
                  <a:lnTo>
                    <a:pt x="977900" y="533400"/>
                  </a:lnTo>
                  <a:lnTo>
                    <a:pt x="974725" y="514350"/>
                  </a:lnTo>
                  <a:lnTo>
                    <a:pt x="968375" y="492125"/>
                  </a:lnTo>
                  <a:lnTo>
                    <a:pt x="958850" y="460375"/>
                  </a:lnTo>
                  <a:lnTo>
                    <a:pt x="955675" y="428625"/>
                  </a:lnTo>
                  <a:lnTo>
                    <a:pt x="958850" y="409575"/>
                  </a:lnTo>
                  <a:lnTo>
                    <a:pt x="971550" y="381000"/>
                  </a:lnTo>
                  <a:lnTo>
                    <a:pt x="987425" y="339725"/>
                  </a:lnTo>
                  <a:lnTo>
                    <a:pt x="996950" y="317500"/>
                  </a:lnTo>
                  <a:lnTo>
                    <a:pt x="1009650" y="279400"/>
                  </a:lnTo>
                  <a:close/>
                  <a:moveTo>
                    <a:pt x="1517650" y="0"/>
                  </a:moveTo>
                  <a:lnTo>
                    <a:pt x="1527175" y="0"/>
                  </a:lnTo>
                  <a:lnTo>
                    <a:pt x="1536700" y="0"/>
                  </a:lnTo>
                  <a:lnTo>
                    <a:pt x="1539875" y="0"/>
                  </a:lnTo>
                  <a:lnTo>
                    <a:pt x="1539875" y="12700"/>
                  </a:lnTo>
                  <a:lnTo>
                    <a:pt x="1543050" y="19050"/>
                  </a:lnTo>
                  <a:lnTo>
                    <a:pt x="1552575" y="22225"/>
                  </a:lnTo>
                  <a:lnTo>
                    <a:pt x="1565275" y="19050"/>
                  </a:lnTo>
                  <a:lnTo>
                    <a:pt x="1577975" y="22225"/>
                  </a:lnTo>
                  <a:lnTo>
                    <a:pt x="1590675" y="25400"/>
                  </a:lnTo>
                  <a:lnTo>
                    <a:pt x="1603375" y="28575"/>
                  </a:lnTo>
                  <a:lnTo>
                    <a:pt x="1612900" y="31750"/>
                  </a:lnTo>
                  <a:lnTo>
                    <a:pt x="1616075" y="50800"/>
                  </a:lnTo>
                  <a:lnTo>
                    <a:pt x="1628775" y="44450"/>
                  </a:lnTo>
                  <a:lnTo>
                    <a:pt x="1641475" y="34925"/>
                  </a:lnTo>
                  <a:lnTo>
                    <a:pt x="1673225" y="50800"/>
                  </a:lnTo>
                  <a:lnTo>
                    <a:pt x="1682750" y="85725"/>
                  </a:lnTo>
                  <a:lnTo>
                    <a:pt x="1695450" y="101600"/>
                  </a:lnTo>
                  <a:lnTo>
                    <a:pt x="1720850" y="117475"/>
                  </a:lnTo>
                  <a:lnTo>
                    <a:pt x="1720850" y="152400"/>
                  </a:lnTo>
                  <a:lnTo>
                    <a:pt x="1708150" y="171450"/>
                  </a:lnTo>
                  <a:lnTo>
                    <a:pt x="1682750" y="200025"/>
                  </a:lnTo>
                  <a:lnTo>
                    <a:pt x="1666875" y="212725"/>
                  </a:lnTo>
                  <a:lnTo>
                    <a:pt x="1654175" y="257175"/>
                  </a:lnTo>
                  <a:lnTo>
                    <a:pt x="1628775" y="295275"/>
                  </a:lnTo>
                  <a:lnTo>
                    <a:pt x="1619250" y="301625"/>
                  </a:lnTo>
                  <a:lnTo>
                    <a:pt x="1606550" y="320675"/>
                  </a:lnTo>
                  <a:lnTo>
                    <a:pt x="1577975" y="355600"/>
                  </a:lnTo>
                  <a:lnTo>
                    <a:pt x="1555750" y="384175"/>
                  </a:lnTo>
                  <a:lnTo>
                    <a:pt x="1546225" y="412750"/>
                  </a:lnTo>
                  <a:lnTo>
                    <a:pt x="1536700" y="425450"/>
                  </a:lnTo>
                  <a:lnTo>
                    <a:pt x="1508125" y="488950"/>
                  </a:lnTo>
                  <a:lnTo>
                    <a:pt x="1482725" y="501650"/>
                  </a:lnTo>
                  <a:lnTo>
                    <a:pt x="1470025" y="498475"/>
                  </a:lnTo>
                  <a:lnTo>
                    <a:pt x="1466850" y="514350"/>
                  </a:lnTo>
                  <a:lnTo>
                    <a:pt x="1463675" y="520700"/>
                  </a:lnTo>
                  <a:lnTo>
                    <a:pt x="1447800" y="530225"/>
                  </a:lnTo>
                  <a:lnTo>
                    <a:pt x="1441450" y="530225"/>
                  </a:lnTo>
                  <a:lnTo>
                    <a:pt x="1438275" y="558800"/>
                  </a:lnTo>
                  <a:lnTo>
                    <a:pt x="1431925" y="612775"/>
                  </a:lnTo>
                  <a:lnTo>
                    <a:pt x="1425575" y="657225"/>
                  </a:lnTo>
                  <a:lnTo>
                    <a:pt x="1412875" y="679450"/>
                  </a:lnTo>
                  <a:lnTo>
                    <a:pt x="1403350" y="692150"/>
                  </a:lnTo>
                  <a:lnTo>
                    <a:pt x="1374775" y="695325"/>
                  </a:lnTo>
                  <a:lnTo>
                    <a:pt x="1362075" y="692150"/>
                  </a:lnTo>
                  <a:lnTo>
                    <a:pt x="1352550" y="698500"/>
                  </a:lnTo>
                  <a:lnTo>
                    <a:pt x="1358900" y="708025"/>
                  </a:lnTo>
                  <a:lnTo>
                    <a:pt x="1365250" y="730250"/>
                  </a:lnTo>
                  <a:lnTo>
                    <a:pt x="1352550" y="752475"/>
                  </a:lnTo>
                  <a:lnTo>
                    <a:pt x="1346200" y="758825"/>
                  </a:lnTo>
                  <a:lnTo>
                    <a:pt x="1336675" y="771525"/>
                  </a:lnTo>
                  <a:lnTo>
                    <a:pt x="1333500" y="790575"/>
                  </a:lnTo>
                  <a:lnTo>
                    <a:pt x="1339850" y="803275"/>
                  </a:lnTo>
                  <a:lnTo>
                    <a:pt x="1346200" y="800100"/>
                  </a:lnTo>
                  <a:lnTo>
                    <a:pt x="1365250" y="806450"/>
                  </a:lnTo>
                  <a:lnTo>
                    <a:pt x="1365250" y="822325"/>
                  </a:lnTo>
                  <a:lnTo>
                    <a:pt x="1355725" y="835025"/>
                  </a:lnTo>
                  <a:lnTo>
                    <a:pt x="1343025" y="844550"/>
                  </a:lnTo>
                  <a:lnTo>
                    <a:pt x="1330325" y="854075"/>
                  </a:lnTo>
                  <a:lnTo>
                    <a:pt x="1320800" y="857250"/>
                  </a:lnTo>
                  <a:lnTo>
                    <a:pt x="1304925" y="866775"/>
                  </a:lnTo>
                  <a:lnTo>
                    <a:pt x="1301750" y="866775"/>
                  </a:lnTo>
                  <a:lnTo>
                    <a:pt x="1295400" y="869950"/>
                  </a:lnTo>
                  <a:lnTo>
                    <a:pt x="1301750" y="844550"/>
                  </a:lnTo>
                  <a:lnTo>
                    <a:pt x="1292225" y="835025"/>
                  </a:lnTo>
                  <a:lnTo>
                    <a:pt x="1282700" y="838200"/>
                  </a:lnTo>
                  <a:lnTo>
                    <a:pt x="1276350" y="838200"/>
                  </a:lnTo>
                  <a:lnTo>
                    <a:pt x="1273175" y="841375"/>
                  </a:lnTo>
                  <a:lnTo>
                    <a:pt x="1260475" y="844550"/>
                  </a:lnTo>
                  <a:lnTo>
                    <a:pt x="1244600" y="844550"/>
                  </a:lnTo>
                  <a:lnTo>
                    <a:pt x="1235075" y="835025"/>
                  </a:lnTo>
                  <a:lnTo>
                    <a:pt x="1219200" y="841375"/>
                  </a:lnTo>
                  <a:lnTo>
                    <a:pt x="1222375" y="850900"/>
                  </a:lnTo>
                  <a:lnTo>
                    <a:pt x="1209675" y="854075"/>
                  </a:lnTo>
                  <a:lnTo>
                    <a:pt x="1196975" y="850900"/>
                  </a:lnTo>
                  <a:lnTo>
                    <a:pt x="1184275" y="847725"/>
                  </a:lnTo>
                  <a:lnTo>
                    <a:pt x="1171575" y="850900"/>
                  </a:lnTo>
                  <a:lnTo>
                    <a:pt x="1143000" y="847725"/>
                  </a:lnTo>
                  <a:lnTo>
                    <a:pt x="1114425" y="835025"/>
                  </a:lnTo>
                  <a:lnTo>
                    <a:pt x="1111250" y="819150"/>
                  </a:lnTo>
                  <a:lnTo>
                    <a:pt x="1114425" y="800100"/>
                  </a:lnTo>
                  <a:lnTo>
                    <a:pt x="1130300" y="781050"/>
                  </a:lnTo>
                  <a:lnTo>
                    <a:pt x="1155700" y="774700"/>
                  </a:lnTo>
                  <a:lnTo>
                    <a:pt x="1146175" y="739775"/>
                  </a:lnTo>
                  <a:lnTo>
                    <a:pt x="1143000" y="708025"/>
                  </a:lnTo>
                  <a:lnTo>
                    <a:pt x="1168400" y="701675"/>
                  </a:lnTo>
                  <a:lnTo>
                    <a:pt x="1181100" y="708025"/>
                  </a:lnTo>
                  <a:lnTo>
                    <a:pt x="1193800" y="742950"/>
                  </a:lnTo>
                  <a:lnTo>
                    <a:pt x="1203325" y="752475"/>
                  </a:lnTo>
                  <a:lnTo>
                    <a:pt x="1219200" y="755650"/>
                  </a:lnTo>
                  <a:lnTo>
                    <a:pt x="1219200" y="749300"/>
                  </a:lnTo>
                  <a:lnTo>
                    <a:pt x="1219200" y="742950"/>
                  </a:lnTo>
                  <a:lnTo>
                    <a:pt x="1209675" y="730250"/>
                  </a:lnTo>
                  <a:lnTo>
                    <a:pt x="1203325" y="723900"/>
                  </a:lnTo>
                  <a:lnTo>
                    <a:pt x="1200150" y="698500"/>
                  </a:lnTo>
                  <a:lnTo>
                    <a:pt x="1187450" y="682625"/>
                  </a:lnTo>
                  <a:lnTo>
                    <a:pt x="1177925" y="679450"/>
                  </a:lnTo>
                  <a:lnTo>
                    <a:pt x="1158875" y="676275"/>
                  </a:lnTo>
                  <a:lnTo>
                    <a:pt x="1155700" y="676275"/>
                  </a:lnTo>
                  <a:lnTo>
                    <a:pt x="1155700" y="644525"/>
                  </a:lnTo>
                  <a:lnTo>
                    <a:pt x="1165225" y="622300"/>
                  </a:lnTo>
                  <a:lnTo>
                    <a:pt x="1174750" y="603250"/>
                  </a:lnTo>
                  <a:lnTo>
                    <a:pt x="1203325" y="593725"/>
                  </a:lnTo>
                  <a:lnTo>
                    <a:pt x="1209675" y="590550"/>
                  </a:lnTo>
                  <a:lnTo>
                    <a:pt x="1216025" y="571500"/>
                  </a:lnTo>
                  <a:lnTo>
                    <a:pt x="1225550" y="558800"/>
                  </a:lnTo>
                  <a:lnTo>
                    <a:pt x="1203325" y="498475"/>
                  </a:lnTo>
                  <a:lnTo>
                    <a:pt x="1190625" y="498475"/>
                  </a:lnTo>
                  <a:lnTo>
                    <a:pt x="1181100" y="495300"/>
                  </a:lnTo>
                  <a:lnTo>
                    <a:pt x="1177925" y="488950"/>
                  </a:lnTo>
                  <a:lnTo>
                    <a:pt x="1174750" y="457200"/>
                  </a:lnTo>
                  <a:lnTo>
                    <a:pt x="1174750" y="434975"/>
                  </a:lnTo>
                  <a:lnTo>
                    <a:pt x="1177925" y="422275"/>
                  </a:lnTo>
                  <a:lnTo>
                    <a:pt x="1184275" y="419100"/>
                  </a:lnTo>
                  <a:lnTo>
                    <a:pt x="1216025" y="425450"/>
                  </a:lnTo>
                  <a:lnTo>
                    <a:pt x="1235075" y="431800"/>
                  </a:lnTo>
                  <a:lnTo>
                    <a:pt x="1247775" y="422275"/>
                  </a:lnTo>
                  <a:lnTo>
                    <a:pt x="1250950" y="384175"/>
                  </a:lnTo>
                  <a:lnTo>
                    <a:pt x="1238250" y="381000"/>
                  </a:lnTo>
                  <a:lnTo>
                    <a:pt x="1235075" y="387350"/>
                  </a:lnTo>
                  <a:lnTo>
                    <a:pt x="1231900" y="393700"/>
                  </a:lnTo>
                  <a:lnTo>
                    <a:pt x="1209675" y="396875"/>
                  </a:lnTo>
                  <a:lnTo>
                    <a:pt x="1190625" y="393700"/>
                  </a:lnTo>
                  <a:lnTo>
                    <a:pt x="1181100" y="390525"/>
                  </a:lnTo>
                  <a:lnTo>
                    <a:pt x="1171575" y="384175"/>
                  </a:lnTo>
                  <a:lnTo>
                    <a:pt x="1133475" y="365125"/>
                  </a:lnTo>
                  <a:lnTo>
                    <a:pt x="1111250" y="336550"/>
                  </a:lnTo>
                  <a:lnTo>
                    <a:pt x="1095375" y="307975"/>
                  </a:lnTo>
                  <a:lnTo>
                    <a:pt x="1095375" y="304800"/>
                  </a:lnTo>
                  <a:lnTo>
                    <a:pt x="1092200" y="279400"/>
                  </a:lnTo>
                  <a:lnTo>
                    <a:pt x="1085850" y="260350"/>
                  </a:lnTo>
                  <a:lnTo>
                    <a:pt x="1079500" y="244475"/>
                  </a:lnTo>
                  <a:lnTo>
                    <a:pt x="1069975" y="254000"/>
                  </a:lnTo>
                  <a:lnTo>
                    <a:pt x="1060450" y="241300"/>
                  </a:lnTo>
                  <a:lnTo>
                    <a:pt x="1069975" y="219075"/>
                  </a:lnTo>
                  <a:lnTo>
                    <a:pt x="1127125" y="180975"/>
                  </a:lnTo>
                  <a:lnTo>
                    <a:pt x="1168400" y="152400"/>
                  </a:lnTo>
                  <a:lnTo>
                    <a:pt x="1203325" y="139700"/>
                  </a:lnTo>
                  <a:lnTo>
                    <a:pt x="1196975" y="120650"/>
                  </a:lnTo>
                  <a:lnTo>
                    <a:pt x="1190625" y="117475"/>
                  </a:lnTo>
                  <a:lnTo>
                    <a:pt x="1203325" y="107950"/>
                  </a:lnTo>
                  <a:lnTo>
                    <a:pt x="1216025" y="107950"/>
                  </a:lnTo>
                  <a:lnTo>
                    <a:pt x="1241425" y="133350"/>
                  </a:lnTo>
                  <a:lnTo>
                    <a:pt x="1250950" y="139700"/>
                  </a:lnTo>
                  <a:lnTo>
                    <a:pt x="1257300" y="130175"/>
                  </a:lnTo>
                  <a:lnTo>
                    <a:pt x="1270000" y="79375"/>
                  </a:lnTo>
                  <a:lnTo>
                    <a:pt x="1282700" y="53975"/>
                  </a:lnTo>
                  <a:lnTo>
                    <a:pt x="1295400" y="47625"/>
                  </a:lnTo>
                  <a:lnTo>
                    <a:pt x="1320800" y="25400"/>
                  </a:lnTo>
                  <a:lnTo>
                    <a:pt x="1349375" y="28575"/>
                  </a:lnTo>
                  <a:lnTo>
                    <a:pt x="1365250" y="31750"/>
                  </a:lnTo>
                  <a:lnTo>
                    <a:pt x="1377950" y="19050"/>
                  </a:lnTo>
                  <a:lnTo>
                    <a:pt x="1390650" y="15875"/>
                  </a:lnTo>
                  <a:lnTo>
                    <a:pt x="1406525" y="15875"/>
                  </a:lnTo>
                  <a:lnTo>
                    <a:pt x="1431925" y="12700"/>
                  </a:lnTo>
                  <a:lnTo>
                    <a:pt x="1438275" y="15875"/>
                  </a:lnTo>
                  <a:lnTo>
                    <a:pt x="1444625" y="22225"/>
                  </a:lnTo>
                  <a:lnTo>
                    <a:pt x="1460500" y="1270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507;p35">
              <a:extLst>
                <a:ext uri="{FF2B5EF4-FFF2-40B4-BE49-F238E27FC236}">
                  <a16:creationId xmlns:a16="http://schemas.microsoft.com/office/drawing/2014/main" id="{C255A360-A579-CC45-57F5-25B63A2C4D95}"/>
                </a:ext>
              </a:extLst>
            </p:cNvPr>
            <p:cNvSpPr/>
            <p:nvPr/>
          </p:nvSpPr>
          <p:spPr>
            <a:xfrm>
              <a:off x="4461113" y="1545304"/>
              <a:ext cx="1180147" cy="1708785"/>
            </a:xfrm>
            <a:custGeom>
              <a:avLst/>
              <a:gdLst/>
              <a:ahLst/>
              <a:cxnLst/>
              <a:rect l="l" t="t" r="r" b="b"/>
              <a:pathLst>
                <a:path w="1311275" h="1898650" extrusionOk="0">
                  <a:moveTo>
                    <a:pt x="695325" y="1670050"/>
                  </a:moveTo>
                  <a:lnTo>
                    <a:pt x="698500" y="1670050"/>
                  </a:lnTo>
                  <a:lnTo>
                    <a:pt x="708025" y="1689100"/>
                  </a:lnTo>
                  <a:lnTo>
                    <a:pt x="701675" y="1692275"/>
                  </a:lnTo>
                  <a:close/>
                  <a:moveTo>
                    <a:pt x="762000" y="1622425"/>
                  </a:moveTo>
                  <a:lnTo>
                    <a:pt x="771525" y="1631950"/>
                  </a:lnTo>
                  <a:lnTo>
                    <a:pt x="762000" y="1641475"/>
                  </a:lnTo>
                  <a:lnTo>
                    <a:pt x="755650" y="1631950"/>
                  </a:lnTo>
                  <a:close/>
                  <a:moveTo>
                    <a:pt x="469900" y="1387475"/>
                  </a:moveTo>
                  <a:lnTo>
                    <a:pt x="479425" y="1393825"/>
                  </a:lnTo>
                  <a:lnTo>
                    <a:pt x="473075" y="1406525"/>
                  </a:lnTo>
                  <a:lnTo>
                    <a:pt x="469900" y="1412875"/>
                  </a:lnTo>
                  <a:lnTo>
                    <a:pt x="463550" y="1403350"/>
                  </a:lnTo>
                  <a:close/>
                  <a:moveTo>
                    <a:pt x="403225" y="1362075"/>
                  </a:moveTo>
                  <a:lnTo>
                    <a:pt x="425450" y="1368425"/>
                  </a:lnTo>
                  <a:lnTo>
                    <a:pt x="438150" y="1390650"/>
                  </a:lnTo>
                  <a:lnTo>
                    <a:pt x="450850" y="1393825"/>
                  </a:lnTo>
                  <a:lnTo>
                    <a:pt x="454025" y="1406525"/>
                  </a:lnTo>
                  <a:lnTo>
                    <a:pt x="450850" y="1412875"/>
                  </a:lnTo>
                  <a:lnTo>
                    <a:pt x="425450" y="1425575"/>
                  </a:lnTo>
                  <a:lnTo>
                    <a:pt x="403225" y="1419225"/>
                  </a:lnTo>
                  <a:lnTo>
                    <a:pt x="387350" y="1403350"/>
                  </a:lnTo>
                  <a:lnTo>
                    <a:pt x="390525" y="1397000"/>
                  </a:lnTo>
                  <a:lnTo>
                    <a:pt x="396875" y="1384300"/>
                  </a:lnTo>
                  <a:lnTo>
                    <a:pt x="390525" y="1368425"/>
                  </a:lnTo>
                  <a:close/>
                  <a:moveTo>
                    <a:pt x="1019175" y="1314450"/>
                  </a:moveTo>
                  <a:lnTo>
                    <a:pt x="1025525" y="1327150"/>
                  </a:lnTo>
                  <a:lnTo>
                    <a:pt x="1028700" y="1339850"/>
                  </a:lnTo>
                  <a:lnTo>
                    <a:pt x="1016000" y="1346200"/>
                  </a:lnTo>
                  <a:lnTo>
                    <a:pt x="1009650" y="1346200"/>
                  </a:lnTo>
                  <a:lnTo>
                    <a:pt x="1003300" y="1349375"/>
                  </a:lnTo>
                  <a:lnTo>
                    <a:pt x="990600" y="1349375"/>
                  </a:lnTo>
                  <a:lnTo>
                    <a:pt x="974725" y="1355725"/>
                  </a:lnTo>
                  <a:lnTo>
                    <a:pt x="968375" y="1346200"/>
                  </a:lnTo>
                  <a:lnTo>
                    <a:pt x="981075" y="1333500"/>
                  </a:lnTo>
                  <a:lnTo>
                    <a:pt x="993775" y="1323975"/>
                  </a:lnTo>
                  <a:close/>
                  <a:moveTo>
                    <a:pt x="419100" y="1298575"/>
                  </a:moveTo>
                  <a:lnTo>
                    <a:pt x="422275" y="1314450"/>
                  </a:lnTo>
                  <a:lnTo>
                    <a:pt x="412750" y="1314450"/>
                  </a:lnTo>
                  <a:lnTo>
                    <a:pt x="409575" y="1304925"/>
                  </a:lnTo>
                  <a:close/>
                  <a:moveTo>
                    <a:pt x="428625" y="1295400"/>
                  </a:moveTo>
                  <a:lnTo>
                    <a:pt x="438150" y="1298575"/>
                  </a:lnTo>
                  <a:lnTo>
                    <a:pt x="431800" y="1311275"/>
                  </a:lnTo>
                  <a:lnTo>
                    <a:pt x="425450" y="1304925"/>
                  </a:lnTo>
                  <a:close/>
                  <a:moveTo>
                    <a:pt x="1047750" y="1187450"/>
                  </a:moveTo>
                  <a:lnTo>
                    <a:pt x="1050925" y="1187450"/>
                  </a:lnTo>
                  <a:lnTo>
                    <a:pt x="1063625" y="1190625"/>
                  </a:lnTo>
                  <a:lnTo>
                    <a:pt x="1076325" y="1190625"/>
                  </a:lnTo>
                  <a:lnTo>
                    <a:pt x="1089025" y="1206500"/>
                  </a:lnTo>
                  <a:lnTo>
                    <a:pt x="1101725" y="1216025"/>
                  </a:lnTo>
                  <a:lnTo>
                    <a:pt x="1098550" y="1222375"/>
                  </a:lnTo>
                  <a:lnTo>
                    <a:pt x="1095375" y="1238250"/>
                  </a:lnTo>
                  <a:lnTo>
                    <a:pt x="1085850" y="1238250"/>
                  </a:lnTo>
                  <a:lnTo>
                    <a:pt x="1073150" y="1228725"/>
                  </a:lnTo>
                  <a:lnTo>
                    <a:pt x="1057275" y="1216025"/>
                  </a:lnTo>
                  <a:lnTo>
                    <a:pt x="1047750" y="1203325"/>
                  </a:lnTo>
                  <a:close/>
                  <a:moveTo>
                    <a:pt x="1031875" y="1146175"/>
                  </a:moveTo>
                  <a:lnTo>
                    <a:pt x="1047750" y="1146175"/>
                  </a:lnTo>
                  <a:lnTo>
                    <a:pt x="1069975" y="1158875"/>
                  </a:lnTo>
                  <a:lnTo>
                    <a:pt x="1076325" y="1162050"/>
                  </a:lnTo>
                  <a:lnTo>
                    <a:pt x="1076325" y="1171575"/>
                  </a:lnTo>
                  <a:lnTo>
                    <a:pt x="1063625" y="1174750"/>
                  </a:lnTo>
                  <a:lnTo>
                    <a:pt x="1041400" y="1171575"/>
                  </a:lnTo>
                  <a:lnTo>
                    <a:pt x="1019175" y="1165225"/>
                  </a:lnTo>
                  <a:lnTo>
                    <a:pt x="1025525" y="1152525"/>
                  </a:lnTo>
                  <a:close/>
                  <a:moveTo>
                    <a:pt x="1114425" y="1069975"/>
                  </a:moveTo>
                  <a:lnTo>
                    <a:pt x="1120775" y="1069975"/>
                  </a:lnTo>
                  <a:lnTo>
                    <a:pt x="1133475" y="1076325"/>
                  </a:lnTo>
                  <a:lnTo>
                    <a:pt x="1136650" y="1089025"/>
                  </a:lnTo>
                  <a:lnTo>
                    <a:pt x="1133475" y="1095375"/>
                  </a:lnTo>
                  <a:lnTo>
                    <a:pt x="1120775" y="1098550"/>
                  </a:lnTo>
                  <a:lnTo>
                    <a:pt x="1101725" y="1089025"/>
                  </a:lnTo>
                  <a:lnTo>
                    <a:pt x="1104900" y="1076325"/>
                  </a:lnTo>
                  <a:close/>
                  <a:moveTo>
                    <a:pt x="1146175" y="1019175"/>
                  </a:moveTo>
                  <a:lnTo>
                    <a:pt x="1152525" y="1031875"/>
                  </a:lnTo>
                  <a:lnTo>
                    <a:pt x="1149350" y="1038225"/>
                  </a:lnTo>
                  <a:lnTo>
                    <a:pt x="1139825" y="1044575"/>
                  </a:lnTo>
                  <a:lnTo>
                    <a:pt x="1133475" y="1038225"/>
                  </a:lnTo>
                  <a:lnTo>
                    <a:pt x="1133475" y="1022350"/>
                  </a:lnTo>
                  <a:close/>
                  <a:moveTo>
                    <a:pt x="1187450" y="987425"/>
                  </a:moveTo>
                  <a:lnTo>
                    <a:pt x="1184275" y="1003300"/>
                  </a:lnTo>
                  <a:lnTo>
                    <a:pt x="1190625" y="1012825"/>
                  </a:lnTo>
                  <a:lnTo>
                    <a:pt x="1184275" y="1019175"/>
                  </a:lnTo>
                  <a:lnTo>
                    <a:pt x="1174750" y="1022350"/>
                  </a:lnTo>
                  <a:lnTo>
                    <a:pt x="1165225" y="1016000"/>
                  </a:lnTo>
                  <a:lnTo>
                    <a:pt x="1174750" y="990600"/>
                  </a:lnTo>
                  <a:close/>
                  <a:moveTo>
                    <a:pt x="1165225" y="866775"/>
                  </a:moveTo>
                  <a:lnTo>
                    <a:pt x="1171575" y="876300"/>
                  </a:lnTo>
                  <a:lnTo>
                    <a:pt x="1171575" y="908050"/>
                  </a:lnTo>
                  <a:lnTo>
                    <a:pt x="1174750" y="936625"/>
                  </a:lnTo>
                  <a:lnTo>
                    <a:pt x="1171575" y="942975"/>
                  </a:lnTo>
                  <a:lnTo>
                    <a:pt x="1165225" y="911225"/>
                  </a:lnTo>
                  <a:lnTo>
                    <a:pt x="1162050" y="889000"/>
                  </a:lnTo>
                  <a:close/>
                  <a:moveTo>
                    <a:pt x="34925" y="796925"/>
                  </a:moveTo>
                  <a:lnTo>
                    <a:pt x="47625" y="796925"/>
                  </a:lnTo>
                  <a:lnTo>
                    <a:pt x="63500" y="803275"/>
                  </a:lnTo>
                  <a:lnTo>
                    <a:pt x="47625" y="806450"/>
                  </a:lnTo>
                  <a:close/>
                  <a:moveTo>
                    <a:pt x="15875" y="796925"/>
                  </a:moveTo>
                  <a:lnTo>
                    <a:pt x="28575" y="803275"/>
                  </a:lnTo>
                  <a:lnTo>
                    <a:pt x="34925" y="806450"/>
                  </a:lnTo>
                  <a:lnTo>
                    <a:pt x="28575" y="809625"/>
                  </a:lnTo>
                  <a:lnTo>
                    <a:pt x="19050" y="812800"/>
                  </a:lnTo>
                  <a:lnTo>
                    <a:pt x="6350" y="803275"/>
                  </a:lnTo>
                  <a:close/>
                  <a:moveTo>
                    <a:pt x="1193800" y="752475"/>
                  </a:moveTo>
                  <a:lnTo>
                    <a:pt x="1193800" y="762000"/>
                  </a:lnTo>
                  <a:lnTo>
                    <a:pt x="1190625" y="774700"/>
                  </a:lnTo>
                  <a:lnTo>
                    <a:pt x="1181100" y="774700"/>
                  </a:lnTo>
                  <a:close/>
                  <a:moveTo>
                    <a:pt x="1158875" y="641350"/>
                  </a:moveTo>
                  <a:lnTo>
                    <a:pt x="1158875" y="660400"/>
                  </a:lnTo>
                  <a:lnTo>
                    <a:pt x="1155700" y="663575"/>
                  </a:lnTo>
                  <a:lnTo>
                    <a:pt x="1149350" y="660400"/>
                  </a:lnTo>
                  <a:lnTo>
                    <a:pt x="1149350" y="654050"/>
                  </a:lnTo>
                  <a:lnTo>
                    <a:pt x="1155700" y="644525"/>
                  </a:lnTo>
                  <a:close/>
                  <a:moveTo>
                    <a:pt x="1190625" y="609600"/>
                  </a:moveTo>
                  <a:lnTo>
                    <a:pt x="1193800" y="625475"/>
                  </a:lnTo>
                  <a:lnTo>
                    <a:pt x="1184275" y="635000"/>
                  </a:lnTo>
                  <a:lnTo>
                    <a:pt x="1184275" y="619125"/>
                  </a:lnTo>
                  <a:close/>
                  <a:moveTo>
                    <a:pt x="1158875" y="273051"/>
                  </a:moveTo>
                  <a:lnTo>
                    <a:pt x="1177925" y="288926"/>
                  </a:lnTo>
                  <a:lnTo>
                    <a:pt x="1171575" y="292101"/>
                  </a:lnTo>
                  <a:close/>
                  <a:moveTo>
                    <a:pt x="1130300" y="209550"/>
                  </a:moveTo>
                  <a:lnTo>
                    <a:pt x="1139825" y="225425"/>
                  </a:lnTo>
                  <a:lnTo>
                    <a:pt x="1149350" y="257175"/>
                  </a:lnTo>
                  <a:lnTo>
                    <a:pt x="1136650" y="254000"/>
                  </a:lnTo>
                  <a:lnTo>
                    <a:pt x="1127125" y="228600"/>
                  </a:lnTo>
                  <a:close/>
                  <a:moveTo>
                    <a:pt x="434975" y="187325"/>
                  </a:moveTo>
                  <a:lnTo>
                    <a:pt x="447675" y="203200"/>
                  </a:lnTo>
                  <a:lnTo>
                    <a:pt x="469900" y="238125"/>
                  </a:lnTo>
                  <a:lnTo>
                    <a:pt x="466725" y="241300"/>
                  </a:lnTo>
                  <a:lnTo>
                    <a:pt x="444500" y="234950"/>
                  </a:lnTo>
                  <a:lnTo>
                    <a:pt x="428625" y="222250"/>
                  </a:lnTo>
                  <a:lnTo>
                    <a:pt x="422275" y="196850"/>
                  </a:lnTo>
                  <a:close/>
                  <a:moveTo>
                    <a:pt x="520700" y="152400"/>
                  </a:moveTo>
                  <a:lnTo>
                    <a:pt x="530225" y="152400"/>
                  </a:lnTo>
                  <a:lnTo>
                    <a:pt x="536575" y="165100"/>
                  </a:lnTo>
                  <a:lnTo>
                    <a:pt x="530225" y="174625"/>
                  </a:lnTo>
                  <a:close/>
                  <a:moveTo>
                    <a:pt x="558800" y="130175"/>
                  </a:moveTo>
                  <a:lnTo>
                    <a:pt x="584200" y="142875"/>
                  </a:lnTo>
                  <a:lnTo>
                    <a:pt x="609600" y="177800"/>
                  </a:lnTo>
                  <a:lnTo>
                    <a:pt x="606425" y="193675"/>
                  </a:lnTo>
                  <a:lnTo>
                    <a:pt x="603250" y="225425"/>
                  </a:lnTo>
                  <a:lnTo>
                    <a:pt x="593725" y="228600"/>
                  </a:lnTo>
                  <a:lnTo>
                    <a:pt x="565150" y="190500"/>
                  </a:lnTo>
                  <a:lnTo>
                    <a:pt x="552450" y="171450"/>
                  </a:lnTo>
                  <a:lnTo>
                    <a:pt x="536575" y="139700"/>
                  </a:lnTo>
                  <a:lnTo>
                    <a:pt x="549275" y="133350"/>
                  </a:lnTo>
                  <a:close/>
                  <a:moveTo>
                    <a:pt x="530225" y="92075"/>
                  </a:moveTo>
                  <a:lnTo>
                    <a:pt x="536575" y="92075"/>
                  </a:lnTo>
                  <a:lnTo>
                    <a:pt x="542925" y="98425"/>
                  </a:lnTo>
                  <a:lnTo>
                    <a:pt x="549275" y="107950"/>
                  </a:lnTo>
                  <a:lnTo>
                    <a:pt x="542925" y="111125"/>
                  </a:lnTo>
                  <a:lnTo>
                    <a:pt x="530225" y="111125"/>
                  </a:lnTo>
                  <a:close/>
                  <a:moveTo>
                    <a:pt x="679450" y="34925"/>
                  </a:moveTo>
                  <a:lnTo>
                    <a:pt x="695325" y="38100"/>
                  </a:lnTo>
                  <a:lnTo>
                    <a:pt x="708025" y="53975"/>
                  </a:lnTo>
                  <a:lnTo>
                    <a:pt x="714375" y="66675"/>
                  </a:lnTo>
                  <a:lnTo>
                    <a:pt x="704850" y="66675"/>
                  </a:lnTo>
                  <a:close/>
                  <a:moveTo>
                    <a:pt x="698500" y="19050"/>
                  </a:moveTo>
                  <a:lnTo>
                    <a:pt x="711200" y="19050"/>
                  </a:lnTo>
                  <a:lnTo>
                    <a:pt x="727075" y="31750"/>
                  </a:lnTo>
                  <a:lnTo>
                    <a:pt x="717550" y="44450"/>
                  </a:lnTo>
                  <a:close/>
                  <a:moveTo>
                    <a:pt x="720725" y="9525"/>
                  </a:moveTo>
                  <a:lnTo>
                    <a:pt x="733425" y="19050"/>
                  </a:lnTo>
                  <a:lnTo>
                    <a:pt x="717550" y="12700"/>
                  </a:lnTo>
                  <a:close/>
                  <a:moveTo>
                    <a:pt x="736600" y="0"/>
                  </a:moveTo>
                  <a:lnTo>
                    <a:pt x="1000125" y="0"/>
                  </a:lnTo>
                  <a:lnTo>
                    <a:pt x="1025525" y="34925"/>
                  </a:lnTo>
                  <a:lnTo>
                    <a:pt x="1028700" y="44450"/>
                  </a:lnTo>
                  <a:lnTo>
                    <a:pt x="1035050" y="47625"/>
                  </a:lnTo>
                  <a:lnTo>
                    <a:pt x="1044575" y="88900"/>
                  </a:lnTo>
                  <a:lnTo>
                    <a:pt x="1073150" y="101600"/>
                  </a:lnTo>
                  <a:lnTo>
                    <a:pt x="1079500" y="114300"/>
                  </a:lnTo>
                  <a:lnTo>
                    <a:pt x="1089025" y="111125"/>
                  </a:lnTo>
                  <a:lnTo>
                    <a:pt x="1114425" y="139700"/>
                  </a:lnTo>
                  <a:lnTo>
                    <a:pt x="1111250" y="149225"/>
                  </a:lnTo>
                  <a:lnTo>
                    <a:pt x="1108075" y="174625"/>
                  </a:lnTo>
                  <a:lnTo>
                    <a:pt x="1098550" y="238125"/>
                  </a:lnTo>
                  <a:lnTo>
                    <a:pt x="1098550" y="263525"/>
                  </a:lnTo>
                  <a:lnTo>
                    <a:pt x="1101725" y="292100"/>
                  </a:lnTo>
                  <a:lnTo>
                    <a:pt x="1111250" y="323850"/>
                  </a:lnTo>
                  <a:lnTo>
                    <a:pt x="1114425" y="320675"/>
                  </a:lnTo>
                  <a:lnTo>
                    <a:pt x="1130300" y="298450"/>
                  </a:lnTo>
                  <a:lnTo>
                    <a:pt x="1136650" y="320675"/>
                  </a:lnTo>
                  <a:lnTo>
                    <a:pt x="1139825" y="323850"/>
                  </a:lnTo>
                  <a:lnTo>
                    <a:pt x="1152525" y="304800"/>
                  </a:lnTo>
                  <a:lnTo>
                    <a:pt x="1165225" y="307975"/>
                  </a:lnTo>
                  <a:lnTo>
                    <a:pt x="1177925" y="320675"/>
                  </a:lnTo>
                  <a:lnTo>
                    <a:pt x="1181100" y="320675"/>
                  </a:lnTo>
                  <a:lnTo>
                    <a:pt x="1187450" y="288925"/>
                  </a:lnTo>
                  <a:lnTo>
                    <a:pt x="1212850" y="254000"/>
                  </a:lnTo>
                  <a:lnTo>
                    <a:pt x="1241425" y="250825"/>
                  </a:lnTo>
                  <a:lnTo>
                    <a:pt x="1295400" y="276225"/>
                  </a:lnTo>
                  <a:lnTo>
                    <a:pt x="1311275" y="298450"/>
                  </a:lnTo>
                  <a:lnTo>
                    <a:pt x="1289050" y="330200"/>
                  </a:lnTo>
                  <a:lnTo>
                    <a:pt x="1263650" y="368300"/>
                  </a:lnTo>
                  <a:lnTo>
                    <a:pt x="1254125" y="374650"/>
                  </a:lnTo>
                  <a:lnTo>
                    <a:pt x="1235075" y="409575"/>
                  </a:lnTo>
                  <a:lnTo>
                    <a:pt x="1225550" y="431800"/>
                  </a:lnTo>
                  <a:lnTo>
                    <a:pt x="1212850" y="476250"/>
                  </a:lnTo>
                  <a:lnTo>
                    <a:pt x="1200150" y="485775"/>
                  </a:lnTo>
                  <a:lnTo>
                    <a:pt x="1196975" y="504825"/>
                  </a:lnTo>
                  <a:lnTo>
                    <a:pt x="1187450" y="533400"/>
                  </a:lnTo>
                  <a:lnTo>
                    <a:pt x="1165225" y="542925"/>
                  </a:lnTo>
                  <a:lnTo>
                    <a:pt x="1152525" y="549275"/>
                  </a:lnTo>
                  <a:lnTo>
                    <a:pt x="1149350" y="571500"/>
                  </a:lnTo>
                  <a:lnTo>
                    <a:pt x="1146175" y="603250"/>
                  </a:lnTo>
                  <a:lnTo>
                    <a:pt x="1143000" y="638175"/>
                  </a:lnTo>
                  <a:lnTo>
                    <a:pt x="1136650" y="641350"/>
                  </a:lnTo>
                  <a:lnTo>
                    <a:pt x="1127125" y="654050"/>
                  </a:lnTo>
                  <a:lnTo>
                    <a:pt x="1114425" y="717550"/>
                  </a:lnTo>
                  <a:lnTo>
                    <a:pt x="1098550" y="774700"/>
                  </a:lnTo>
                  <a:lnTo>
                    <a:pt x="1108075" y="774700"/>
                  </a:lnTo>
                  <a:lnTo>
                    <a:pt x="1123950" y="784225"/>
                  </a:lnTo>
                  <a:lnTo>
                    <a:pt x="1152525" y="806450"/>
                  </a:lnTo>
                  <a:lnTo>
                    <a:pt x="1177925" y="809625"/>
                  </a:lnTo>
                  <a:lnTo>
                    <a:pt x="1181100" y="825500"/>
                  </a:lnTo>
                  <a:lnTo>
                    <a:pt x="1181100" y="854075"/>
                  </a:lnTo>
                  <a:lnTo>
                    <a:pt x="1168400" y="857250"/>
                  </a:lnTo>
                  <a:lnTo>
                    <a:pt x="1143000" y="844550"/>
                  </a:lnTo>
                  <a:lnTo>
                    <a:pt x="1117600" y="844550"/>
                  </a:lnTo>
                  <a:lnTo>
                    <a:pt x="1098550" y="854075"/>
                  </a:lnTo>
                  <a:lnTo>
                    <a:pt x="1089025" y="860425"/>
                  </a:lnTo>
                  <a:lnTo>
                    <a:pt x="1082675" y="869950"/>
                  </a:lnTo>
                  <a:lnTo>
                    <a:pt x="1089025" y="885825"/>
                  </a:lnTo>
                  <a:lnTo>
                    <a:pt x="1101725" y="908050"/>
                  </a:lnTo>
                  <a:lnTo>
                    <a:pt x="1130300" y="914400"/>
                  </a:lnTo>
                  <a:lnTo>
                    <a:pt x="1143000" y="911225"/>
                  </a:lnTo>
                  <a:lnTo>
                    <a:pt x="1149350" y="923925"/>
                  </a:lnTo>
                  <a:lnTo>
                    <a:pt x="1149350" y="930275"/>
                  </a:lnTo>
                  <a:lnTo>
                    <a:pt x="1149350" y="942975"/>
                  </a:lnTo>
                  <a:lnTo>
                    <a:pt x="1155700" y="968375"/>
                  </a:lnTo>
                  <a:lnTo>
                    <a:pt x="1152525" y="1006475"/>
                  </a:lnTo>
                  <a:lnTo>
                    <a:pt x="1143000" y="1009650"/>
                  </a:lnTo>
                  <a:lnTo>
                    <a:pt x="1127125" y="1025525"/>
                  </a:lnTo>
                  <a:lnTo>
                    <a:pt x="1127125" y="1047750"/>
                  </a:lnTo>
                  <a:lnTo>
                    <a:pt x="1146175" y="1050925"/>
                  </a:lnTo>
                  <a:lnTo>
                    <a:pt x="1165225" y="1063625"/>
                  </a:lnTo>
                  <a:lnTo>
                    <a:pt x="1146175" y="1082675"/>
                  </a:lnTo>
                  <a:lnTo>
                    <a:pt x="1139825" y="1079500"/>
                  </a:lnTo>
                  <a:lnTo>
                    <a:pt x="1136650" y="1069975"/>
                  </a:lnTo>
                  <a:lnTo>
                    <a:pt x="1130300" y="1066800"/>
                  </a:lnTo>
                  <a:lnTo>
                    <a:pt x="1114425" y="1063625"/>
                  </a:lnTo>
                  <a:lnTo>
                    <a:pt x="1108075" y="1066800"/>
                  </a:lnTo>
                  <a:lnTo>
                    <a:pt x="1101725" y="1073150"/>
                  </a:lnTo>
                  <a:lnTo>
                    <a:pt x="1098550" y="1079500"/>
                  </a:lnTo>
                  <a:lnTo>
                    <a:pt x="1095375" y="1098550"/>
                  </a:lnTo>
                  <a:lnTo>
                    <a:pt x="1101725" y="1108075"/>
                  </a:lnTo>
                  <a:lnTo>
                    <a:pt x="1108075" y="1098550"/>
                  </a:lnTo>
                  <a:lnTo>
                    <a:pt x="1120775" y="1104900"/>
                  </a:lnTo>
                  <a:lnTo>
                    <a:pt x="1127125" y="1111250"/>
                  </a:lnTo>
                  <a:lnTo>
                    <a:pt x="1130300" y="1123950"/>
                  </a:lnTo>
                  <a:lnTo>
                    <a:pt x="1133475" y="1136650"/>
                  </a:lnTo>
                  <a:lnTo>
                    <a:pt x="1130300" y="1143000"/>
                  </a:lnTo>
                  <a:lnTo>
                    <a:pt x="1117600" y="1143000"/>
                  </a:lnTo>
                  <a:lnTo>
                    <a:pt x="1108075" y="1143000"/>
                  </a:lnTo>
                  <a:lnTo>
                    <a:pt x="1095375" y="1158875"/>
                  </a:lnTo>
                  <a:lnTo>
                    <a:pt x="1082675" y="1152525"/>
                  </a:lnTo>
                  <a:lnTo>
                    <a:pt x="1066800" y="1143000"/>
                  </a:lnTo>
                  <a:lnTo>
                    <a:pt x="1057275" y="1133475"/>
                  </a:lnTo>
                  <a:lnTo>
                    <a:pt x="1047750" y="1130300"/>
                  </a:lnTo>
                  <a:lnTo>
                    <a:pt x="1044575" y="1136650"/>
                  </a:lnTo>
                  <a:lnTo>
                    <a:pt x="1041400" y="1136650"/>
                  </a:lnTo>
                  <a:lnTo>
                    <a:pt x="1038225" y="1133475"/>
                  </a:lnTo>
                  <a:lnTo>
                    <a:pt x="1031875" y="1143000"/>
                  </a:lnTo>
                  <a:lnTo>
                    <a:pt x="1016000" y="1158875"/>
                  </a:lnTo>
                  <a:lnTo>
                    <a:pt x="1019175" y="1168400"/>
                  </a:lnTo>
                  <a:lnTo>
                    <a:pt x="1025525" y="1171575"/>
                  </a:lnTo>
                  <a:lnTo>
                    <a:pt x="1031875" y="1171575"/>
                  </a:lnTo>
                  <a:lnTo>
                    <a:pt x="1035050" y="1177925"/>
                  </a:lnTo>
                  <a:lnTo>
                    <a:pt x="1038225" y="1193800"/>
                  </a:lnTo>
                  <a:lnTo>
                    <a:pt x="1041400" y="1200150"/>
                  </a:lnTo>
                  <a:lnTo>
                    <a:pt x="1044575" y="1209675"/>
                  </a:lnTo>
                  <a:lnTo>
                    <a:pt x="1044575" y="1219200"/>
                  </a:lnTo>
                  <a:lnTo>
                    <a:pt x="1066800" y="1238250"/>
                  </a:lnTo>
                  <a:lnTo>
                    <a:pt x="1085850" y="1254125"/>
                  </a:lnTo>
                  <a:lnTo>
                    <a:pt x="1089025" y="1266825"/>
                  </a:lnTo>
                  <a:lnTo>
                    <a:pt x="1089025" y="1276350"/>
                  </a:lnTo>
                  <a:lnTo>
                    <a:pt x="1089025" y="1295400"/>
                  </a:lnTo>
                  <a:lnTo>
                    <a:pt x="1095375" y="1285875"/>
                  </a:lnTo>
                  <a:lnTo>
                    <a:pt x="1104900" y="1282700"/>
                  </a:lnTo>
                  <a:lnTo>
                    <a:pt x="1104900" y="1292225"/>
                  </a:lnTo>
                  <a:lnTo>
                    <a:pt x="1104900" y="1308100"/>
                  </a:lnTo>
                  <a:lnTo>
                    <a:pt x="1101725" y="1330325"/>
                  </a:lnTo>
                  <a:lnTo>
                    <a:pt x="1108075" y="1339850"/>
                  </a:lnTo>
                  <a:lnTo>
                    <a:pt x="1108075" y="1352550"/>
                  </a:lnTo>
                  <a:lnTo>
                    <a:pt x="1104900" y="1355725"/>
                  </a:lnTo>
                  <a:lnTo>
                    <a:pt x="1101725" y="1355725"/>
                  </a:lnTo>
                  <a:lnTo>
                    <a:pt x="1085850" y="1355725"/>
                  </a:lnTo>
                  <a:lnTo>
                    <a:pt x="1073150" y="1355725"/>
                  </a:lnTo>
                  <a:lnTo>
                    <a:pt x="1063625" y="1346200"/>
                  </a:lnTo>
                  <a:lnTo>
                    <a:pt x="1050925" y="1327150"/>
                  </a:lnTo>
                  <a:lnTo>
                    <a:pt x="1050925" y="1317625"/>
                  </a:lnTo>
                  <a:lnTo>
                    <a:pt x="1047750" y="1308100"/>
                  </a:lnTo>
                  <a:lnTo>
                    <a:pt x="1035050" y="1298575"/>
                  </a:lnTo>
                  <a:lnTo>
                    <a:pt x="1022350" y="1304925"/>
                  </a:lnTo>
                  <a:lnTo>
                    <a:pt x="1016000" y="1311275"/>
                  </a:lnTo>
                  <a:lnTo>
                    <a:pt x="993775" y="1320800"/>
                  </a:lnTo>
                  <a:lnTo>
                    <a:pt x="984250" y="1320800"/>
                  </a:lnTo>
                  <a:lnTo>
                    <a:pt x="981075" y="1320800"/>
                  </a:lnTo>
                  <a:lnTo>
                    <a:pt x="974725" y="1323975"/>
                  </a:lnTo>
                  <a:lnTo>
                    <a:pt x="971550" y="1327150"/>
                  </a:lnTo>
                  <a:lnTo>
                    <a:pt x="968375" y="1336675"/>
                  </a:lnTo>
                  <a:lnTo>
                    <a:pt x="962025" y="1346200"/>
                  </a:lnTo>
                  <a:lnTo>
                    <a:pt x="962025" y="1355725"/>
                  </a:lnTo>
                  <a:lnTo>
                    <a:pt x="977900" y="1362075"/>
                  </a:lnTo>
                  <a:lnTo>
                    <a:pt x="990600" y="1368425"/>
                  </a:lnTo>
                  <a:lnTo>
                    <a:pt x="1000125" y="1368425"/>
                  </a:lnTo>
                  <a:lnTo>
                    <a:pt x="1006475" y="1368425"/>
                  </a:lnTo>
                  <a:lnTo>
                    <a:pt x="1016000" y="1362075"/>
                  </a:lnTo>
                  <a:lnTo>
                    <a:pt x="1025525" y="1358900"/>
                  </a:lnTo>
                  <a:lnTo>
                    <a:pt x="1041400" y="1362075"/>
                  </a:lnTo>
                  <a:lnTo>
                    <a:pt x="1066800" y="1374775"/>
                  </a:lnTo>
                  <a:lnTo>
                    <a:pt x="1095375" y="1377950"/>
                  </a:lnTo>
                  <a:lnTo>
                    <a:pt x="1085850" y="1387475"/>
                  </a:lnTo>
                  <a:lnTo>
                    <a:pt x="1076325" y="1393825"/>
                  </a:lnTo>
                  <a:lnTo>
                    <a:pt x="1069975" y="1397000"/>
                  </a:lnTo>
                  <a:lnTo>
                    <a:pt x="1057275" y="1412875"/>
                  </a:lnTo>
                  <a:lnTo>
                    <a:pt x="1044575" y="1422400"/>
                  </a:lnTo>
                  <a:lnTo>
                    <a:pt x="1041400" y="1419225"/>
                  </a:lnTo>
                  <a:lnTo>
                    <a:pt x="1031875" y="1435100"/>
                  </a:lnTo>
                  <a:lnTo>
                    <a:pt x="1028700" y="1441450"/>
                  </a:lnTo>
                  <a:lnTo>
                    <a:pt x="1022350" y="1447800"/>
                  </a:lnTo>
                  <a:lnTo>
                    <a:pt x="1009650" y="1460500"/>
                  </a:lnTo>
                  <a:lnTo>
                    <a:pt x="996950" y="1466850"/>
                  </a:lnTo>
                  <a:lnTo>
                    <a:pt x="968375" y="1476375"/>
                  </a:lnTo>
                  <a:lnTo>
                    <a:pt x="962025" y="1473200"/>
                  </a:lnTo>
                  <a:lnTo>
                    <a:pt x="955675" y="1482725"/>
                  </a:lnTo>
                  <a:lnTo>
                    <a:pt x="949325" y="1482725"/>
                  </a:lnTo>
                  <a:lnTo>
                    <a:pt x="942975" y="1485900"/>
                  </a:lnTo>
                  <a:lnTo>
                    <a:pt x="914400" y="1495425"/>
                  </a:lnTo>
                  <a:lnTo>
                    <a:pt x="901700" y="1498600"/>
                  </a:lnTo>
                  <a:lnTo>
                    <a:pt x="889000" y="1495425"/>
                  </a:lnTo>
                  <a:lnTo>
                    <a:pt x="882650" y="1482725"/>
                  </a:lnTo>
                  <a:lnTo>
                    <a:pt x="873125" y="1466850"/>
                  </a:lnTo>
                  <a:lnTo>
                    <a:pt x="873125" y="1470025"/>
                  </a:lnTo>
                  <a:lnTo>
                    <a:pt x="873125" y="1479550"/>
                  </a:lnTo>
                  <a:lnTo>
                    <a:pt x="876300" y="1508125"/>
                  </a:lnTo>
                  <a:lnTo>
                    <a:pt x="863600" y="1520825"/>
                  </a:lnTo>
                  <a:lnTo>
                    <a:pt x="857250" y="1533525"/>
                  </a:lnTo>
                  <a:lnTo>
                    <a:pt x="854075" y="1546225"/>
                  </a:lnTo>
                  <a:lnTo>
                    <a:pt x="847725" y="1555750"/>
                  </a:lnTo>
                  <a:lnTo>
                    <a:pt x="841375" y="1565275"/>
                  </a:lnTo>
                  <a:lnTo>
                    <a:pt x="835025" y="1577975"/>
                  </a:lnTo>
                  <a:lnTo>
                    <a:pt x="822325" y="1590675"/>
                  </a:lnTo>
                  <a:lnTo>
                    <a:pt x="812800" y="1597025"/>
                  </a:lnTo>
                  <a:lnTo>
                    <a:pt x="809625" y="1597025"/>
                  </a:lnTo>
                  <a:lnTo>
                    <a:pt x="803275" y="1606550"/>
                  </a:lnTo>
                  <a:lnTo>
                    <a:pt x="793750" y="1616075"/>
                  </a:lnTo>
                  <a:lnTo>
                    <a:pt x="774700" y="1625600"/>
                  </a:lnTo>
                  <a:lnTo>
                    <a:pt x="762000" y="1619250"/>
                  </a:lnTo>
                  <a:lnTo>
                    <a:pt x="749300" y="1628775"/>
                  </a:lnTo>
                  <a:lnTo>
                    <a:pt x="730250" y="1635125"/>
                  </a:lnTo>
                  <a:lnTo>
                    <a:pt x="720725" y="1641475"/>
                  </a:lnTo>
                  <a:lnTo>
                    <a:pt x="711200" y="1657350"/>
                  </a:lnTo>
                  <a:lnTo>
                    <a:pt x="701675" y="1663700"/>
                  </a:lnTo>
                  <a:lnTo>
                    <a:pt x="698500" y="1657350"/>
                  </a:lnTo>
                  <a:lnTo>
                    <a:pt x="692150" y="1660525"/>
                  </a:lnTo>
                  <a:lnTo>
                    <a:pt x="688975" y="1673225"/>
                  </a:lnTo>
                  <a:lnTo>
                    <a:pt x="695325" y="1679575"/>
                  </a:lnTo>
                  <a:lnTo>
                    <a:pt x="698500" y="1685925"/>
                  </a:lnTo>
                  <a:lnTo>
                    <a:pt x="701675" y="1698625"/>
                  </a:lnTo>
                  <a:lnTo>
                    <a:pt x="692150" y="1695450"/>
                  </a:lnTo>
                  <a:lnTo>
                    <a:pt x="682625" y="1698625"/>
                  </a:lnTo>
                  <a:lnTo>
                    <a:pt x="676275" y="1701800"/>
                  </a:lnTo>
                  <a:lnTo>
                    <a:pt x="688975" y="1708150"/>
                  </a:lnTo>
                  <a:lnTo>
                    <a:pt x="698500" y="1708150"/>
                  </a:lnTo>
                  <a:lnTo>
                    <a:pt x="698500" y="1730375"/>
                  </a:lnTo>
                  <a:lnTo>
                    <a:pt x="692150" y="1743075"/>
                  </a:lnTo>
                  <a:lnTo>
                    <a:pt x="660400" y="1784350"/>
                  </a:lnTo>
                  <a:lnTo>
                    <a:pt x="657225" y="1787525"/>
                  </a:lnTo>
                  <a:lnTo>
                    <a:pt x="660400" y="1790700"/>
                  </a:lnTo>
                  <a:lnTo>
                    <a:pt x="660400" y="1797050"/>
                  </a:lnTo>
                  <a:lnTo>
                    <a:pt x="663575" y="1809750"/>
                  </a:lnTo>
                  <a:lnTo>
                    <a:pt x="660400" y="1822450"/>
                  </a:lnTo>
                  <a:lnTo>
                    <a:pt x="660400" y="1825625"/>
                  </a:lnTo>
                  <a:lnTo>
                    <a:pt x="654050" y="1838325"/>
                  </a:lnTo>
                  <a:lnTo>
                    <a:pt x="650875" y="1851025"/>
                  </a:lnTo>
                  <a:lnTo>
                    <a:pt x="650875" y="1866900"/>
                  </a:lnTo>
                  <a:lnTo>
                    <a:pt x="650875" y="1870075"/>
                  </a:lnTo>
                  <a:lnTo>
                    <a:pt x="647700" y="1876425"/>
                  </a:lnTo>
                  <a:lnTo>
                    <a:pt x="641350" y="1879600"/>
                  </a:lnTo>
                  <a:lnTo>
                    <a:pt x="644525" y="1892300"/>
                  </a:lnTo>
                  <a:lnTo>
                    <a:pt x="638175" y="1895475"/>
                  </a:lnTo>
                  <a:lnTo>
                    <a:pt x="628650" y="1892300"/>
                  </a:lnTo>
                  <a:lnTo>
                    <a:pt x="619125" y="1892300"/>
                  </a:lnTo>
                  <a:lnTo>
                    <a:pt x="612775" y="1898650"/>
                  </a:lnTo>
                  <a:lnTo>
                    <a:pt x="606425" y="1898650"/>
                  </a:lnTo>
                  <a:lnTo>
                    <a:pt x="600075" y="1892300"/>
                  </a:lnTo>
                  <a:lnTo>
                    <a:pt x="600075" y="1879600"/>
                  </a:lnTo>
                  <a:lnTo>
                    <a:pt x="587375" y="1876425"/>
                  </a:lnTo>
                  <a:lnTo>
                    <a:pt x="581025" y="1873250"/>
                  </a:lnTo>
                  <a:lnTo>
                    <a:pt x="577850" y="1863725"/>
                  </a:lnTo>
                  <a:lnTo>
                    <a:pt x="571500" y="1851025"/>
                  </a:lnTo>
                  <a:lnTo>
                    <a:pt x="558800" y="1857375"/>
                  </a:lnTo>
                  <a:lnTo>
                    <a:pt x="539750" y="1860550"/>
                  </a:lnTo>
                  <a:lnTo>
                    <a:pt x="536575" y="1860550"/>
                  </a:lnTo>
                  <a:lnTo>
                    <a:pt x="533400" y="1857375"/>
                  </a:lnTo>
                  <a:lnTo>
                    <a:pt x="527050" y="1851025"/>
                  </a:lnTo>
                  <a:lnTo>
                    <a:pt x="520700" y="1838325"/>
                  </a:lnTo>
                  <a:lnTo>
                    <a:pt x="511175" y="1828800"/>
                  </a:lnTo>
                  <a:lnTo>
                    <a:pt x="511175" y="1822450"/>
                  </a:lnTo>
                  <a:lnTo>
                    <a:pt x="501650" y="1809750"/>
                  </a:lnTo>
                  <a:lnTo>
                    <a:pt x="488950" y="1787525"/>
                  </a:lnTo>
                  <a:lnTo>
                    <a:pt x="488950" y="1778000"/>
                  </a:lnTo>
                  <a:lnTo>
                    <a:pt x="485775" y="1768475"/>
                  </a:lnTo>
                  <a:lnTo>
                    <a:pt x="473075" y="1746250"/>
                  </a:lnTo>
                  <a:lnTo>
                    <a:pt x="469900" y="1746250"/>
                  </a:lnTo>
                  <a:lnTo>
                    <a:pt x="463550" y="1733550"/>
                  </a:lnTo>
                  <a:lnTo>
                    <a:pt x="454025" y="1711325"/>
                  </a:lnTo>
                  <a:lnTo>
                    <a:pt x="438150" y="1657350"/>
                  </a:lnTo>
                  <a:lnTo>
                    <a:pt x="434975" y="1635125"/>
                  </a:lnTo>
                  <a:lnTo>
                    <a:pt x="425450" y="1628775"/>
                  </a:lnTo>
                  <a:lnTo>
                    <a:pt x="415925" y="1606550"/>
                  </a:lnTo>
                  <a:lnTo>
                    <a:pt x="419100" y="1587500"/>
                  </a:lnTo>
                  <a:lnTo>
                    <a:pt x="431800" y="1577975"/>
                  </a:lnTo>
                  <a:lnTo>
                    <a:pt x="409575" y="1555750"/>
                  </a:lnTo>
                  <a:lnTo>
                    <a:pt x="412750" y="1533525"/>
                  </a:lnTo>
                  <a:lnTo>
                    <a:pt x="415925" y="1514475"/>
                  </a:lnTo>
                  <a:lnTo>
                    <a:pt x="422275" y="1504950"/>
                  </a:lnTo>
                  <a:lnTo>
                    <a:pt x="419100" y="1492250"/>
                  </a:lnTo>
                  <a:lnTo>
                    <a:pt x="428625" y="1492250"/>
                  </a:lnTo>
                  <a:lnTo>
                    <a:pt x="434975" y="1479550"/>
                  </a:lnTo>
                  <a:lnTo>
                    <a:pt x="447675" y="1470025"/>
                  </a:lnTo>
                  <a:lnTo>
                    <a:pt x="466725" y="1470025"/>
                  </a:lnTo>
                  <a:lnTo>
                    <a:pt x="473075" y="1466850"/>
                  </a:lnTo>
                  <a:lnTo>
                    <a:pt x="479425" y="1454150"/>
                  </a:lnTo>
                  <a:lnTo>
                    <a:pt x="473075" y="1457325"/>
                  </a:lnTo>
                  <a:lnTo>
                    <a:pt x="466725" y="1457325"/>
                  </a:lnTo>
                  <a:lnTo>
                    <a:pt x="469900" y="1431925"/>
                  </a:lnTo>
                  <a:lnTo>
                    <a:pt x="476250" y="1409700"/>
                  </a:lnTo>
                  <a:lnTo>
                    <a:pt x="482600" y="1397000"/>
                  </a:lnTo>
                  <a:lnTo>
                    <a:pt x="488950" y="1397000"/>
                  </a:lnTo>
                  <a:lnTo>
                    <a:pt x="488950" y="1381125"/>
                  </a:lnTo>
                  <a:lnTo>
                    <a:pt x="479425" y="1384300"/>
                  </a:lnTo>
                  <a:lnTo>
                    <a:pt x="469900" y="1384300"/>
                  </a:lnTo>
                  <a:lnTo>
                    <a:pt x="460375" y="1384300"/>
                  </a:lnTo>
                  <a:lnTo>
                    <a:pt x="444500" y="1377950"/>
                  </a:lnTo>
                  <a:lnTo>
                    <a:pt x="425450" y="1362075"/>
                  </a:lnTo>
                  <a:lnTo>
                    <a:pt x="409575" y="1355725"/>
                  </a:lnTo>
                  <a:lnTo>
                    <a:pt x="396875" y="1339850"/>
                  </a:lnTo>
                  <a:lnTo>
                    <a:pt x="406400" y="1330325"/>
                  </a:lnTo>
                  <a:lnTo>
                    <a:pt x="419100" y="1330325"/>
                  </a:lnTo>
                  <a:lnTo>
                    <a:pt x="431800" y="1333500"/>
                  </a:lnTo>
                  <a:lnTo>
                    <a:pt x="447675" y="1343025"/>
                  </a:lnTo>
                  <a:lnTo>
                    <a:pt x="460375" y="1352550"/>
                  </a:lnTo>
                  <a:lnTo>
                    <a:pt x="463550" y="1352550"/>
                  </a:lnTo>
                  <a:lnTo>
                    <a:pt x="466725" y="1346200"/>
                  </a:lnTo>
                  <a:lnTo>
                    <a:pt x="469900" y="1346200"/>
                  </a:lnTo>
                  <a:lnTo>
                    <a:pt x="479425" y="1343025"/>
                  </a:lnTo>
                  <a:lnTo>
                    <a:pt x="476250" y="1330325"/>
                  </a:lnTo>
                  <a:lnTo>
                    <a:pt x="454025" y="1314450"/>
                  </a:lnTo>
                  <a:lnTo>
                    <a:pt x="466725" y="1320800"/>
                  </a:lnTo>
                  <a:lnTo>
                    <a:pt x="476250" y="1314450"/>
                  </a:lnTo>
                  <a:lnTo>
                    <a:pt x="441325" y="1308100"/>
                  </a:lnTo>
                  <a:lnTo>
                    <a:pt x="441325" y="1292225"/>
                  </a:lnTo>
                  <a:lnTo>
                    <a:pt x="438150" y="1292225"/>
                  </a:lnTo>
                  <a:lnTo>
                    <a:pt x="431800" y="1289050"/>
                  </a:lnTo>
                  <a:lnTo>
                    <a:pt x="441325" y="1279525"/>
                  </a:lnTo>
                  <a:lnTo>
                    <a:pt x="431800" y="1270000"/>
                  </a:lnTo>
                  <a:lnTo>
                    <a:pt x="425450" y="1270000"/>
                  </a:lnTo>
                  <a:lnTo>
                    <a:pt x="422275" y="1260475"/>
                  </a:lnTo>
                  <a:lnTo>
                    <a:pt x="415925" y="1266825"/>
                  </a:lnTo>
                  <a:lnTo>
                    <a:pt x="409575" y="1279525"/>
                  </a:lnTo>
                  <a:lnTo>
                    <a:pt x="403225" y="1292225"/>
                  </a:lnTo>
                  <a:lnTo>
                    <a:pt x="396875" y="1295400"/>
                  </a:lnTo>
                  <a:lnTo>
                    <a:pt x="381000" y="1292225"/>
                  </a:lnTo>
                  <a:lnTo>
                    <a:pt x="368300" y="1273175"/>
                  </a:lnTo>
                  <a:lnTo>
                    <a:pt x="371475" y="1266825"/>
                  </a:lnTo>
                  <a:lnTo>
                    <a:pt x="374650" y="1250950"/>
                  </a:lnTo>
                  <a:lnTo>
                    <a:pt x="384175" y="1235075"/>
                  </a:lnTo>
                  <a:lnTo>
                    <a:pt x="377825" y="1212850"/>
                  </a:lnTo>
                  <a:lnTo>
                    <a:pt x="387350" y="1216025"/>
                  </a:lnTo>
                  <a:lnTo>
                    <a:pt x="390525" y="1209675"/>
                  </a:lnTo>
                  <a:lnTo>
                    <a:pt x="390525" y="1190625"/>
                  </a:lnTo>
                  <a:lnTo>
                    <a:pt x="396875" y="1190625"/>
                  </a:lnTo>
                  <a:lnTo>
                    <a:pt x="387350" y="1177925"/>
                  </a:lnTo>
                  <a:lnTo>
                    <a:pt x="377825" y="1171575"/>
                  </a:lnTo>
                  <a:lnTo>
                    <a:pt x="374650" y="1139825"/>
                  </a:lnTo>
                  <a:lnTo>
                    <a:pt x="365125" y="1127125"/>
                  </a:lnTo>
                  <a:lnTo>
                    <a:pt x="361950" y="1073150"/>
                  </a:lnTo>
                  <a:lnTo>
                    <a:pt x="361950" y="1057275"/>
                  </a:lnTo>
                  <a:lnTo>
                    <a:pt x="355600" y="1057275"/>
                  </a:lnTo>
                  <a:lnTo>
                    <a:pt x="346075" y="1044575"/>
                  </a:lnTo>
                  <a:lnTo>
                    <a:pt x="342900" y="1031875"/>
                  </a:lnTo>
                  <a:lnTo>
                    <a:pt x="336550" y="1025525"/>
                  </a:lnTo>
                  <a:lnTo>
                    <a:pt x="311150" y="993775"/>
                  </a:lnTo>
                  <a:lnTo>
                    <a:pt x="317500" y="984250"/>
                  </a:lnTo>
                  <a:lnTo>
                    <a:pt x="317500" y="971550"/>
                  </a:lnTo>
                  <a:lnTo>
                    <a:pt x="307975" y="958850"/>
                  </a:lnTo>
                  <a:lnTo>
                    <a:pt x="295275" y="949325"/>
                  </a:lnTo>
                  <a:lnTo>
                    <a:pt x="279400" y="936625"/>
                  </a:lnTo>
                  <a:lnTo>
                    <a:pt x="225425" y="911225"/>
                  </a:lnTo>
                  <a:lnTo>
                    <a:pt x="203200" y="901700"/>
                  </a:lnTo>
                  <a:lnTo>
                    <a:pt x="200025" y="917575"/>
                  </a:lnTo>
                  <a:lnTo>
                    <a:pt x="193675" y="923925"/>
                  </a:lnTo>
                  <a:lnTo>
                    <a:pt x="187325" y="914400"/>
                  </a:lnTo>
                  <a:lnTo>
                    <a:pt x="180975" y="914400"/>
                  </a:lnTo>
                  <a:lnTo>
                    <a:pt x="152400" y="923925"/>
                  </a:lnTo>
                  <a:lnTo>
                    <a:pt x="139700" y="942975"/>
                  </a:lnTo>
                  <a:lnTo>
                    <a:pt x="130175" y="936625"/>
                  </a:lnTo>
                  <a:lnTo>
                    <a:pt x="101600" y="927100"/>
                  </a:lnTo>
                  <a:lnTo>
                    <a:pt x="88900" y="917575"/>
                  </a:lnTo>
                  <a:lnTo>
                    <a:pt x="79375" y="904875"/>
                  </a:lnTo>
                  <a:lnTo>
                    <a:pt x="66675" y="882650"/>
                  </a:lnTo>
                  <a:lnTo>
                    <a:pt x="50800" y="863600"/>
                  </a:lnTo>
                  <a:lnTo>
                    <a:pt x="44450" y="857250"/>
                  </a:lnTo>
                  <a:lnTo>
                    <a:pt x="34925" y="844550"/>
                  </a:lnTo>
                  <a:lnTo>
                    <a:pt x="38100" y="831850"/>
                  </a:lnTo>
                  <a:lnTo>
                    <a:pt x="47625" y="822325"/>
                  </a:lnTo>
                  <a:lnTo>
                    <a:pt x="63500" y="819150"/>
                  </a:lnTo>
                  <a:lnTo>
                    <a:pt x="73025" y="822325"/>
                  </a:lnTo>
                  <a:lnTo>
                    <a:pt x="82550" y="796925"/>
                  </a:lnTo>
                  <a:lnTo>
                    <a:pt x="53975" y="777875"/>
                  </a:lnTo>
                  <a:lnTo>
                    <a:pt x="50800" y="774700"/>
                  </a:lnTo>
                  <a:lnTo>
                    <a:pt x="50800" y="765175"/>
                  </a:lnTo>
                  <a:lnTo>
                    <a:pt x="44450" y="765175"/>
                  </a:lnTo>
                  <a:lnTo>
                    <a:pt x="31750" y="762000"/>
                  </a:lnTo>
                  <a:lnTo>
                    <a:pt x="15875" y="749300"/>
                  </a:lnTo>
                  <a:lnTo>
                    <a:pt x="0" y="727075"/>
                  </a:lnTo>
                  <a:lnTo>
                    <a:pt x="6350" y="688975"/>
                  </a:lnTo>
                  <a:lnTo>
                    <a:pt x="19050" y="685800"/>
                  </a:lnTo>
                  <a:lnTo>
                    <a:pt x="28575" y="676275"/>
                  </a:lnTo>
                  <a:lnTo>
                    <a:pt x="38100" y="676275"/>
                  </a:lnTo>
                  <a:lnTo>
                    <a:pt x="44450" y="676275"/>
                  </a:lnTo>
                  <a:lnTo>
                    <a:pt x="47625" y="666750"/>
                  </a:lnTo>
                  <a:lnTo>
                    <a:pt x="60325" y="663575"/>
                  </a:lnTo>
                  <a:lnTo>
                    <a:pt x="85725" y="644525"/>
                  </a:lnTo>
                  <a:lnTo>
                    <a:pt x="82550" y="644525"/>
                  </a:lnTo>
                  <a:lnTo>
                    <a:pt x="85725" y="635000"/>
                  </a:lnTo>
                  <a:lnTo>
                    <a:pt x="95250" y="628650"/>
                  </a:lnTo>
                  <a:lnTo>
                    <a:pt x="114300" y="622300"/>
                  </a:lnTo>
                  <a:lnTo>
                    <a:pt x="130175" y="619125"/>
                  </a:lnTo>
                  <a:lnTo>
                    <a:pt x="142875" y="622300"/>
                  </a:lnTo>
                  <a:lnTo>
                    <a:pt x="152400" y="619125"/>
                  </a:lnTo>
                  <a:lnTo>
                    <a:pt x="168275" y="587375"/>
                  </a:lnTo>
                  <a:lnTo>
                    <a:pt x="174625" y="565150"/>
                  </a:lnTo>
                  <a:lnTo>
                    <a:pt x="171450" y="536575"/>
                  </a:lnTo>
                  <a:lnTo>
                    <a:pt x="168275" y="514350"/>
                  </a:lnTo>
                  <a:lnTo>
                    <a:pt x="139700" y="511175"/>
                  </a:lnTo>
                  <a:lnTo>
                    <a:pt x="127000" y="508000"/>
                  </a:lnTo>
                  <a:lnTo>
                    <a:pt x="117475" y="492125"/>
                  </a:lnTo>
                  <a:lnTo>
                    <a:pt x="117475" y="473075"/>
                  </a:lnTo>
                  <a:lnTo>
                    <a:pt x="146050" y="434975"/>
                  </a:lnTo>
                  <a:lnTo>
                    <a:pt x="158750" y="422275"/>
                  </a:lnTo>
                  <a:lnTo>
                    <a:pt x="171450" y="406400"/>
                  </a:lnTo>
                  <a:lnTo>
                    <a:pt x="184150" y="384175"/>
                  </a:lnTo>
                  <a:lnTo>
                    <a:pt x="193675" y="377825"/>
                  </a:lnTo>
                  <a:lnTo>
                    <a:pt x="200025" y="365125"/>
                  </a:lnTo>
                  <a:lnTo>
                    <a:pt x="209550" y="358775"/>
                  </a:lnTo>
                  <a:lnTo>
                    <a:pt x="219075" y="352425"/>
                  </a:lnTo>
                  <a:lnTo>
                    <a:pt x="241300" y="368300"/>
                  </a:lnTo>
                  <a:lnTo>
                    <a:pt x="260350" y="361950"/>
                  </a:lnTo>
                  <a:lnTo>
                    <a:pt x="257175" y="317500"/>
                  </a:lnTo>
                  <a:lnTo>
                    <a:pt x="254000" y="295275"/>
                  </a:lnTo>
                  <a:lnTo>
                    <a:pt x="247650" y="279400"/>
                  </a:lnTo>
                  <a:lnTo>
                    <a:pt x="254000" y="266700"/>
                  </a:lnTo>
                  <a:lnTo>
                    <a:pt x="279400" y="247650"/>
                  </a:lnTo>
                  <a:lnTo>
                    <a:pt x="295275" y="234950"/>
                  </a:lnTo>
                  <a:lnTo>
                    <a:pt x="307975" y="225425"/>
                  </a:lnTo>
                  <a:lnTo>
                    <a:pt x="333375" y="212725"/>
                  </a:lnTo>
                  <a:lnTo>
                    <a:pt x="393700" y="184150"/>
                  </a:lnTo>
                  <a:lnTo>
                    <a:pt x="415925" y="209550"/>
                  </a:lnTo>
                  <a:lnTo>
                    <a:pt x="428625" y="234950"/>
                  </a:lnTo>
                  <a:lnTo>
                    <a:pt x="438150" y="234950"/>
                  </a:lnTo>
                  <a:lnTo>
                    <a:pt x="469900" y="254000"/>
                  </a:lnTo>
                  <a:lnTo>
                    <a:pt x="488950" y="254000"/>
                  </a:lnTo>
                  <a:lnTo>
                    <a:pt x="508000" y="250825"/>
                  </a:lnTo>
                  <a:lnTo>
                    <a:pt x="488950" y="225425"/>
                  </a:lnTo>
                  <a:lnTo>
                    <a:pt x="469900" y="158750"/>
                  </a:lnTo>
                  <a:lnTo>
                    <a:pt x="482600" y="155575"/>
                  </a:lnTo>
                  <a:lnTo>
                    <a:pt x="498475" y="155575"/>
                  </a:lnTo>
                  <a:lnTo>
                    <a:pt x="511175" y="161925"/>
                  </a:lnTo>
                  <a:lnTo>
                    <a:pt x="520700" y="174625"/>
                  </a:lnTo>
                  <a:lnTo>
                    <a:pt x="527050" y="184150"/>
                  </a:lnTo>
                  <a:lnTo>
                    <a:pt x="530225" y="190500"/>
                  </a:lnTo>
                  <a:lnTo>
                    <a:pt x="549275" y="206375"/>
                  </a:lnTo>
                  <a:lnTo>
                    <a:pt x="574675" y="225425"/>
                  </a:lnTo>
                  <a:lnTo>
                    <a:pt x="577850" y="231775"/>
                  </a:lnTo>
                  <a:lnTo>
                    <a:pt x="581025" y="234950"/>
                  </a:lnTo>
                  <a:lnTo>
                    <a:pt x="584200" y="244475"/>
                  </a:lnTo>
                  <a:lnTo>
                    <a:pt x="596900" y="266700"/>
                  </a:lnTo>
                  <a:lnTo>
                    <a:pt x="622300" y="263525"/>
                  </a:lnTo>
                  <a:lnTo>
                    <a:pt x="612775" y="254000"/>
                  </a:lnTo>
                  <a:lnTo>
                    <a:pt x="606425" y="241300"/>
                  </a:lnTo>
                  <a:lnTo>
                    <a:pt x="606425" y="219075"/>
                  </a:lnTo>
                  <a:lnTo>
                    <a:pt x="609600" y="196850"/>
                  </a:lnTo>
                  <a:lnTo>
                    <a:pt x="615950" y="187325"/>
                  </a:lnTo>
                  <a:lnTo>
                    <a:pt x="612775" y="152400"/>
                  </a:lnTo>
                  <a:lnTo>
                    <a:pt x="609600" y="146050"/>
                  </a:lnTo>
                  <a:lnTo>
                    <a:pt x="584200" y="104775"/>
                  </a:lnTo>
                  <a:lnTo>
                    <a:pt x="574675" y="95250"/>
                  </a:lnTo>
                  <a:lnTo>
                    <a:pt x="561975" y="79375"/>
                  </a:lnTo>
                  <a:lnTo>
                    <a:pt x="587375" y="53975"/>
                  </a:lnTo>
                  <a:lnTo>
                    <a:pt x="615950" y="44450"/>
                  </a:lnTo>
                  <a:lnTo>
                    <a:pt x="641350" y="25400"/>
                  </a:lnTo>
                  <a:lnTo>
                    <a:pt x="666750" y="34925"/>
                  </a:lnTo>
                  <a:lnTo>
                    <a:pt x="701675" y="79375"/>
                  </a:lnTo>
                  <a:lnTo>
                    <a:pt x="736600" y="63500"/>
                  </a:lnTo>
                  <a:lnTo>
                    <a:pt x="736600" y="158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508;p35">
              <a:extLst>
                <a:ext uri="{FF2B5EF4-FFF2-40B4-BE49-F238E27FC236}">
                  <a16:creationId xmlns:a16="http://schemas.microsoft.com/office/drawing/2014/main" id="{55CD7745-682E-1901-1F89-08784BAE2B22}"/>
                </a:ext>
              </a:extLst>
            </p:cNvPr>
            <p:cNvSpPr/>
            <p:nvPr/>
          </p:nvSpPr>
          <p:spPr>
            <a:xfrm>
              <a:off x="5972730" y="1962705"/>
              <a:ext cx="507207" cy="1374458"/>
            </a:xfrm>
            <a:custGeom>
              <a:avLst/>
              <a:gdLst/>
              <a:ahLst/>
              <a:cxnLst/>
              <a:rect l="l" t="t" r="r" b="b"/>
              <a:pathLst>
                <a:path w="563563" h="1527175" extrusionOk="0">
                  <a:moveTo>
                    <a:pt x="82550" y="1279525"/>
                  </a:moveTo>
                  <a:lnTo>
                    <a:pt x="88900" y="1279525"/>
                  </a:lnTo>
                  <a:lnTo>
                    <a:pt x="92075" y="1282700"/>
                  </a:lnTo>
                  <a:lnTo>
                    <a:pt x="73025" y="1285875"/>
                  </a:lnTo>
                  <a:close/>
                  <a:moveTo>
                    <a:pt x="153988" y="1181100"/>
                  </a:moveTo>
                  <a:lnTo>
                    <a:pt x="160338" y="1190625"/>
                  </a:lnTo>
                  <a:lnTo>
                    <a:pt x="150813" y="1200150"/>
                  </a:lnTo>
                  <a:close/>
                  <a:moveTo>
                    <a:pt x="185738" y="1031875"/>
                  </a:moveTo>
                  <a:lnTo>
                    <a:pt x="198438" y="1035050"/>
                  </a:lnTo>
                  <a:lnTo>
                    <a:pt x="192088" y="1041400"/>
                  </a:lnTo>
                  <a:lnTo>
                    <a:pt x="185738" y="1044575"/>
                  </a:lnTo>
                  <a:close/>
                  <a:moveTo>
                    <a:pt x="217488" y="1022350"/>
                  </a:moveTo>
                  <a:lnTo>
                    <a:pt x="207963" y="1035050"/>
                  </a:lnTo>
                  <a:lnTo>
                    <a:pt x="201613" y="1041400"/>
                  </a:lnTo>
                  <a:lnTo>
                    <a:pt x="198438" y="1041400"/>
                  </a:lnTo>
                  <a:lnTo>
                    <a:pt x="207963" y="1025525"/>
                  </a:lnTo>
                  <a:close/>
                  <a:moveTo>
                    <a:pt x="242888" y="993775"/>
                  </a:moveTo>
                  <a:lnTo>
                    <a:pt x="249238" y="1016000"/>
                  </a:lnTo>
                  <a:lnTo>
                    <a:pt x="239713" y="1025525"/>
                  </a:lnTo>
                  <a:lnTo>
                    <a:pt x="233363" y="1028700"/>
                  </a:lnTo>
                  <a:lnTo>
                    <a:pt x="217488" y="1031875"/>
                  </a:lnTo>
                  <a:lnTo>
                    <a:pt x="227013" y="1000125"/>
                  </a:lnTo>
                  <a:close/>
                  <a:moveTo>
                    <a:pt x="217488" y="987425"/>
                  </a:moveTo>
                  <a:lnTo>
                    <a:pt x="223838" y="1006475"/>
                  </a:lnTo>
                  <a:lnTo>
                    <a:pt x="211138" y="1009650"/>
                  </a:lnTo>
                  <a:lnTo>
                    <a:pt x="204788" y="1009650"/>
                  </a:lnTo>
                  <a:lnTo>
                    <a:pt x="204788" y="1000125"/>
                  </a:lnTo>
                  <a:lnTo>
                    <a:pt x="211138" y="993775"/>
                  </a:lnTo>
                  <a:close/>
                  <a:moveTo>
                    <a:pt x="233363" y="974725"/>
                  </a:moveTo>
                  <a:lnTo>
                    <a:pt x="242888" y="974725"/>
                  </a:lnTo>
                  <a:lnTo>
                    <a:pt x="233363" y="990600"/>
                  </a:lnTo>
                  <a:lnTo>
                    <a:pt x="227013" y="993775"/>
                  </a:lnTo>
                  <a:close/>
                  <a:moveTo>
                    <a:pt x="261938" y="955675"/>
                  </a:moveTo>
                  <a:lnTo>
                    <a:pt x="277813" y="955675"/>
                  </a:lnTo>
                  <a:lnTo>
                    <a:pt x="277813" y="965200"/>
                  </a:lnTo>
                  <a:lnTo>
                    <a:pt x="274638" y="977900"/>
                  </a:lnTo>
                  <a:lnTo>
                    <a:pt x="255588" y="984250"/>
                  </a:lnTo>
                  <a:lnTo>
                    <a:pt x="258763" y="977900"/>
                  </a:lnTo>
                  <a:lnTo>
                    <a:pt x="252413" y="971550"/>
                  </a:lnTo>
                  <a:lnTo>
                    <a:pt x="252413" y="965200"/>
                  </a:lnTo>
                  <a:close/>
                  <a:moveTo>
                    <a:pt x="290513" y="933450"/>
                  </a:moveTo>
                  <a:lnTo>
                    <a:pt x="296863" y="933450"/>
                  </a:lnTo>
                  <a:lnTo>
                    <a:pt x="300038" y="936625"/>
                  </a:lnTo>
                  <a:lnTo>
                    <a:pt x="293688" y="952500"/>
                  </a:lnTo>
                  <a:lnTo>
                    <a:pt x="284163" y="955675"/>
                  </a:lnTo>
                  <a:lnTo>
                    <a:pt x="277813" y="949325"/>
                  </a:lnTo>
                  <a:close/>
                  <a:moveTo>
                    <a:pt x="312738" y="920750"/>
                  </a:moveTo>
                  <a:lnTo>
                    <a:pt x="319088" y="923925"/>
                  </a:lnTo>
                  <a:lnTo>
                    <a:pt x="315913" y="930275"/>
                  </a:lnTo>
                  <a:lnTo>
                    <a:pt x="306388" y="936625"/>
                  </a:lnTo>
                  <a:lnTo>
                    <a:pt x="300038" y="930275"/>
                  </a:lnTo>
                  <a:lnTo>
                    <a:pt x="300038" y="923925"/>
                  </a:lnTo>
                  <a:close/>
                  <a:moveTo>
                    <a:pt x="315913" y="911225"/>
                  </a:moveTo>
                  <a:lnTo>
                    <a:pt x="328613" y="920750"/>
                  </a:lnTo>
                  <a:lnTo>
                    <a:pt x="322263" y="923925"/>
                  </a:lnTo>
                  <a:close/>
                  <a:moveTo>
                    <a:pt x="401638" y="889000"/>
                  </a:moveTo>
                  <a:lnTo>
                    <a:pt x="401638" y="904875"/>
                  </a:lnTo>
                  <a:lnTo>
                    <a:pt x="392113" y="911225"/>
                  </a:lnTo>
                  <a:lnTo>
                    <a:pt x="385763" y="901700"/>
                  </a:lnTo>
                  <a:lnTo>
                    <a:pt x="395288" y="892175"/>
                  </a:lnTo>
                  <a:close/>
                  <a:moveTo>
                    <a:pt x="376238" y="882650"/>
                  </a:moveTo>
                  <a:lnTo>
                    <a:pt x="382588" y="885825"/>
                  </a:lnTo>
                  <a:lnTo>
                    <a:pt x="369888" y="898525"/>
                  </a:lnTo>
                  <a:lnTo>
                    <a:pt x="376238" y="889000"/>
                  </a:lnTo>
                  <a:close/>
                  <a:moveTo>
                    <a:pt x="404813" y="876300"/>
                  </a:moveTo>
                  <a:lnTo>
                    <a:pt x="411163" y="879475"/>
                  </a:lnTo>
                  <a:lnTo>
                    <a:pt x="404813" y="892175"/>
                  </a:lnTo>
                  <a:close/>
                  <a:moveTo>
                    <a:pt x="503238" y="857250"/>
                  </a:moveTo>
                  <a:lnTo>
                    <a:pt x="509588" y="863600"/>
                  </a:lnTo>
                  <a:lnTo>
                    <a:pt x="506413" y="873125"/>
                  </a:lnTo>
                  <a:lnTo>
                    <a:pt x="509588" y="879475"/>
                  </a:lnTo>
                  <a:lnTo>
                    <a:pt x="528638" y="879475"/>
                  </a:lnTo>
                  <a:lnTo>
                    <a:pt x="525463" y="885825"/>
                  </a:lnTo>
                  <a:lnTo>
                    <a:pt x="531813" y="882650"/>
                  </a:lnTo>
                  <a:lnTo>
                    <a:pt x="534988" y="879475"/>
                  </a:lnTo>
                  <a:lnTo>
                    <a:pt x="544513" y="882650"/>
                  </a:lnTo>
                  <a:lnTo>
                    <a:pt x="557213" y="895350"/>
                  </a:lnTo>
                  <a:lnTo>
                    <a:pt x="563563" y="901700"/>
                  </a:lnTo>
                  <a:lnTo>
                    <a:pt x="563563" y="911225"/>
                  </a:lnTo>
                  <a:lnTo>
                    <a:pt x="534988" y="923925"/>
                  </a:lnTo>
                  <a:lnTo>
                    <a:pt x="522288" y="920750"/>
                  </a:lnTo>
                  <a:lnTo>
                    <a:pt x="509588" y="917575"/>
                  </a:lnTo>
                  <a:lnTo>
                    <a:pt x="525463" y="927100"/>
                  </a:lnTo>
                  <a:lnTo>
                    <a:pt x="534988" y="930275"/>
                  </a:lnTo>
                  <a:lnTo>
                    <a:pt x="534988" y="942975"/>
                  </a:lnTo>
                  <a:lnTo>
                    <a:pt x="541338" y="942975"/>
                  </a:lnTo>
                  <a:lnTo>
                    <a:pt x="544513" y="949325"/>
                  </a:lnTo>
                  <a:lnTo>
                    <a:pt x="544513" y="942975"/>
                  </a:lnTo>
                  <a:lnTo>
                    <a:pt x="544513" y="936625"/>
                  </a:lnTo>
                  <a:lnTo>
                    <a:pt x="547688" y="936625"/>
                  </a:lnTo>
                  <a:lnTo>
                    <a:pt x="557213" y="939800"/>
                  </a:lnTo>
                  <a:lnTo>
                    <a:pt x="560388" y="939800"/>
                  </a:lnTo>
                  <a:lnTo>
                    <a:pt x="557213" y="955675"/>
                  </a:lnTo>
                  <a:lnTo>
                    <a:pt x="547688" y="955675"/>
                  </a:lnTo>
                  <a:lnTo>
                    <a:pt x="541338" y="962025"/>
                  </a:lnTo>
                  <a:lnTo>
                    <a:pt x="525463" y="971550"/>
                  </a:lnTo>
                  <a:lnTo>
                    <a:pt x="525463" y="974725"/>
                  </a:lnTo>
                  <a:lnTo>
                    <a:pt x="519113" y="987425"/>
                  </a:lnTo>
                  <a:lnTo>
                    <a:pt x="515938" y="981075"/>
                  </a:lnTo>
                  <a:lnTo>
                    <a:pt x="519113" y="971550"/>
                  </a:lnTo>
                  <a:lnTo>
                    <a:pt x="525463" y="962025"/>
                  </a:lnTo>
                  <a:lnTo>
                    <a:pt x="522288" y="949325"/>
                  </a:lnTo>
                  <a:lnTo>
                    <a:pt x="515938" y="942975"/>
                  </a:lnTo>
                  <a:lnTo>
                    <a:pt x="506413" y="939800"/>
                  </a:lnTo>
                  <a:lnTo>
                    <a:pt x="496888" y="923925"/>
                  </a:lnTo>
                  <a:lnTo>
                    <a:pt x="477838" y="927100"/>
                  </a:lnTo>
                  <a:lnTo>
                    <a:pt x="465138" y="930275"/>
                  </a:lnTo>
                  <a:lnTo>
                    <a:pt x="458788" y="942975"/>
                  </a:lnTo>
                  <a:lnTo>
                    <a:pt x="449263" y="965200"/>
                  </a:lnTo>
                  <a:lnTo>
                    <a:pt x="449263" y="971550"/>
                  </a:lnTo>
                  <a:lnTo>
                    <a:pt x="449263" y="984250"/>
                  </a:lnTo>
                  <a:lnTo>
                    <a:pt x="430213" y="1012825"/>
                  </a:lnTo>
                  <a:lnTo>
                    <a:pt x="420688" y="1006475"/>
                  </a:lnTo>
                  <a:lnTo>
                    <a:pt x="414338" y="1003300"/>
                  </a:lnTo>
                  <a:lnTo>
                    <a:pt x="404813" y="1006475"/>
                  </a:lnTo>
                  <a:lnTo>
                    <a:pt x="395288" y="1012825"/>
                  </a:lnTo>
                  <a:lnTo>
                    <a:pt x="382588" y="1006475"/>
                  </a:lnTo>
                  <a:lnTo>
                    <a:pt x="373063" y="993775"/>
                  </a:lnTo>
                  <a:lnTo>
                    <a:pt x="366713" y="981075"/>
                  </a:lnTo>
                  <a:lnTo>
                    <a:pt x="360363" y="971550"/>
                  </a:lnTo>
                  <a:lnTo>
                    <a:pt x="354013" y="971550"/>
                  </a:lnTo>
                  <a:lnTo>
                    <a:pt x="347663" y="974725"/>
                  </a:lnTo>
                  <a:lnTo>
                    <a:pt x="338138" y="987425"/>
                  </a:lnTo>
                  <a:lnTo>
                    <a:pt x="328613" y="987425"/>
                  </a:lnTo>
                  <a:lnTo>
                    <a:pt x="331788" y="996950"/>
                  </a:lnTo>
                  <a:lnTo>
                    <a:pt x="328613" y="1016000"/>
                  </a:lnTo>
                  <a:lnTo>
                    <a:pt x="322263" y="1028700"/>
                  </a:lnTo>
                  <a:lnTo>
                    <a:pt x="293688" y="1019175"/>
                  </a:lnTo>
                  <a:lnTo>
                    <a:pt x="284163" y="1025525"/>
                  </a:lnTo>
                  <a:lnTo>
                    <a:pt x="284163" y="1038225"/>
                  </a:lnTo>
                  <a:lnTo>
                    <a:pt x="280988" y="1050925"/>
                  </a:lnTo>
                  <a:lnTo>
                    <a:pt x="271463" y="1044575"/>
                  </a:lnTo>
                  <a:lnTo>
                    <a:pt x="265113" y="1044575"/>
                  </a:lnTo>
                  <a:lnTo>
                    <a:pt x="255588" y="1050925"/>
                  </a:lnTo>
                  <a:lnTo>
                    <a:pt x="249238" y="1063625"/>
                  </a:lnTo>
                  <a:lnTo>
                    <a:pt x="242888" y="1085850"/>
                  </a:lnTo>
                  <a:lnTo>
                    <a:pt x="246063" y="1101725"/>
                  </a:lnTo>
                  <a:lnTo>
                    <a:pt x="236538" y="1114425"/>
                  </a:lnTo>
                  <a:lnTo>
                    <a:pt x="227013" y="1130300"/>
                  </a:lnTo>
                  <a:lnTo>
                    <a:pt x="223838" y="1133475"/>
                  </a:lnTo>
                  <a:lnTo>
                    <a:pt x="227013" y="1143000"/>
                  </a:lnTo>
                  <a:lnTo>
                    <a:pt x="214313" y="1155700"/>
                  </a:lnTo>
                  <a:lnTo>
                    <a:pt x="207963" y="1162050"/>
                  </a:lnTo>
                  <a:lnTo>
                    <a:pt x="207963" y="1181100"/>
                  </a:lnTo>
                  <a:lnTo>
                    <a:pt x="204788" y="1193800"/>
                  </a:lnTo>
                  <a:lnTo>
                    <a:pt x="201613" y="1209675"/>
                  </a:lnTo>
                  <a:lnTo>
                    <a:pt x="188913" y="1228725"/>
                  </a:lnTo>
                  <a:lnTo>
                    <a:pt x="195263" y="1238250"/>
                  </a:lnTo>
                  <a:lnTo>
                    <a:pt x="198438" y="1247775"/>
                  </a:lnTo>
                  <a:lnTo>
                    <a:pt x="198438" y="1250950"/>
                  </a:lnTo>
                  <a:lnTo>
                    <a:pt x="195263" y="1260475"/>
                  </a:lnTo>
                  <a:lnTo>
                    <a:pt x="188913" y="1257300"/>
                  </a:lnTo>
                  <a:lnTo>
                    <a:pt x="176213" y="1257300"/>
                  </a:lnTo>
                  <a:lnTo>
                    <a:pt x="166688" y="1263650"/>
                  </a:lnTo>
                  <a:lnTo>
                    <a:pt x="157163" y="1279525"/>
                  </a:lnTo>
                  <a:lnTo>
                    <a:pt x="153988" y="1282700"/>
                  </a:lnTo>
                  <a:lnTo>
                    <a:pt x="150813" y="1295400"/>
                  </a:lnTo>
                  <a:lnTo>
                    <a:pt x="153988" y="1320800"/>
                  </a:lnTo>
                  <a:lnTo>
                    <a:pt x="157163" y="1336675"/>
                  </a:lnTo>
                  <a:lnTo>
                    <a:pt x="157163" y="1352550"/>
                  </a:lnTo>
                  <a:lnTo>
                    <a:pt x="153988" y="1362075"/>
                  </a:lnTo>
                  <a:lnTo>
                    <a:pt x="157163" y="1371600"/>
                  </a:lnTo>
                  <a:lnTo>
                    <a:pt x="163513" y="1374775"/>
                  </a:lnTo>
                  <a:lnTo>
                    <a:pt x="169863" y="1381125"/>
                  </a:lnTo>
                  <a:lnTo>
                    <a:pt x="169863" y="1390650"/>
                  </a:lnTo>
                  <a:lnTo>
                    <a:pt x="166688" y="1397000"/>
                  </a:lnTo>
                  <a:lnTo>
                    <a:pt x="157163" y="1400175"/>
                  </a:lnTo>
                  <a:lnTo>
                    <a:pt x="163513" y="1416050"/>
                  </a:lnTo>
                  <a:lnTo>
                    <a:pt x="166688" y="1428750"/>
                  </a:lnTo>
                  <a:lnTo>
                    <a:pt x="163513" y="1441450"/>
                  </a:lnTo>
                  <a:lnTo>
                    <a:pt x="153988" y="1454150"/>
                  </a:lnTo>
                  <a:lnTo>
                    <a:pt x="144463" y="1463675"/>
                  </a:lnTo>
                  <a:lnTo>
                    <a:pt x="147638" y="1476375"/>
                  </a:lnTo>
                  <a:lnTo>
                    <a:pt x="144463" y="1492250"/>
                  </a:lnTo>
                  <a:lnTo>
                    <a:pt x="134938" y="1482725"/>
                  </a:lnTo>
                  <a:lnTo>
                    <a:pt x="130175" y="1482725"/>
                  </a:lnTo>
                  <a:lnTo>
                    <a:pt x="120650" y="1479550"/>
                  </a:lnTo>
                  <a:lnTo>
                    <a:pt x="111125" y="1489075"/>
                  </a:lnTo>
                  <a:lnTo>
                    <a:pt x="85725" y="1511300"/>
                  </a:lnTo>
                  <a:lnTo>
                    <a:pt x="73025" y="1524000"/>
                  </a:lnTo>
                  <a:lnTo>
                    <a:pt x="60325" y="1527175"/>
                  </a:lnTo>
                  <a:lnTo>
                    <a:pt x="34925" y="1520825"/>
                  </a:lnTo>
                  <a:lnTo>
                    <a:pt x="22225" y="1511300"/>
                  </a:lnTo>
                  <a:lnTo>
                    <a:pt x="12700" y="1498600"/>
                  </a:lnTo>
                  <a:lnTo>
                    <a:pt x="15875" y="1489075"/>
                  </a:lnTo>
                  <a:lnTo>
                    <a:pt x="22225" y="1485900"/>
                  </a:lnTo>
                  <a:lnTo>
                    <a:pt x="28575" y="1473200"/>
                  </a:lnTo>
                  <a:lnTo>
                    <a:pt x="19050" y="1473200"/>
                  </a:lnTo>
                  <a:lnTo>
                    <a:pt x="12700" y="1476375"/>
                  </a:lnTo>
                  <a:lnTo>
                    <a:pt x="9525" y="1473200"/>
                  </a:lnTo>
                  <a:lnTo>
                    <a:pt x="9525" y="1460500"/>
                  </a:lnTo>
                  <a:lnTo>
                    <a:pt x="12700" y="1457325"/>
                  </a:lnTo>
                  <a:lnTo>
                    <a:pt x="19050" y="1447800"/>
                  </a:lnTo>
                  <a:lnTo>
                    <a:pt x="19050" y="1444625"/>
                  </a:lnTo>
                  <a:lnTo>
                    <a:pt x="15875" y="1438275"/>
                  </a:lnTo>
                  <a:lnTo>
                    <a:pt x="9525" y="1438275"/>
                  </a:lnTo>
                  <a:lnTo>
                    <a:pt x="6350" y="1428750"/>
                  </a:lnTo>
                  <a:lnTo>
                    <a:pt x="9525" y="1422400"/>
                  </a:lnTo>
                  <a:lnTo>
                    <a:pt x="6350" y="1409700"/>
                  </a:lnTo>
                  <a:lnTo>
                    <a:pt x="3175" y="1400175"/>
                  </a:lnTo>
                  <a:lnTo>
                    <a:pt x="3175" y="1393825"/>
                  </a:lnTo>
                  <a:lnTo>
                    <a:pt x="6350" y="1387475"/>
                  </a:lnTo>
                  <a:lnTo>
                    <a:pt x="6350" y="1381125"/>
                  </a:lnTo>
                  <a:lnTo>
                    <a:pt x="0" y="1371600"/>
                  </a:lnTo>
                  <a:lnTo>
                    <a:pt x="6350" y="1362075"/>
                  </a:lnTo>
                  <a:lnTo>
                    <a:pt x="6350" y="1346200"/>
                  </a:lnTo>
                  <a:lnTo>
                    <a:pt x="15875" y="1346200"/>
                  </a:lnTo>
                  <a:lnTo>
                    <a:pt x="25400" y="1343025"/>
                  </a:lnTo>
                  <a:lnTo>
                    <a:pt x="28575" y="1330325"/>
                  </a:lnTo>
                  <a:lnTo>
                    <a:pt x="31750" y="1327150"/>
                  </a:lnTo>
                  <a:lnTo>
                    <a:pt x="44450" y="1327150"/>
                  </a:lnTo>
                  <a:lnTo>
                    <a:pt x="44450" y="1320800"/>
                  </a:lnTo>
                  <a:lnTo>
                    <a:pt x="44450" y="1311275"/>
                  </a:lnTo>
                  <a:lnTo>
                    <a:pt x="53975" y="1308100"/>
                  </a:lnTo>
                  <a:lnTo>
                    <a:pt x="66675" y="1311275"/>
                  </a:lnTo>
                  <a:lnTo>
                    <a:pt x="69850" y="1304925"/>
                  </a:lnTo>
                  <a:lnTo>
                    <a:pt x="79375" y="1292225"/>
                  </a:lnTo>
                  <a:lnTo>
                    <a:pt x="95250" y="1289050"/>
                  </a:lnTo>
                  <a:lnTo>
                    <a:pt x="95250" y="1282700"/>
                  </a:lnTo>
                  <a:lnTo>
                    <a:pt x="101600" y="1279525"/>
                  </a:lnTo>
                  <a:lnTo>
                    <a:pt x="101600" y="1270000"/>
                  </a:lnTo>
                  <a:lnTo>
                    <a:pt x="111125" y="1257300"/>
                  </a:lnTo>
                  <a:lnTo>
                    <a:pt x="117475" y="1250950"/>
                  </a:lnTo>
                  <a:lnTo>
                    <a:pt x="120650" y="1241425"/>
                  </a:lnTo>
                  <a:lnTo>
                    <a:pt x="130175" y="1241425"/>
                  </a:lnTo>
                  <a:lnTo>
                    <a:pt x="130175" y="1235075"/>
                  </a:lnTo>
                  <a:lnTo>
                    <a:pt x="133350" y="1235075"/>
                  </a:lnTo>
                  <a:lnTo>
                    <a:pt x="138113" y="1238250"/>
                  </a:lnTo>
                  <a:lnTo>
                    <a:pt x="144463" y="1235075"/>
                  </a:lnTo>
                  <a:lnTo>
                    <a:pt x="138113" y="1228725"/>
                  </a:lnTo>
                  <a:lnTo>
                    <a:pt x="134938" y="1222375"/>
                  </a:lnTo>
                  <a:lnTo>
                    <a:pt x="141288" y="1212850"/>
                  </a:lnTo>
                  <a:lnTo>
                    <a:pt x="150813" y="1206500"/>
                  </a:lnTo>
                  <a:lnTo>
                    <a:pt x="160338" y="1206500"/>
                  </a:lnTo>
                  <a:lnTo>
                    <a:pt x="163513" y="1193800"/>
                  </a:lnTo>
                  <a:lnTo>
                    <a:pt x="160338" y="1181100"/>
                  </a:lnTo>
                  <a:lnTo>
                    <a:pt x="160338" y="1171575"/>
                  </a:lnTo>
                  <a:lnTo>
                    <a:pt x="166688" y="1155700"/>
                  </a:lnTo>
                  <a:lnTo>
                    <a:pt x="169863" y="1152525"/>
                  </a:lnTo>
                  <a:lnTo>
                    <a:pt x="173038" y="1139825"/>
                  </a:lnTo>
                  <a:lnTo>
                    <a:pt x="176213" y="1130300"/>
                  </a:lnTo>
                  <a:lnTo>
                    <a:pt x="188913" y="1108075"/>
                  </a:lnTo>
                  <a:lnTo>
                    <a:pt x="198438" y="1108075"/>
                  </a:lnTo>
                  <a:lnTo>
                    <a:pt x="204788" y="1095375"/>
                  </a:lnTo>
                  <a:lnTo>
                    <a:pt x="214313" y="1092200"/>
                  </a:lnTo>
                  <a:lnTo>
                    <a:pt x="211138" y="1076325"/>
                  </a:lnTo>
                  <a:lnTo>
                    <a:pt x="220663" y="1063625"/>
                  </a:lnTo>
                  <a:lnTo>
                    <a:pt x="211138" y="1060450"/>
                  </a:lnTo>
                  <a:lnTo>
                    <a:pt x="217488" y="1054100"/>
                  </a:lnTo>
                  <a:lnTo>
                    <a:pt x="223838" y="1054100"/>
                  </a:lnTo>
                  <a:lnTo>
                    <a:pt x="233363" y="1054100"/>
                  </a:lnTo>
                  <a:lnTo>
                    <a:pt x="236538" y="1047750"/>
                  </a:lnTo>
                  <a:lnTo>
                    <a:pt x="242888" y="1050925"/>
                  </a:lnTo>
                  <a:lnTo>
                    <a:pt x="255588" y="1044575"/>
                  </a:lnTo>
                  <a:lnTo>
                    <a:pt x="249238" y="1035050"/>
                  </a:lnTo>
                  <a:lnTo>
                    <a:pt x="249238" y="1022350"/>
                  </a:lnTo>
                  <a:lnTo>
                    <a:pt x="252413" y="1012825"/>
                  </a:lnTo>
                  <a:lnTo>
                    <a:pt x="255588" y="1009650"/>
                  </a:lnTo>
                  <a:lnTo>
                    <a:pt x="265113" y="1000125"/>
                  </a:lnTo>
                  <a:lnTo>
                    <a:pt x="271463" y="993775"/>
                  </a:lnTo>
                  <a:lnTo>
                    <a:pt x="274638" y="984250"/>
                  </a:lnTo>
                  <a:lnTo>
                    <a:pt x="287338" y="962025"/>
                  </a:lnTo>
                  <a:lnTo>
                    <a:pt x="290513" y="958850"/>
                  </a:lnTo>
                  <a:lnTo>
                    <a:pt x="293688" y="955675"/>
                  </a:lnTo>
                  <a:lnTo>
                    <a:pt x="300038" y="949325"/>
                  </a:lnTo>
                  <a:lnTo>
                    <a:pt x="328613" y="930275"/>
                  </a:lnTo>
                  <a:lnTo>
                    <a:pt x="334963" y="933450"/>
                  </a:lnTo>
                  <a:lnTo>
                    <a:pt x="338138" y="942975"/>
                  </a:lnTo>
                  <a:lnTo>
                    <a:pt x="344488" y="936625"/>
                  </a:lnTo>
                  <a:lnTo>
                    <a:pt x="350838" y="927100"/>
                  </a:lnTo>
                  <a:lnTo>
                    <a:pt x="350838" y="914400"/>
                  </a:lnTo>
                  <a:lnTo>
                    <a:pt x="369888" y="908050"/>
                  </a:lnTo>
                  <a:lnTo>
                    <a:pt x="379413" y="911225"/>
                  </a:lnTo>
                  <a:lnTo>
                    <a:pt x="388938" y="914400"/>
                  </a:lnTo>
                  <a:lnTo>
                    <a:pt x="401638" y="908050"/>
                  </a:lnTo>
                  <a:lnTo>
                    <a:pt x="411163" y="889000"/>
                  </a:lnTo>
                  <a:lnTo>
                    <a:pt x="417513" y="873125"/>
                  </a:lnTo>
                  <a:lnTo>
                    <a:pt x="423863" y="876300"/>
                  </a:lnTo>
                  <a:lnTo>
                    <a:pt x="427038" y="866775"/>
                  </a:lnTo>
                  <a:lnTo>
                    <a:pt x="439738" y="866775"/>
                  </a:lnTo>
                  <a:lnTo>
                    <a:pt x="446088" y="866775"/>
                  </a:lnTo>
                  <a:lnTo>
                    <a:pt x="452438" y="873125"/>
                  </a:lnTo>
                  <a:lnTo>
                    <a:pt x="446088" y="885825"/>
                  </a:lnTo>
                  <a:lnTo>
                    <a:pt x="436563" y="895350"/>
                  </a:lnTo>
                  <a:lnTo>
                    <a:pt x="433388" y="917575"/>
                  </a:lnTo>
                  <a:lnTo>
                    <a:pt x="436563" y="923925"/>
                  </a:lnTo>
                  <a:lnTo>
                    <a:pt x="442913" y="914400"/>
                  </a:lnTo>
                  <a:lnTo>
                    <a:pt x="449263" y="898525"/>
                  </a:lnTo>
                  <a:lnTo>
                    <a:pt x="461963" y="873125"/>
                  </a:lnTo>
                  <a:lnTo>
                    <a:pt x="468313" y="876300"/>
                  </a:lnTo>
                  <a:lnTo>
                    <a:pt x="468313" y="892175"/>
                  </a:lnTo>
                  <a:lnTo>
                    <a:pt x="465138" y="904875"/>
                  </a:lnTo>
                  <a:lnTo>
                    <a:pt x="474663" y="898525"/>
                  </a:lnTo>
                  <a:lnTo>
                    <a:pt x="477838" y="879475"/>
                  </a:lnTo>
                  <a:lnTo>
                    <a:pt x="477838" y="869950"/>
                  </a:lnTo>
                  <a:lnTo>
                    <a:pt x="487363" y="860425"/>
                  </a:lnTo>
                  <a:close/>
                  <a:moveTo>
                    <a:pt x="442913" y="854075"/>
                  </a:moveTo>
                  <a:lnTo>
                    <a:pt x="452438" y="854075"/>
                  </a:lnTo>
                  <a:lnTo>
                    <a:pt x="455613" y="860425"/>
                  </a:lnTo>
                  <a:lnTo>
                    <a:pt x="446088" y="863600"/>
                  </a:lnTo>
                  <a:close/>
                  <a:moveTo>
                    <a:pt x="385763" y="263525"/>
                  </a:moveTo>
                  <a:lnTo>
                    <a:pt x="398463" y="273050"/>
                  </a:lnTo>
                  <a:lnTo>
                    <a:pt x="392113" y="288925"/>
                  </a:lnTo>
                  <a:lnTo>
                    <a:pt x="411163" y="301625"/>
                  </a:lnTo>
                  <a:lnTo>
                    <a:pt x="420688" y="304800"/>
                  </a:lnTo>
                  <a:lnTo>
                    <a:pt x="427038" y="311150"/>
                  </a:lnTo>
                  <a:lnTo>
                    <a:pt x="423863" y="317500"/>
                  </a:lnTo>
                  <a:lnTo>
                    <a:pt x="411163" y="330200"/>
                  </a:lnTo>
                  <a:lnTo>
                    <a:pt x="407988" y="339725"/>
                  </a:lnTo>
                  <a:lnTo>
                    <a:pt x="404813" y="346075"/>
                  </a:lnTo>
                  <a:lnTo>
                    <a:pt x="385763" y="361950"/>
                  </a:lnTo>
                  <a:lnTo>
                    <a:pt x="376238" y="361950"/>
                  </a:lnTo>
                  <a:lnTo>
                    <a:pt x="369888" y="339725"/>
                  </a:lnTo>
                  <a:lnTo>
                    <a:pt x="366713" y="342900"/>
                  </a:lnTo>
                  <a:lnTo>
                    <a:pt x="350838" y="346075"/>
                  </a:lnTo>
                  <a:lnTo>
                    <a:pt x="344488" y="346075"/>
                  </a:lnTo>
                  <a:lnTo>
                    <a:pt x="344488" y="333375"/>
                  </a:lnTo>
                  <a:lnTo>
                    <a:pt x="350838" y="317500"/>
                  </a:lnTo>
                  <a:lnTo>
                    <a:pt x="354013" y="292100"/>
                  </a:lnTo>
                  <a:lnTo>
                    <a:pt x="344488" y="282575"/>
                  </a:lnTo>
                  <a:lnTo>
                    <a:pt x="347663" y="273050"/>
                  </a:lnTo>
                  <a:lnTo>
                    <a:pt x="363538" y="266700"/>
                  </a:lnTo>
                  <a:close/>
                  <a:moveTo>
                    <a:pt x="354013" y="222250"/>
                  </a:moveTo>
                  <a:lnTo>
                    <a:pt x="373063" y="234950"/>
                  </a:lnTo>
                  <a:lnTo>
                    <a:pt x="373063" y="260350"/>
                  </a:lnTo>
                  <a:lnTo>
                    <a:pt x="366713" y="263525"/>
                  </a:lnTo>
                  <a:lnTo>
                    <a:pt x="347663" y="266700"/>
                  </a:lnTo>
                  <a:lnTo>
                    <a:pt x="341313" y="257175"/>
                  </a:lnTo>
                  <a:lnTo>
                    <a:pt x="338138" y="247650"/>
                  </a:lnTo>
                  <a:lnTo>
                    <a:pt x="328613" y="238125"/>
                  </a:lnTo>
                  <a:close/>
                  <a:moveTo>
                    <a:pt x="123825" y="190500"/>
                  </a:moveTo>
                  <a:lnTo>
                    <a:pt x="133350" y="203200"/>
                  </a:lnTo>
                  <a:lnTo>
                    <a:pt x="147638" y="241300"/>
                  </a:lnTo>
                  <a:lnTo>
                    <a:pt x="157163" y="266700"/>
                  </a:lnTo>
                  <a:lnTo>
                    <a:pt x="141288" y="247650"/>
                  </a:lnTo>
                  <a:lnTo>
                    <a:pt x="123825" y="209550"/>
                  </a:lnTo>
                  <a:lnTo>
                    <a:pt x="120650" y="196850"/>
                  </a:lnTo>
                  <a:close/>
                  <a:moveTo>
                    <a:pt x="246063" y="53975"/>
                  </a:moveTo>
                  <a:lnTo>
                    <a:pt x="255588" y="63500"/>
                  </a:lnTo>
                  <a:lnTo>
                    <a:pt x="280988" y="88900"/>
                  </a:lnTo>
                  <a:lnTo>
                    <a:pt x="296863" y="114300"/>
                  </a:lnTo>
                  <a:lnTo>
                    <a:pt x="303213" y="155575"/>
                  </a:lnTo>
                  <a:lnTo>
                    <a:pt x="312738" y="158750"/>
                  </a:lnTo>
                  <a:lnTo>
                    <a:pt x="322263" y="174625"/>
                  </a:lnTo>
                  <a:lnTo>
                    <a:pt x="331788" y="184150"/>
                  </a:lnTo>
                  <a:lnTo>
                    <a:pt x="350838" y="193675"/>
                  </a:lnTo>
                  <a:lnTo>
                    <a:pt x="357188" y="206375"/>
                  </a:lnTo>
                  <a:lnTo>
                    <a:pt x="347663" y="222250"/>
                  </a:lnTo>
                  <a:lnTo>
                    <a:pt x="328613" y="219075"/>
                  </a:lnTo>
                  <a:lnTo>
                    <a:pt x="309563" y="234950"/>
                  </a:lnTo>
                  <a:lnTo>
                    <a:pt x="306388" y="241300"/>
                  </a:lnTo>
                  <a:lnTo>
                    <a:pt x="303213" y="254000"/>
                  </a:lnTo>
                  <a:lnTo>
                    <a:pt x="303213" y="263525"/>
                  </a:lnTo>
                  <a:lnTo>
                    <a:pt x="293688" y="301625"/>
                  </a:lnTo>
                  <a:lnTo>
                    <a:pt x="284163" y="330200"/>
                  </a:lnTo>
                  <a:lnTo>
                    <a:pt x="277813" y="342900"/>
                  </a:lnTo>
                  <a:lnTo>
                    <a:pt x="261938" y="412750"/>
                  </a:lnTo>
                  <a:lnTo>
                    <a:pt x="258763" y="428625"/>
                  </a:lnTo>
                  <a:lnTo>
                    <a:pt x="249238" y="428625"/>
                  </a:lnTo>
                  <a:lnTo>
                    <a:pt x="230188" y="400050"/>
                  </a:lnTo>
                  <a:lnTo>
                    <a:pt x="220663" y="387350"/>
                  </a:lnTo>
                  <a:lnTo>
                    <a:pt x="204788" y="368300"/>
                  </a:lnTo>
                  <a:lnTo>
                    <a:pt x="195263" y="349250"/>
                  </a:lnTo>
                  <a:lnTo>
                    <a:pt x="195263" y="336550"/>
                  </a:lnTo>
                  <a:lnTo>
                    <a:pt x="198438" y="333375"/>
                  </a:lnTo>
                  <a:lnTo>
                    <a:pt x="204788" y="330200"/>
                  </a:lnTo>
                  <a:lnTo>
                    <a:pt x="207963" y="339725"/>
                  </a:lnTo>
                  <a:lnTo>
                    <a:pt x="211138" y="336550"/>
                  </a:lnTo>
                  <a:lnTo>
                    <a:pt x="214313" y="333375"/>
                  </a:lnTo>
                  <a:lnTo>
                    <a:pt x="211138" y="323850"/>
                  </a:lnTo>
                  <a:lnTo>
                    <a:pt x="198438" y="311150"/>
                  </a:lnTo>
                  <a:lnTo>
                    <a:pt x="188913" y="314325"/>
                  </a:lnTo>
                  <a:lnTo>
                    <a:pt x="185738" y="285750"/>
                  </a:lnTo>
                  <a:lnTo>
                    <a:pt x="192088" y="279400"/>
                  </a:lnTo>
                  <a:lnTo>
                    <a:pt x="201613" y="279400"/>
                  </a:lnTo>
                  <a:lnTo>
                    <a:pt x="217488" y="273050"/>
                  </a:lnTo>
                  <a:lnTo>
                    <a:pt x="230188" y="257175"/>
                  </a:lnTo>
                  <a:lnTo>
                    <a:pt x="233363" y="241300"/>
                  </a:lnTo>
                  <a:lnTo>
                    <a:pt x="223838" y="222250"/>
                  </a:lnTo>
                  <a:lnTo>
                    <a:pt x="227013" y="196850"/>
                  </a:lnTo>
                  <a:lnTo>
                    <a:pt x="217488" y="206375"/>
                  </a:lnTo>
                  <a:lnTo>
                    <a:pt x="207963" y="215900"/>
                  </a:lnTo>
                  <a:lnTo>
                    <a:pt x="211138" y="244475"/>
                  </a:lnTo>
                  <a:lnTo>
                    <a:pt x="201613" y="257175"/>
                  </a:lnTo>
                  <a:lnTo>
                    <a:pt x="192088" y="266700"/>
                  </a:lnTo>
                  <a:lnTo>
                    <a:pt x="173038" y="260350"/>
                  </a:lnTo>
                  <a:lnTo>
                    <a:pt x="153988" y="228600"/>
                  </a:lnTo>
                  <a:lnTo>
                    <a:pt x="144463" y="209550"/>
                  </a:lnTo>
                  <a:lnTo>
                    <a:pt x="138113" y="184150"/>
                  </a:lnTo>
                  <a:lnTo>
                    <a:pt x="138113" y="168275"/>
                  </a:lnTo>
                  <a:lnTo>
                    <a:pt x="130175" y="133350"/>
                  </a:lnTo>
                  <a:lnTo>
                    <a:pt x="150813" y="82550"/>
                  </a:lnTo>
                  <a:lnTo>
                    <a:pt x="179388" y="79375"/>
                  </a:lnTo>
                  <a:lnTo>
                    <a:pt x="192088" y="76200"/>
                  </a:lnTo>
                  <a:lnTo>
                    <a:pt x="195263" y="88900"/>
                  </a:lnTo>
                  <a:lnTo>
                    <a:pt x="198438" y="107950"/>
                  </a:lnTo>
                  <a:lnTo>
                    <a:pt x="207963" y="85725"/>
                  </a:lnTo>
                  <a:lnTo>
                    <a:pt x="211138" y="88900"/>
                  </a:lnTo>
                  <a:lnTo>
                    <a:pt x="223838" y="120650"/>
                  </a:lnTo>
                  <a:lnTo>
                    <a:pt x="246063" y="180975"/>
                  </a:lnTo>
                  <a:lnTo>
                    <a:pt x="236538" y="136525"/>
                  </a:lnTo>
                  <a:lnTo>
                    <a:pt x="233363" y="76200"/>
                  </a:lnTo>
                  <a:close/>
                  <a:moveTo>
                    <a:pt x="392113" y="0"/>
                  </a:moveTo>
                  <a:lnTo>
                    <a:pt x="395288" y="25400"/>
                  </a:lnTo>
                  <a:lnTo>
                    <a:pt x="392113" y="28575"/>
                  </a:lnTo>
                  <a:lnTo>
                    <a:pt x="388938" y="41275"/>
                  </a:lnTo>
                  <a:lnTo>
                    <a:pt x="398463" y="44450"/>
                  </a:lnTo>
                  <a:lnTo>
                    <a:pt x="411163" y="28575"/>
                  </a:lnTo>
                  <a:lnTo>
                    <a:pt x="420688" y="28575"/>
                  </a:lnTo>
                  <a:lnTo>
                    <a:pt x="430213" y="31750"/>
                  </a:lnTo>
                  <a:lnTo>
                    <a:pt x="455613" y="34925"/>
                  </a:lnTo>
                  <a:lnTo>
                    <a:pt x="468313" y="38100"/>
                  </a:lnTo>
                  <a:lnTo>
                    <a:pt x="481013" y="50800"/>
                  </a:lnTo>
                  <a:lnTo>
                    <a:pt x="481013" y="60325"/>
                  </a:lnTo>
                  <a:lnTo>
                    <a:pt x="458788" y="111125"/>
                  </a:lnTo>
                  <a:lnTo>
                    <a:pt x="449263" y="133350"/>
                  </a:lnTo>
                  <a:lnTo>
                    <a:pt x="436563" y="142875"/>
                  </a:lnTo>
                  <a:lnTo>
                    <a:pt x="407988" y="158750"/>
                  </a:lnTo>
                  <a:lnTo>
                    <a:pt x="395288" y="158750"/>
                  </a:lnTo>
                  <a:lnTo>
                    <a:pt x="382588" y="146050"/>
                  </a:lnTo>
                  <a:lnTo>
                    <a:pt x="379413" y="133350"/>
                  </a:lnTo>
                  <a:lnTo>
                    <a:pt x="373063" y="133350"/>
                  </a:lnTo>
                  <a:lnTo>
                    <a:pt x="357188" y="133350"/>
                  </a:lnTo>
                  <a:lnTo>
                    <a:pt x="347663" y="139700"/>
                  </a:lnTo>
                  <a:lnTo>
                    <a:pt x="331788" y="127000"/>
                  </a:lnTo>
                  <a:lnTo>
                    <a:pt x="319088" y="117475"/>
                  </a:lnTo>
                  <a:lnTo>
                    <a:pt x="309563" y="95250"/>
                  </a:lnTo>
                  <a:lnTo>
                    <a:pt x="284163" y="73025"/>
                  </a:lnTo>
                  <a:lnTo>
                    <a:pt x="277813" y="44450"/>
                  </a:lnTo>
                  <a:lnTo>
                    <a:pt x="296863" y="38100"/>
                  </a:lnTo>
                  <a:lnTo>
                    <a:pt x="325438" y="3175"/>
                  </a:lnTo>
                  <a:lnTo>
                    <a:pt x="357188" y="28575"/>
                  </a:lnTo>
                  <a:lnTo>
                    <a:pt x="363538" y="28575"/>
                  </a:lnTo>
                  <a:lnTo>
                    <a:pt x="373063" y="57150"/>
                  </a:lnTo>
                  <a:lnTo>
                    <a:pt x="379413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Google Shape;509;p35">
              <a:extLst>
                <a:ext uri="{FF2B5EF4-FFF2-40B4-BE49-F238E27FC236}">
                  <a16:creationId xmlns:a16="http://schemas.microsoft.com/office/drawing/2014/main" id="{D83947F8-1438-651D-D50D-3A05C983BCA3}"/>
                </a:ext>
              </a:extLst>
            </p:cNvPr>
            <p:cNvSpPr/>
            <p:nvPr/>
          </p:nvSpPr>
          <p:spPr>
            <a:xfrm>
              <a:off x="5401230" y="2979974"/>
              <a:ext cx="345757" cy="205740"/>
            </a:xfrm>
            <a:custGeom>
              <a:avLst/>
              <a:gdLst/>
              <a:ahLst/>
              <a:cxnLst/>
              <a:rect l="l" t="t" r="r" b="b"/>
              <a:pathLst>
                <a:path w="384175" h="228600" extrusionOk="0">
                  <a:moveTo>
                    <a:pt x="374650" y="212725"/>
                  </a:moveTo>
                  <a:lnTo>
                    <a:pt x="384175" y="228600"/>
                  </a:lnTo>
                  <a:lnTo>
                    <a:pt x="374650" y="219075"/>
                  </a:lnTo>
                  <a:close/>
                  <a:moveTo>
                    <a:pt x="180975" y="0"/>
                  </a:moveTo>
                  <a:lnTo>
                    <a:pt x="190500" y="9525"/>
                  </a:lnTo>
                  <a:lnTo>
                    <a:pt x="200025" y="19050"/>
                  </a:lnTo>
                  <a:lnTo>
                    <a:pt x="206375" y="25400"/>
                  </a:lnTo>
                  <a:lnTo>
                    <a:pt x="219075" y="41275"/>
                  </a:lnTo>
                  <a:lnTo>
                    <a:pt x="222250" y="47625"/>
                  </a:lnTo>
                  <a:lnTo>
                    <a:pt x="231775" y="47625"/>
                  </a:lnTo>
                  <a:lnTo>
                    <a:pt x="234950" y="53975"/>
                  </a:lnTo>
                  <a:lnTo>
                    <a:pt x="234950" y="69850"/>
                  </a:lnTo>
                  <a:lnTo>
                    <a:pt x="231775" y="88900"/>
                  </a:lnTo>
                  <a:lnTo>
                    <a:pt x="225425" y="95250"/>
                  </a:lnTo>
                  <a:lnTo>
                    <a:pt x="212725" y="111125"/>
                  </a:lnTo>
                  <a:lnTo>
                    <a:pt x="209550" y="114300"/>
                  </a:lnTo>
                  <a:lnTo>
                    <a:pt x="209550" y="117475"/>
                  </a:lnTo>
                  <a:lnTo>
                    <a:pt x="203200" y="117475"/>
                  </a:lnTo>
                  <a:lnTo>
                    <a:pt x="177800" y="130175"/>
                  </a:lnTo>
                  <a:lnTo>
                    <a:pt x="165100" y="139700"/>
                  </a:lnTo>
                  <a:lnTo>
                    <a:pt x="136525" y="155575"/>
                  </a:lnTo>
                  <a:lnTo>
                    <a:pt x="111125" y="155575"/>
                  </a:lnTo>
                  <a:lnTo>
                    <a:pt x="82550" y="142875"/>
                  </a:lnTo>
                  <a:lnTo>
                    <a:pt x="69850" y="139700"/>
                  </a:lnTo>
                  <a:lnTo>
                    <a:pt x="53975" y="139700"/>
                  </a:lnTo>
                  <a:lnTo>
                    <a:pt x="44450" y="139700"/>
                  </a:lnTo>
                  <a:lnTo>
                    <a:pt x="38100" y="133350"/>
                  </a:lnTo>
                  <a:lnTo>
                    <a:pt x="47625" y="130175"/>
                  </a:lnTo>
                  <a:lnTo>
                    <a:pt x="57150" y="127000"/>
                  </a:lnTo>
                  <a:lnTo>
                    <a:pt x="53975" y="111125"/>
                  </a:lnTo>
                  <a:lnTo>
                    <a:pt x="50800" y="95250"/>
                  </a:lnTo>
                  <a:lnTo>
                    <a:pt x="38100" y="88900"/>
                  </a:lnTo>
                  <a:lnTo>
                    <a:pt x="25400" y="88900"/>
                  </a:lnTo>
                  <a:lnTo>
                    <a:pt x="15875" y="95250"/>
                  </a:lnTo>
                  <a:lnTo>
                    <a:pt x="9525" y="85725"/>
                  </a:lnTo>
                  <a:lnTo>
                    <a:pt x="15875" y="85725"/>
                  </a:lnTo>
                  <a:lnTo>
                    <a:pt x="25400" y="82550"/>
                  </a:lnTo>
                  <a:lnTo>
                    <a:pt x="34925" y="76200"/>
                  </a:lnTo>
                  <a:lnTo>
                    <a:pt x="60325" y="57150"/>
                  </a:lnTo>
                  <a:lnTo>
                    <a:pt x="41275" y="53975"/>
                  </a:lnTo>
                  <a:lnTo>
                    <a:pt x="25400" y="53975"/>
                  </a:lnTo>
                  <a:lnTo>
                    <a:pt x="12700" y="60325"/>
                  </a:lnTo>
                  <a:lnTo>
                    <a:pt x="0" y="53975"/>
                  </a:lnTo>
                  <a:lnTo>
                    <a:pt x="15875" y="25400"/>
                  </a:lnTo>
                  <a:lnTo>
                    <a:pt x="28575" y="9525"/>
                  </a:lnTo>
                  <a:lnTo>
                    <a:pt x="41275" y="6350"/>
                  </a:lnTo>
                  <a:lnTo>
                    <a:pt x="47625" y="12700"/>
                  </a:lnTo>
                  <a:lnTo>
                    <a:pt x="53975" y="15875"/>
                  </a:lnTo>
                  <a:lnTo>
                    <a:pt x="60325" y="19050"/>
                  </a:lnTo>
                  <a:lnTo>
                    <a:pt x="69850" y="28575"/>
                  </a:lnTo>
                  <a:lnTo>
                    <a:pt x="69850" y="38100"/>
                  </a:lnTo>
                  <a:lnTo>
                    <a:pt x="76200" y="57150"/>
                  </a:lnTo>
                  <a:lnTo>
                    <a:pt x="82550" y="47625"/>
                  </a:lnTo>
                  <a:lnTo>
                    <a:pt x="85725" y="53975"/>
                  </a:lnTo>
                  <a:lnTo>
                    <a:pt x="92075" y="47625"/>
                  </a:lnTo>
                  <a:lnTo>
                    <a:pt x="92075" y="34925"/>
                  </a:lnTo>
                  <a:lnTo>
                    <a:pt x="88900" y="22225"/>
                  </a:lnTo>
                  <a:lnTo>
                    <a:pt x="95250" y="22225"/>
                  </a:lnTo>
                  <a:lnTo>
                    <a:pt x="104775" y="41275"/>
                  </a:lnTo>
                  <a:lnTo>
                    <a:pt x="107950" y="31750"/>
                  </a:lnTo>
                  <a:lnTo>
                    <a:pt x="111125" y="25400"/>
                  </a:lnTo>
                  <a:lnTo>
                    <a:pt x="114300" y="22225"/>
                  </a:lnTo>
                  <a:lnTo>
                    <a:pt x="120650" y="19050"/>
                  </a:lnTo>
                  <a:lnTo>
                    <a:pt x="127000" y="22225"/>
                  </a:lnTo>
                  <a:lnTo>
                    <a:pt x="142875" y="19050"/>
                  </a:lnTo>
                  <a:lnTo>
                    <a:pt x="146050" y="25400"/>
                  </a:lnTo>
                  <a:lnTo>
                    <a:pt x="152400" y="22225"/>
                  </a:lnTo>
                  <a:lnTo>
                    <a:pt x="161925" y="19050"/>
                  </a:lnTo>
                  <a:lnTo>
                    <a:pt x="165100" y="22225"/>
                  </a:lnTo>
                  <a:lnTo>
                    <a:pt x="168275" y="22225"/>
                  </a:lnTo>
                  <a:lnTo>
                    <a:pt x="174625" y="19050"/>
                  </a:lnTo>
                  <a:lnTo>
                    <a:pt x="174625" y="15875"/>
                  </a:lnTo>
                  <a:lnTo>
                    <a:pt x="174625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510;p35">
              <a:extLst>
                <a:ext uri="{FF2B5EF4-FFF2-40B4-BE49-F238E27FC236}">
                  <a16:creationId xmlns:a16="http://schemas.microsoft.com/office/drawing/2014/main" id="{36D238CB-FB08-7328-45A4-D4F13989A4B1}"/>
                </a:ext>
              </a:extLst>
            </p:cNvPr>
            <p:cNvSpPr/>
            <p:nvPr/>
          </p:nvSpPr>
          <p:spPr>
            <a:xfrm>
              <a:off x="5675550" y="3434318"/>
              <a:ext cx="85725" cy="122872"/>
            </a:xfrm>
            <a:custGeom>
              <a:avLst/>
              <a:gdLst/>
              <a:ahLst/>
              <a:cxnLst/>
              <a:rect l="l" t="t" r="r" b="b"/>
              <a:pathLst>
                <a:path w="60" h="86" extrusionOk="0">
                  <a:moveTo>
                    <a:pt x="6" y="84"/>
                  </a:moveTo>
                  <a:lnTo>
                    <a:pt x="8" y="86"/>
                  </a:lnTo>
                  <a:lnTo>
                    <a:pt x="16" y="86"/>
                  </a:lnTo>
                  <a:lnTo>
                    <a:pt x="28" y="82"/>
                  </a:lnTo>
                  <a:lnTo>
                    <a:pt x="34" y="78"/>
                  </a:lnTo>
                  <a:lnTo>
                    <a:pt x="38" y="74"/>
                  </a:lnTo>
                  <a:lnTo>
                    <a:pt x="44" y="72"/>
                  </a:lnTo>
                  <a:lnTo>
                    <a:pt x="46" y="70"/>
                  </a:lnTo>
                  <a:lnTo>
                    <a:pt x="52" y="70"/>
                  </a:lnTo>
                  <a:lnTo>
                    <a:pt x="54" y="70"/>
                  </a:lnTo>
                  <a:lnTo>
                    <a:pt x="56" y="66"/>
                  </a:lnTo>
                  <a:lnTo>
                    <a:pt x="58" y="58"/>
                  </a:lnTo>
                  <a:lnTo>
                    <a:pt x="60" y="50"/>
                  </a:lnTo>
                  <a:lnTo>
                    <a:pt x="58" y="42"/>
                  </a:lnTo>
                  <a:lnTo>
                    <a:pt x="58" y="40"/>
                  </a:lnTo>
                  <a:lnTo>
                    <a:pt x="58" y="38"/>
                  </a:lnTo>
                  <a:lnTo>
                    <a:pt x="58" y="36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42" y="28"/>
                  </a:lnTo>
                  <a:lnTo>
                    <a:pt x="36" y="26"/>
                  </a:lnTo>
                  <a:lnTo>
                    <a:pt x="30" y="20"/>
                  </a:lnTo>
                  <a:lnTo>
                    <a:pt x="38" y="16"/>
                  </a:lnTo>
                  <a:lnTo>
                    <a:pt x="44" y="6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6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4" y="22"/>
                  </a:lnTo>
                  <a:lnTo>
                    <a:pt x="14" y="22"/>
                  </a:lnTo>
                  <a:lnTo>
                    <a:pt x="8" y="22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6" y="36"/>
                  </a:lnTo>
                  <a:lnTo>
                    <a:pt x="4" y="44"/>
                  </a:lnTo>
                  <a:lnTo>
                    <a:pt x="10" y="48"/>
                  </a:lnTo>
                  <a:lnTo>
                    <a:pt x="16" y="50"/>
                  </a:lnTo>
                  <a:lnTo>
                    <a:pt x="14" y="56"/>
                  </a:lnTo>
                  <a:lnTo>
                    <a:pt x="10" y="60"/>
                  </a:lnTo>
                  <a:lnTo>
                    <a:pt x="8" y="66"/>
                  </a:lnTo>
                  <a:lnTo>
                    <a:pt x="10" y="70"/>
                  </a:lnTo>
                  <a:lnTo>
                    <a:pt x="4" y="70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6" y="8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511;p35">
              <a:extLst>
                <a:ext uri="{FF2B5EF4-FFF2-40B4-BE49-F238E27FC236}">
                  <a16:creationId xmlns:a16="http://schemas.microsoft.com/office/drawing/2014/main" id="{953EECA4-C51B-8B27-8AE3-A41A6996E717}"/>
                </a:ext>
              </a:extLst>
            </p:cNvPr>
            <p:cNvSpPr/>
            <p:nvPr/>
          </p:nvSpPr>
          <p:spPr>
            <a:xfrm>
              <a:off x="5718413" y="3231435"/>
              <a:ext cx="194309" cy="371475"/>
            </a:xfrm>
            <a:custGeom>
              <a:avLst/>
              <a:gdLst/>
              <a:ahLst/>
              <a:cxnLst/>
              <a:rect l="l" t="t" r="r" b="b"/>
              <a:pathLst>
                <a:path w="215899" h="412750" extrusionOk="0">
                  <a:moveTo>
                    <a:pt x="82550" y="257175"/>
                  </a:moveTo>
                  <a:lnTo>
                    <a:pt x="82550" y="263525"/>
                  </a:lnTo>
                  <a:lnTo>
                    <a:pt x="82550" y="266700"/>
                  </a:lnTo>
                  <a:lnTo>
                    <a:pt x="73025" y="269875"/>
                  </a:lnTo>
                  <a:lnTo>
                    <a:pt x="79375" y="263525"/>
                  </a:lnTo>
                  <a:close/>
                  <a:moveTo>
                    <a:pt x="38100" y="225425"/>
                  </a:moveTo>
                  <a:lnTo>
                    <a:pt x="47625" y="228600"/>
                  </a:lnTo>
                  <a:lnTo>
                    <a:pt x="53975" y="241300"/>
                  </a:lnTo>
                  <a:lnTo>
                    <a:pt x="60325" y="254000"/>
                  </a:lnTo>
                  <a:lnTo>
                    <a:pt x="57150" y="263525"/>
                  </a:lnTo>
                  <a:lnTo>
                    <a:pt x="47625" y="269875"/>
                  </a:lnTo>
                  <a:lnTo>
                    <a:pt x="41275" y="269875"/>
                  </a:lnTo>
                  <a:lnTo>
                    <a:pt x="19050" y="269875"/>
                  </a:lnTo>
                  <a:lnTo>
                    <a:pt x="9525" y="266700"/>
                  </a:lnTo>
                  <a:lnTo>
                    <a:pt x="0" y="257175"/>
                  </a:lnTo>
                  <a:lnTo>
                    <a:pt x="12700" y="250825"/>
                  </a:lnTo>
                  <a:lnTo>
                    <a:pt x="22225" y="234950"/>
                  </a:lnTo>
                  <a:lnTo>
                    <a:pt x="25400" y="231775"/>
                  </a:lnTo>
                  <a:lnTo>
                    <a:pt x="31750" y="228600"/>
                  </a:lnTo>
                  <a:close/>
                  <a:moveTo>
                    <a:pt x="44450" y="200025"/>
                  </a:moveTo>
                  <a:lnTo>
                    <a:pt x="44450" y="212725"/>
                  </a:lnTo>
                  <a:lnTo>
                    <a:pt x="38100" y="209550"/>
                  </a:lnTo>
                  <a:lnTo>
                    <a:pt x="38100" y="203200"/>
                  </a:lnTo>
                  <a:close/>
                  <a:moveTo>
                    <a:pt x="44450" y="174625"/>
                  </a:moveTo>
                  <a:lnTo>
                    <a:pt x="53975" y="184150"/>
                  </a:lnTo>
                  <a:lnTo>
                    <a:pt x="47625" y="187325"/>
                  </a:lnTo>
                  <a:lnTo>
                    <a:pt x="41275" y="180975"/>
                  </a:lnTo>
                  <a:close/>
                  <a:moveTo>
                    <a:pt x="38100" y="133350"/>
                  </a:moveTo>
                  <a:lnTo>
                    <a:pt x="44450" y="136525"/>
                  </a:lnTo>
                  <a:lnTo>
                    <a:pt x="47625" y="149225"/>
                  </a:lnTo>
                  <a:lnTo>
                    <a:pt x="47625" y="152400"/>
                  </a:lnTo>
                  <a:lnTo>
                    <a:pt x="41275" y="152400"/>
                  </a:lnTo>
                  <a:lnTo>
                    <a:pt x="38100" y="146050"/>
                  </a:lnTo>
                  <a:lnTo>
                    <a:pt x="31750" y="142875"/>
                  </a:lnTo>
                  <a:close/>
                  <a:moveTo>
                    <a:pt x="22225" y="133350"/>
                  </a:moveTo>
                  <a:lnTo>
                    <a:pt x="22225" y="136525"/>
                  </a:lnTo>
                  <a:lnTo>
                    <a:pt x="19050" y="136525"/>
                  </a:lnTo>
                  <a:lnTo>
                    <a:pt x="19050" y="139700"/>
                  </a:lnTo>
                  <a:lnTo>
                    <a:pt x="12700" y="136525"/>
                  </a:lnTo>
                  <a:close/>
                  <a:moveTo>
                    <a:pt x="41274" y="98425"/>
                  </a:moveTo>
                  <a:lnTo>
                    <a:pt x="44449" y="101600"/>
                  </a:lnTo>
                  <a:lnTo>
                    <a:pt x="38099" y="117475"/>
                  </a:lnTo>
                  <a:lnTo>
                    <a:pt x="31749" y="117475"/>
                  </a:lnTo>
                  <a:lnTo>
                    <a:pt x="28574" y="127000"/>
                  </a:lnTo>
                  <a:lnTo>
                    <a:pt x="25399" y="127000"/>
                  </a:lnTo>
                  <a:lnTo>
                    <a:pt x="25399" y="123825"/>
                  </a:lnTo>
                  <a:lnTo>
                    <a:pt x="28574" y="123825"/>
                  </a:lnTo>
                  <a:lnTo>
                    <a:pt x="25399" y="120650"/>
                  </a:lnTo>
                  <a:lnTo>
                    <a:pt x="25399" y="111125"/>
                  </a:lnTo>
                  <a:lnTo>
                    <a:pt x="38099" y="101600"/>
                  </a:lnTo>
                  <a:close/>
                  <a:moveTo>
                    <a:pt x="73024" y="92075"/>
                  </a:moveTo>
                  <a:lnTo>
                    <a:pt x="76199" y="95250"/>
                  </a:lnTo>
                  <a:lnTo>
                    <a:pt x="101599" y="95250"/>
                  </a:lnTo>
                  <a:lnTo>
                    <a:pt x="111124" y="92075"/>
                  </a:lnTo>
                  <a:lnTo>
                    <a:pt x="107949" y="107950"/>
                  </a:lnTo>
                  <a:lnTo>
                    <a:pt x="85724" y="123825"/>
                  </a:lnTo>
                  <a:lnTo>
                    <a:pt x="88899" y="130175"/>
                  </a:lnTo>
                  <a:lnTo>
                    <a:pt x="82549" y="133350"/>
                  </a:lnTo>
                  <a:lnTo>
                    <a:pt x="85724" y="136525"/>
                  </a:lnTo>
                  <a:lnTo>
                    <a:pt x="101599" y="133350"/>
                  </a:lnTo>
                  <a:lnTo>
                    <a:pt x="126999" y="133350"/>
                  </a:lnTo>
                  <a:lnTo>
                    <a:pt x="133349" y="133350"/>
                  </a:lnTo>
                  <a:lnTo>
                    <a:pt x="139699" y="139700"/>
                  </a:lnTo>
                  <a:lnTo>
                    <a:pt x="123824" y="180975"/>
                  </a:lnTo>
                  <a:lnTo>
                    <a:pt x="114299" y="190500"/>
                  </a:lnTo>
                  <a:lnTo>
                    <a:pt x="107949" y="196850"/>
                  </a:lnTo>
                  <a:lnTo>
                    <a:pt x="114299" y="200025"/>
                  </a:lnTo>
                  <a:lnTo>
                    <a:pt x="117474" y="196850"/>
                  </a:lnTo>
                  <a:lnTo>
                    <a:pt x="126999" y="200025"/>
                  </a:lnTo>
                  <a:lnTo>
                    <a:pt x="136524" y="209550"/>
                  </a:lnTo>
                  <a:lnTo>
                    <a:pt x="142874" y="219075"/>
                  </a:lnTo>
                  <a:lnTo>
                    <a:pt x="142874" y="222250"/>
                  </a:lnTo>
                  <a:lnTo>
                    <a:pt x="142874" y="228600"/>
                  </a:lnTo>
                  <a:lnTo>
                    <a:pt x="158749" y="250825"/>
                  </a:lnTo>
                  <a:lnTo>
                    <a:pt x="171449" y="266700"/>
                  </a:lnTo>
                  <a:lnTo>
                    <a:pt x="184149" y="298450"/>
                  </a:lnTo>
                  <a:lnTo>
                    <a:pt x="184149" y="307975"/>
                  </a:lnTo>
                  <a:lnTo>
                    <a:pt x="187324" y="314325"/>
                  </a:lnTo>
                  <a:lnTo>
                    <a:pt x="200024" y="311150"/>
                  </a:lnTo>
                  <a:lnTo>
                    <a:pt x="212724" y="317500"/>
                  </a:lnTo>
                  <a:lnTo>
                    <a:pt x="215899" y="330200"/>
                  </a:lnTo>
                  <a:lnTo>
                    <a:pt x="212724" y="342900"/>
                  </a:lnTo>
                  <a:lnTo>
                    <a:pt x="206374" y="346075"/>
                  </a:lnTo>
                  <a:lnTo>
                    <a:pt x="203199" y="352425"/>
                  </a:lnTo>
                  <a:lnTo>
                    <a:pt x="196849" y="358775"/>
                  </a:lnTo>
                  <a:lnTo>
                    <a:pt x="196849" y="365125"/>
                  </a:lnTo>
                  <a:lnTo>
                    <a:pt x="203199" y="365125"/>
                  </a:lnTo>
                  <a:lnTo>
                    <a:pt x="209549" y="365125"/>
                  </a:lnTo>
                  <a:lnTo>
                    <a:pt x="206374" y="374650"/>
                  </a:lnTo>
                  <a:lnTo>
                    <a:pt x="200024" y="377825"/>
                  </a:lnTo>
                  <a:lnTo>
                    <a:pt x="184149" y="387350"/>
                  </a:lnTo>
                  <a:lnTo>
                    <a:pt x="177799" y="387350"/>
                  </a:lnTo>
                  <a:lnTo>
                    <a:pt x="165099" y="387350"/>
                  </a:lnTo>
                  <a:lnTo>
                    <a:pt x="133349" y="390525"/>
                  </a:lnTo>
                  <a:lnTo>
                    <a:pt x="133349" y="393700"/>
                  </a:lnTo>
                  <a:lnTo>
                    <a:pt x="123824" y="390525"/>
                  </a:lnTo>
                  <a:lnTo>
                    <a:pt x="107949" y="390525"/>
                  </a:lnTo>
                  <a:lnTo>
                    <a:pt x="98424" y="400050"/>
                  </a:lnTo>
                  <a:lnTo>
                    <a:pt x="92074" y="403225"/>
                  </a:lnTo>
                  <a:lnTo>
                    <a:pt x="88899" y="403225"/>
                  </a:lnTo>
                  <a:lnTo>
                    <a:pt x="69849" y="406400"/>
                  </a:lnTo>
                  <a:lnTo>
                    <a:pt x="57149" y="412750"/>
                  </a:lnTo>
                  <a:lnTo>
                    <a:pt x="57149" y="406400"/>
                  </a:lnTo>
                  <a:lnTo>
                    <a:pt x="60324" y="406400"/>
                  </a:lnTo>
                  <a:lnTo>
                    <a:pt x="66674" y="403225"/>
                  </a:lnTo>
                  <a:lnTo>
                    <a:pt x="79374" y="387350"/>
                  </a:lnTo>
                  <a:lnTo>
                    <a:pt x="85724" y="374650"/>
                  </a:lnTo>
                  <a:lnTo>
                    <a:pt x="95249" y="371475"/>
                  </a:lnTo>
                  <a:lnTo>
                    <a:pt x="104774" y="374650"/>
                  </a:lnTo>
                  <a:lnTo>
                    <a:pt x="111124" y="371475"/>
                  </a:lnTo>
                  <a:lnTo>
                    <a:pt x="114299" y="368300"/>
                  </a:lnTo>
                  <a:lnTo>
                    <a:pt x="123824" y="355600"/>
                  </a:lnTo>
                  <a:lnTo>
                    <a:pt x="117474" y="361950"/>
                  </a:lnTo>
                  <a:lnTo>
                    <a:pt x="114299" y="361950"/>
                  </a:lnTo>
                  <a:lnTo>
                    <a:pt x="107949" y="365125"/>
                  </a:lnTo>
                  <a:lnTo>
                    <a:pt x="101599" y="365125"/>
                  </a:lnTo>
                  <a:lnTo>
                    <a:pt x="95249" y="361950"/>
                  </a:lnTo>
                  <a:lnTo>
                    <a:pt x="88899" y="358775"/>
                  </a:lnTo>
                  <a:lnTo>
                    <a:pt x="88899" y="355600"/>
                  </a:lnTo>
                  <a:lnTo>
                    <a:pt x="79374" y="355600"/>
                  </a:lnTo>
                  <a:lnTo>
                    <a:pt x="76199" y="355600"/>
                  </a:lnTo>
                  <a:lnTo>
                    <a:pt x="69849" y="355600"/>
                  </a:lnTo>
                  <a:lnTo>
                    <a:pt x="66674" y="355600"/>
                  </a:lnTo>
                  <a:lnTo>
                    <a:pt x="63499" y="349250"/>
                  </a:lnTo>
                  <a:lnTo>
                    <a:pt x="66674" y="342900"/>
                  </a:lnTo>
                  <a:lnTo>
                    <a:pt x="73024" y="342900"/>
                  </a:lnTo>
                  <a:lnTo>
                    <a:pt x="79374" y="339725"/>
                  </a:lnTo>
                  <a:lnTo>
                    <a:pt x="85724" y="333375"/>
                  </a:lnTo>
                  <a:lnTo>
                    <a:pt x="88899" y="320675"/>
                  </a:lnTo>
                  <a:lnTo>
                    <a:pt x="82549" y="314325"/>
                  </a:lnTo>
                  <a:lnTo>
                    <a:pt x="79374" y="314325"/>
                  </a:lnTo>
                  <a:lnTo>
                    <a:pt x="76199" y="317500"/>
                  </a:lnTo>
                  <a:lnTo>
                    <a:pt x="79374" y="307975"/>
                  </a:lnTo>
                  <a:lnTo>
                    <a:pt x="85090" y="304165"/>
                  </a:lnTo>
                  <a:lnTo>
                    <a:pt x="79375" y="298450"/>
                  </a:lnTo>
                  <a:lnTo>
                    <a:pt x="82550" y="295275"/>
                  </a:lnTo>
                  <a:lnTo>
                    <a:pt x="88900" y="298450"/>
                  </a:lnTo>
                  <a:lnTo>
                    <a:pt x="86520" y="303212"/>
                  </a:lnTo>
                  <a:lnTo>
                    <a:pt x="88899" y="301625"/>
                  </a:lnTo>
                  <a:lnTo>
                    <a:pt x="95249" y="298450"/>
                  </a:lnTo>
                  <a:lnTo>
                    <a:pt x="104774" y="298450"/>
                  </a:lnTo>
                  <a:lnTo>
                    <a:pt x="114299" y="295275"/>
                  </a:lnTo>
                  <a:lnTo>
                    <a:pt x="111124" y="279400"/>
                  </a:lnTo>
                  <a:lnTo>
                    <a:pt x="107949" y="269875"/>
                  </a:lnTo>
                  <a:lnTo>
                    <a:pt x="104774" y="266700"/>
                  </a:lnTo>
                  <a:lnTo>
                    <a:pt x="104774" y="263525"/>
                  </a:lnTo>
                  <a:lnTo>
                    <a:pt x="101599" y="250825"/>
                  </a:lnTo>
                  <a:lnTo>
                    <a:pt x="104774" y="241300"/>
                  </a:lnTo>
                  <a:lnTo>
                    <a:pt x="82549" y="244475"/>
                  </a:lnTo>
                  <a:lnTo>
                    <a:pt x="66674" y="241300"/>
                  </a:lnTo>
                  <a:lnTo>
                    <a:pt x="76199" y="222250"/>
                  </a:lnTo>
                  <a:lnTo>
                    <a:pt x="76199" y="212725"/>
                  </a:lnTo>
                  <a:lnTo>
                    <a:pt x="73024" y="209550"/>
                  </a:lnTo>
                  <a:lnTo>
                    <a:pt x="73024" y="203200"/>
                  </a:lnTo>
                  <a:lnTo>
                    <a:pt x="73024" y="193675"/>
                  </a:lnTo>
                  <a:lnTo>
                    <a:pt x="69849" y="203200"/>
                  </a:lnTo>
                  <a:lnTo>
                    <a:pt x="63499" y="203200"/>
                  </a:lnTo>
                  <a:lnTo>
                    <a:pt x="63499" y="200025"/>
                  </a:lnTo>
                  <a:lnTo>
                    <a:pt x="60324" y="206375"/>
                  </a:lnTo>
                  <a:lnTo>
                    <a:pt x="60324" y="215900"/>
                  </a:lnTo>
                  <a:lnTo>
                    <a:pt x="53974" y="225425"/>
                  </a:lnTo>
                  <a:lnTo>
                    <a:pt x="53974" y="215900"/>
                  </a:lnTo>
                  <a:lnTo>
                    <a:pt x="57149" y="193675"/>
                  </a:lnTo>
                  <a:lnTo>
                    <a:pt x="57149" y="177800"/>
                  </a:lnTo>
                  <a:lnTo>
                    <a:pt x="50799" y="177800"/>
                  </a:lnTo>
                  <a:lnTo>
                    <a:pt x="44449" y="171450"/>
                  </a:lnTo>
                  <a:lnTo>
                    <a:pt x="44449" y="168275"/>
                  </a:lnTo>
                  <a:lnTo>
                    <a:pt x="50799" y="165100"/>
                  </a:lnTo>
                  <a:lnTo>
                    <a:pt x="50799" y="158750"/>
                  </a:lnTo>
                  <a:lnTo>
                    <a:pt x="57149" y="158750"/>
                  </a:lnTo>
                  <a:lnTo>
                    <a:pt x="53974" y="155575"/>
                  </a:lnTo>
                  <a:lnTo>
                    <a:pt x="53974" y="146050"/>
                  </a:lnTo>
                  <a:lnTo>
                    <a:pt x="50799" y="136525"/>
                  </a:lnTo>
                  <a:lnTo>
                    <a:pt x="53974" y="130175"/>
                  </a:lnTo>
                  <a:lnTo>
                    <a:pt x="60324" y="117475"/>
                  </a:lnTo>
                  <a:lnTo>
                    <a:pt x="63499" y="114300"/>
                  </a:lnTo>
                  <a:lnTo>
                    <a:pt x="60324" y="107950"/>
                  </a:lnTo>
                  <a:lnTo>
                    <a:pt x="66674" y="98425"/>
                  </a:lnTo>
                  <a:close/>
                  <a:moveTo>
                    <a:pt x="104774" y="76200"/>
                  </a:moveTo>
                  <a:lnTo>
                    <a:pt x="120649" y="79375"/>
                  </a:lnTo>
                  <a:lnTo>
                    <a:pt x="111124" y="82550"/>
                  </a:lnTo>
                  <a:close/>
                  <a:moveTo>
                    <a:pt x="149224" y="6350"/>
                  </a:moveTo>
                  <a:lnTo>
                    <a:pt x="149224" y="12700"/>
                  </a:lnTo>
                  <a:lnTo>
                    <a:pt x="149224" y="19050"/>
                  </a:lnTo>
                  <a:lnTo>
                    <a:pt x="152399" y="15875"/>
                  </a:lnTo>
                  <a:lnTo>
                    <a:pt x="155574" y="19050"/>
                  </a:lnTo>
                  <a:lnTo>
                    <a:pt x="152399" y="28575"/>
                  </a:lnTo>
                  <a:lnTo>
                    <a:pt x="149224" y="41275"/>
                  </a:lnTo>
                  <a:lnTo>
                    <a:pt x="149224" y="38100"/>
                  </a:lnTo>
                  <a:lnTo>
                    <a:pt x="146049" y="25400"/>
                  </a:lnTo>
                  <a:lnTo>
                    <a:pt x="146049" y="28575"/>
                  </a:lnTo>
                  <a:lnTo>
                    <a:pt x="142874" y="25400"/>
                  </a:lnTo>
                  <a:lnTo>
                    <a:pt x="146049" y="22225"/>
                  </a:lnTo>
                  <a:lnTo>
                    <a:pt x="146049" y="15875"/>
                  </a:lnTo>
                  <a:lnTo>
                    <a:pt x="142874" y="15875"/>
                  </a:lnTo>
                  <a:close/>
                  <a:moveTo>
                    <a:pt x="158749" y="0"/>
                  </a:moveTo>
                  <a:lnTo>
                    <a:pt x="158749" y="6350"/>
                  </a:lnTo>
                  <a:lnTo>
                    <a:pt x="155574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Google Shape;512;p35">
              <a:extLst>
                <a:ext uri="{FF2B5EF4-FFF2-40B4-BE49-F238E27FC236}">
                  <a16:creationId xmlns:a16="http://schemas.microsoft.com/office/drawing/2014/main" id="{402F2111-A313-3256-F0B3-00AFA3F425DE}"/>
                </a:ext>
              </a:extLst>
            </p:cNvPr>
            <p:cNvSpPr/>
            <p:nvPr/>
          </p:nvSpPr>
          <p:spPr>
            <a:xfrm>
              <a:off x="6259910" y="2794238"/>
              <a:ext cx="231457" cy="471488"/>
            </a:xfrm>
            <a:custGeom>
              <a:avLst/>
              <a:gdLst/>
              <a:ahLst/>
              <a:cxnLst/>
              <a:rect l="l" t="t" r="r" b="b"/>
              <a:pathLst>
                <a:path w="257175" h="523875" extrusionOk="0">
                  <a:moveTo>
                    <a:pt x="3175" y="504825"/>
                  </a:moveTo>
                  <a:lnTo>
                    <a:pt x="12700" y="508000"/>
                  </a:lnTo>
                  <a:lnTo>
                    <a:pt x="6350" y="517525"/>
                  </a:lnTo>
                  <a:lnTo>
                    <a:pt x="0" y="517525"/>
                  </a:lnTo>
                  <a:lnTo>
                    <a:pt x="0" y="508000"/>
                  </a:lnTo>
                  <a:close/>
                  <a:moveTo>
                    <a:pt x="177800" y="0"/>
                  </a:moveTo>
                  <a:lnTo>
                    <a:pt x="187325" y="15875"/>
                  </a:lnTo>
                  <a:lnTo>
                    <a:pt x="196850" y="19050"/>
                  </a:lnTo>
                  <a:lnTo>
                    <a:pt x="203200" y="25400"/>
                  </a:lnTo>
                  <a:lnTo>
                    <a:pt x="206375" y="38100"/>
                  </a:lnTo>
                  <a:lnTo>
                    <a:pt x="200025" y="47625"/>
                  </a:lnTo>
                  <a:lnTo>
                    <a:pt x="196850" y="57150"/>
                  </a:lnTo>
                  <a:lnTo>
                    <a:pt x="200025" y="63500"/>
                  </a:lnTo>
                  <a:lnTo>
                    <a:pt x="193675" y="66675"/>
                  </a:lnTo>
                  <a:lnTo>
                    <a:pt x="187325" y="73025"/>
                  </a:lnTo>
                  <a:lnTo>
                    <a:pt x="187325" y="92075"/>
                  </a:lnTo>
                  <a:lnTo>
                    <a:pt x="190500" y="104775"/>
                  </a:lnTo>
                  <a:lnTo>
                    <a:pt x="196850" y="114300"/>
                  </a:lnTo>
                  <a:lnTo>
                    <a:pt x="203200" y="117475"/>
                  </a:lnTo>
                  <a:lnTo>
                    <a:pt x="215900" y="130175"/>
                  </a:lnTo>
                  <a:lnTo>
                    <a:pt x="222250" y="139700"/>
                  </a:lnTo>
                  <a:lnTo>
                    <a:pt x="222250" y="149225"/>
                  </a:lnTo>
                  <a:lnTo>
                    <a:pt x="212725" y="165100"/>
                  </a:lnTo>
                  <a:lnTo>
                    <a:pt x="206375" y="174625"/>
                  </a:lnTo>
                  <a:lnTo>
                    <a:pt x="203200" y="184150"/>
                  </a:lnTo>
                  <a:lnTo>
                    <a:pt x="209550" y="200025"/>
                  </a:lnTo>
                  <a:lnTo>
                    <a:pt x="225425" y="247650"/>
                  </a:lnTo>
                  <a:lnTo>
                    <a:pt x="219075" y="254000"/>
                  </a:lnTo>
                  <a:lnTo>
                    <a:pt x="215900" y="266700"/>
                  </a:lnTo>
                  <a:lnTo>
                    <a:pt x="212725" y="285750"/>
                  </a:lnTo>
                  <a:lnTo>
                    <a:pt x="219075" y="298450"/>
                  </a:lnTo>
                  <a:lnTo>
                    <a:pt x="228600" y="307975"/>
                  </a:lnTo>
                  <a:lnTo>
                    <a:pt x="234950" y="333375"/>
                  </a:lnTo>
                  <a:lnTo>
                    <a:pt x="225425" y="346075"/>
                  </a:lnTo>
                  <a:lnTo>
                    <a:pt x="222250" y="349250"/>
                  </a:lnTo>
                  <a:lnTo>
                    <a:pt x="225425" y="355600"/>
                  </a:lnTo>
                  <a:lnTo>
                    <a:pt x="234950" y="365125"/>
                  </a:lnTo>
                  <a:lnTo>
                    <a:pt x="257175" y="390525"/>
                  </a:lnTo>
                  <a:lnTo>
                    <a:pt x="250825" y="406400"/>
                  </a:lnTo>
                  <a:lnTo>
                    <a:pt x="241300" y="415925"/>
                  </a:lnTo>
                  <a:lnTo>
                    <a:pt x="219075" y="450850"/>
                  </a:lnTo>
                  <a:lnTo>
                    <a:pt x="174625" y="498475"/>
                  </a:lnTo>
                  <a:lnTo>
                    <a:pt x="161925" y="501650"/>
                  </a:lnTo>
                  <a:lnTo>
                    <a:pt x="149225" y="501650"/>
                  </a:lnTo>
                  <a:lnTo>
                    <a:pt x="120650" y="511175"/>
                  </a:lnTo>
                  <a:lnTo>
                    <a:pt x="107950" y="517525"/>
                  </a:lnTo>
                  <a:lnTo>
                    <a:pt x="98425" y="520700"/>
                  </a:lnTo>
                  <a:lnTo>
                    <a:pt x="98425" y="517525"/>
                  </a:lnTo>
                  <a:lnTo>
                    <a:pt x="95250" y="520700"/>
                  </a:lnTo>
                  <a:lnTo>
                    <a:pt x="73025" y="523875"/>
                  </a:lnTo>
                  <a:lnTo>
                    <a:pt x="66675" y="514350"/>
                  </a:lnTo>
                  <a:lnTo>
                    <a:pt x="60325" y="504825"/>
                  </a:lnTo>
                  <a:lnTo>
                    <a:pt x="50800" y="501650"/>
                  </a:lnTo>
                  <a:lnTo>
                    <a:pt x="38100" y="498475"/>
                  </a:lnTo>
                  <a:lnTo>
                    <a:pt x="34925" y="488950"/>
                  </a:lnTo>
                  <a:lnTo>
                    <a:pt x="34925" y="473075"/>
                  </a:lnTo>
                  <a:lnTo>
                    <a:pt x="38100" y="466725"/>
                  </a:lnTo>
                  <a:lnTo>
                    <a:pt x="41275" y="450850"/>
                  </a:lnTo>
                  <a:lnTo>
                    <a:pt x="31750" y="425450"/>
                  </a:lnTo>
                  <a:lnTo>
                    <a:pt x="31750" y="393700"/>
                  </a:lnTo>
                  <a:lnTo>
                    <a:pt x="44450" y="377825"/>
                  </a:lnTo>
                  <a:lnTo>
                    <a:pt x="47625" y="377825"/>
                  </a:lnTo>
                  <a:lnTo>
                    <a:pt x="50800" y="374650"/>
                  </a:lnTo>
                  <a:lnTo>
                    <a:pt x="57150" y="365125"/>
                  </a:lnTo>
                  <a:lnTo>
                    <a:pt x="57150" y="358775"/>
                  </a:lnTo>
                  <a:lnTo>
                    <a:pt x="63500" y="352425"/>
                  </a:lnTo>
                  <a:lnTo>
                    <a:pt x="79375" y="336550"/>
                  </a:lnTo>
                  <a:lnTo>
                    <a:pt x="98425" y="314325"/>
                  </a:lnTo>
                  <a:lnTo>
                    <a:pt x="101600" y="307975"/>
                  </a:lnTo>
                  <a:lnTo>
                    <a:pt x="101600" y="301625"/>
                  </a:lnTo>
                  <a:lnTo>
                    <a:pt x="114300" y="292100"/>
                  </a:lnTo>
                  <a:lnTo>
                    <a:pt x="120650" y="295275"/>
                  </a:lnTo>
                  <a:lnTo>
                    <a:pt x="120650" y="266700"/>
                  </a:lnTo>
                  <a:lnTo>
                    <a:pt x="111125" y="254000"/>
                  </a:lnTo>
                  <a:lnTo>
                    <a:pt x="107950" y="254000"/>
                  </a:lnTo>
                  <a:lnTo>
                    <a:pt x="104775" y="247650"/>
                  </a:lnTo>
                  <a:lnTo>
                    <a:pt x="101600" y="247650"/>
                  </a:lnTo>
                  <a:lnTo>
                    <a:pt x="95250" y="244475"/>
                  </a:lnTo>
                  <a:lnTo>
                    <a:pt x="92075" y="228600"/>
                  </a:lnTo>
                  <a:lnTo>
                    <a:pt x="88900" y="203200"/>
                  </a:lnTo>
                  <a:lnTo>
                    <a:pt x="92075" y="187325"/>
                  </a:lnTo>
                  <a:lnTo>
                    <a:pt x="82550" y="171450"/>
                  </a:lnTo>
                  <a:lnTo>
                    <a:pt x="85725" y="158750"/>
                  </a:lnTo>
                  <a:lnTo>
                    <a:pt x="82550" y="127000"/>
                  </a:lnTo>
                  <a:lnTo>
                    <a:pt x="73025" y="107950"/>
                  </a:lnTo>
                  <a:lnTo>
                    <a:pt x="63500" y="101600"/>
                  </a:lnTo>
                  <a:lnTo>
                    <a:pt x="44450" y="88900"/>
                  </a:lnTo>
                  <a:lnTo>
                    <a:pt x="25400" y="69850"/>
                  </a:lnTo>
                  <a:lnTo>
                    <a:pt x="19050" y="63500"/>
                  </a:lnTo>
                  <a:lnTo>
                    <a:pt x="28575" y="50800"/>
                  </a:lnTo>
                  <a:lnTo>
                    <a:pt x="34925" y="47625"/>
                  </a:lnTo>
                  <a:lnTo>
                    <a:pt x="41275" y="47625"/>
                  </a:lnTo>
                  <a:lnTo>
                    <a:pt x="47625" y="57150"/>
                  </a:lnTo>
                  <a:lnTo>
                    <a:pt x="53975" y="69850"/>
                  </a:lnTo>
                  <a:lnTo>
                    <a:pt x="63500" y="82550"/>
                  </a:lnTo>
                  <a:lnTo>
                    <a:pt x="76200" y="88900"/>
                  </a:lnTo>
                  <a:lnTo>
                    <a:pt x="85725" y="82550"/>
                  </a:lnTo>
                  <a:lnTo>
                    <a:pt x="95250" y="79375"/>
                  </a:lnTo>
                  <a:lnTo>
                    <a:pt x="101600" y="82550"/>
                  </a:lnTo>
                  <a:lnTo>
                    <a:pt x="111125" y="88900"/>
                  </a:lnTo>
                  <a:lnTo>
                    <a:pt x="130175" y="60325"/>
                  </a:lnTo>
                  <a:lnTo>
                    <a:pt x="130175" y="47625"/>
                  </a:lnTo>
                  <a:lnTo>
                    <a:pt x="130175" y="41275"/>
                  </a:lnTo>
                  <a:lnTo>
                    <a:pt x="139700" y="19050"/>
                  </a:lnTo>
                  <a:lnTo>
                    <a:pt x="146050" y="6350"/>
                  </a:lnTo>
                  <a:lnTo>
                    <a:pt x="158750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513;p35">
              <a:extLst>
                <a:ext uri="{FF2B5EF4-FFF2-40B4-BE49-F238E27FC236}">
                  <a16:creationId xmlns:a16="http://schemas.microsoft.com/office/drawing/2014/main" id="{94D61942-CBB3-7F33-6127-45486299D269}"/>
                </a:ext>
              </a:extLst>
            </p:cNvPr>
            <p:cNvSpPr/>
            <p:nvPr/>
          </p:nvSpPr>
          <p:spPr>
            <a:xfrm>
              <a:off x="6092745" y="2851388"/>
              <a:ext cx="252889" cy="591502"/>
            </a:xfrm>
            <a:custGeom>
              <a:avLst/>
              <a:gdLst/>
              <a:ahLst/>
              <a:cxnLst/>
              <a:rect l="l" t="t" r="r" b="b"/>
              <a:pathLst>
                <a:path w="280988" h="657225" extrusionOk="0">
                  <a:moveTo>
                    <a:pt x="80963" y="647700"/>
                  </a:moveTo>
                  <a:lnTo>
                    <a:pt x="87313" y="654050"/>
                  </a:lnTo>
                  <a:lnTo>
                    <a:pt x="84138" y="657225"/>
                  </a:lnTo>
                  <a:lnTo>
                    <a:pt x="77788" y="654050"/>
                  </a:lnTo>
                  <a:close/>
                  <a:moveTo>
                    <a:pt x="128588" y="568325"/>
                  </a:moveTo>
                  <a:lnTo>
                    <a:pt x="122238" y="593725"/>
                  </a:lnTo>
                  <a:lnTo>
                    <a:pt x="115888" y="612775"/>
                  </a:lnTo>
                  <a:lnTo>
                    <a:pt x="112713" y="600075"/>
                  </a:lnTo>
                  <a:lnTo>
                    <a:pt x="119063" y="590550"/>
                  </a:lnTo>
                  <a:close/>
                  <a:moveTo>
                    <a:pt x="163513" y="546100"/>
                  </a:moveTo>
                  <a:lnTo>
                    <a:pt x="169863" y="546100"/>
                  </a:lnTo>
                  <a:lnTo>
                    <a:pt x="169863" y="549275"/>
                  </a:lnTo>
                  <a:lnTo>
                    <a:pt x="169863" y="552450"/>
                  </a:lnTo>
                  <a:lnTo>
                    <a:pt x="166688" y="552450"/>
                  </a:lnTo>
                  <a:lnTo>
                    <a:pt x="166688" y="558800"/>
                  </a:lnTo>
                  <a:lnTo>
                    <a:pt x="166688" y="561975"/>
                  </a:lnTo>
                  <a:lnTo>
                    <a:pt x="160338" y="574675"/>
                  </a:lnTo>
                  <a:lnTo>
                    <a:pt x="153988" y="581025"/>
                  </a:lnTo>
                  <a:lnTo>
                    <a:pt x="150813" y="561975"/>
                  </a:lnTo>
                  <a:lnTo>
                    <a:pt x="157163" y="552450"/>
                  </a:lnTo>
                  <a:close/>
                  <a:moveTo>
                    <a:pt x="195263" y="0"/>
                  </a:moveTo>
                  <a:lnTo>
                    <a:pt x="204788" y="0"/>
                  </a:lnTo>
                  <a:lnTo>
                    <a:pt x="211138" y="6350"/>
                  </a:lnTo>
                  <a:lnTo>
                    <a:pt x="230188" y="25400"/>
                  </a:lnTo>
                  <a:lnTo>
                    <a:pt x="249238" y="38100"/>
                  </a:lnTo>
                  <a:lnTo>
                    <a:pt x="258763" y="44450"/>
                  </a:lnTo>
                  <a:lnTo>
                    <a:pt x="268288" y="63500"/>
                  </a:lnTo>
                  <a:lnTo>
                    <a:pt x="271463" y="95250"/>
                  </a:lnTo>
                  <a:lnTo>
                    <a:pt x="268288" y="107950"/>
                  </a:lnTo>
                  <a:lnTo>
                    <a:pt x="277813" y="123825"/>
                  </a:lnTo>
                  <a:lnTo>
                    <a:pt x="274638" y="139700"/>
                  </a:lnTo>
                  <a:lnTo>
                    <a:pt x="277813" y="165100"/>
                  </a:lnTo>
                  <a:lnTo>
                    <a:pt x="280988" y="180975"/>
                  </a:lnTo>
                  <a:lnTo>
                    <a:pt x="268288" y="184150"/>
                  </a:lnTo>
                  <a:lnTo>
                    <a:pt x="252413" y="180975"/>
                  </a:lnTo>
                  <a:lnTo>
                    <a:pt x="242888" y="180975"/>
                  </a:lnTo>
                  <a:lnTo>
                    <a:pt x="236538" y="193675"/>
                  </a:lnTo>
                  <a:lnTo>
                    <a:pt x="233363" y="203200"/>
                  </a:lnTo>
                  <a:lnTo>
                    <a:pt x="223838" y="225425"/>
                  </a:lnTo>
                  <a:lnTo>
                    <a:pt x="217488" y="231775"/>
                  </a:lnTo>
                  <a:lnTo>
                    <a:pt x="220663" y="244475"/>
                  </a:lnTo>
                  <a:lnTo>
                    <a:pt x="220663" y="247650"/>
                  </a:lnTo>
                  <a:lnTo>
                    <a:pt x="220663" y="257175"/>
                  </a:lnTo>
                  <a:lnTo>
                    <a:pt x="217488" y="263525"/>
                  </a:lnTo>
                  <a:lnTo>
                    <a:pt x="204788" y="282575"/>
                  </a:lnTo>
                  <a:lnTo>
                    <a:pt x="192088" y="292100"/>
                  </a:lnTo>
                  <a:lnTo>
                    <a:pt x="176213" y="301625"/>
                  </a:lnTo>
                  <a:lnTo>
                    <a:pt x="173038" y="307975"/>
                  </a:lnTo>
                  <a:lnTo>
                    <a:pt x="157163" y="323850"/>
                  </a:lnTo>
                  <a:lnTo>
                    <a:pt x="160338" y="327025"/>
                  </a:lnTo>
                  <a:lnTo>
                    <a:pt x="150813" y="336550"/>
                  </a:lnTo>
                  <a:lnTo>
                    <a:pt x="144463" y="346075"/>
                  </a:lnTo>
                  <a:lnTo>
                    <a:pt x="141288" y="346075"/>
                  </a:lnTo>
                  <a:lnTo>
                    <a:pt x="138113" y="346075"/>
                  </a:lnTo>
                  <a:lnTo>
                    <a:pt x="134937" y="365125"/>
                  </a:lnTo>
                  <a:lnTo>
                    <a:pt x="134937" y="381000"/>
                  </a:lnTo>
                  <a:lnTo>
                    <a:pt x="128587" y="384175"/>
                  </a:lnTo>
                  <a:lnTo>
                    <a:pt x="128587" y="393700"/>
                  </a:lnTo>
                  <a:lnTo>
                    <a:pt x="131762" y="400050"/>
                  </a:lnTo>
                  <a:lnTo>
                    <a:pt x="131762" y="403225"/>
                  </a:lnTo>
                  <a:lnTo>
                    <a:pt x="131762" y="415925"/>
                  </a:lnTo>
                  <a:lnTo>
                    <a:pt x="138113" y="428625"/>
                  </a:lnTo>
                  <a:lnTo>
                    <a:pt x="147638" y="431800"/>
                  </a:lnTo>
                  <a:lnTo>
                    <a:pt x="160338" y="447675"/>
                  </a:lnTo>
                  <a:lnTo>
                    <a:pt x="166688" y="450850"/>
                  </a:lnTo>
                  <a:lnTo>
                    <a:pt x="166688" y="460375"/>
                  </a:lnTo>
                  <a:lnTo>
                    <a:pt x="163513" y="473075"/>
                  </a:lnTo>
                  <a:lnTo>
                    <a:pt x="147638" y="501650"/>
                  </a:lnTo>
                  <a:lnTo>
                    <a:pt x="131762" y="511175"/>
                  </a:lnTo>
                  <a:lnTo>
                    <a:pt x="125412" y="514350"/>
                  </a:lnTo>
                  <a:lnTo>
                    <a:pt x="122237" y="527050"/>
                  </a:lnTo>
                  <a:lnTo>
                    <a:pt x="119062" y="542925"/>
                  </a:lnTo>
                  <a:lnTo>
                    <a:pt x="122237" y="552450"/>
                  </a:lnTo>
                  <a:lnTo>
                    <a:pt x="122237" y="555625"/>
                  </a:lnTo>
                  <a:lnTo>
                    <a:pt x="119062" y="565150"/>
                  </a:lnTo>
                  <a:lnTo>
                    <a:pt x="112712" y="590550"/>
                  </a:lnTo>
                  <a:lnTo>
                    <a:pt x="106362" y="612775"/>
                  </a:lnTo>
                  <a:lnTo>
                    <a:pt x="96837" y="612775"/>
                  </a:lnTo>
                  <a:lnTo>
                    <a:pt x="80962" y="612775"/>
                  </a:lnTo>
                  <a:lnTo>
                    <a:pt x="68262" y="622300"/>
                  </a:lnTo>
                  <a:lnTo>
                    <a:pt x="65087" y="628650"/>
                  </a:lnTo>
                  <a:lnTo>
                    <a:pt x="68262" y="635000"/>
                  </a:lnTo>
                  <a:lnTo>
                    <a:pt x="68262" y="638175"/>
                  </a:lnTo>
                  <a:lnTo>
                    <a:pt x="65087" y="644525"/>
                  </a:lnTo>
                  <a:lnTo>
                    <a:pt x="58737" y="644525"/>
                  </a:lnTo>
                  <a:lnTo>
                    <a:pt x="52387" y="644525"/>
                  </a:lnTo>
                  <a:lnTo>
                    <a:pt x="39687" y="644525"/>
                  </a:lnTo>
                  <a:lnTo>
                    <a:pt x="39687" y="635000"/>
                  </a:lnTo>
                  <a:lnTo>
                    <a:pt x="36512" y="625475"/>
                  </a:lnTo>
                  <a:lnTo>
                    <a:pt x="33337" y="609600"/>
                  </a:lnTo>
                  <a:lnTo>
                    <a:pt x="36512" y="596900"/>
                  </a:lnTo>
                  <a:lnTo>
                    <a:pt x="33337" y="590550"/>
                  </a:lnTo>
                  <a:lnTo>
                    <a:pt x="23812" y="581025"/>
                  </a:lnTo>
                  <a:lnTo>
                    <a:pt x="20637" y="568325"/>
                  </a:lnTo>
                  <a:lnTo>
                    <a:pt x="17462" y="555625"/>
                  </a:lnTo>
                  <a:lnTo>
                    <a:pt x="14287" y="539750"/>
                  </a:lnTo>
                  <a:lnTo>
                    <a:pt x="7937" y="527050"/>
                  </a:lnTo>
                  <a:lnTo>
                    <a:pt x="1587" y="520700"/>
                  </a:lnTo>
                  <a:lnTo>
                    <a:pt x="0" y="501650"/>
                  </a:lnTo>
                  <a:lnTo>
                    <a:pt x="1587" y="495300"/>
                  </a:lnTo>
                  <a:lnTo>
                    <a:pt x="11112" y="504825"/>
                  </a:lnTo>
                  <a:lnTo>
                    <a:pt x="14287" y="488950"/>
                  </a:lnTo>
                  <a:lnTo>
                    <a:pt x="11112" y="476250"/>
                  </a:lnTo>
                  <a:lnTo>
                    <a:pt x="20637" y="466725"/>
                  </a:lnTo>
                  <a:lnTo>
                    <a:pt x="30162" y="454025"/>
                  </a:lnTo>
                  <a:lnTo>
                    <a:pt x="33337" y="441325"/>
                  </a:lnTo>
                  <a:lnTo>
                    <a:pt x="30162" y="428625"/>
                  </a:lnTo>
                  <a:lnTo>
                    <a:pt x="23812" y="412750"/>
                  </a:lnTo>
                  <a:lnTo>
                    <a:pt x="33337" y="409575"/>
                  </a:lnTo>
                  <a:lnTo>
                    <a:pt x="36512" y="403225"/>
                  </a:lnTo>
                  <a:lnTo>
                    <a:pt x="36512" y="393700"/>
                  </a:lnTo>
                  <a:lnTo>
                    <a:pt x="30162" y="387350"/>
                  </a:lnTo>
                  <a:lnTo>
                    <a:pt x="23812" y="384175"/>
                  </a:lnTo>
                  <a:lnTo>
                    <a:pt x="20637" y="374650"/>
                  </a:lnTo>
                  <a:lnTo>
                    <a:pt x="23812" y="365125"/>
                  </a:lnTo>
                  <a:lnTo>
                    <a:pt x="23812" y="349250"/>
                  </a:lnTo>
                  <a:lnTo>
                    <a:pt x="20637" y="333375"/>
                  </a:lnTo>
                  <a:lnTo>
                    <a:pt x="17462" y="307975"/>
                  </a:lnTo>
                  <a:lnTo>
                    <a:pt x="20637" y="295275"/>
                  </a:lnTo>
                  <a:lnTo>
                    <a:pt x="23812" y="292100"/>
                  </a:lnTo>
                  <a:lnTo>
                    <a:pt x="33337" y="276225"/>
                  </a:lnTo>
                  <a:lnTo>
                    <a:pt x="42862" y="269875"/>
                  </a:lnTo>
                  <a:lnTo>
                    <a:pt x="55562" y="269875"/>
                  </a:lnTo>
                  <a:lnTo>
                    <a:pt x="61912" y="273050"/>
                  </a:lnTo>
                  <a:lnTo>
                    <a:pt x="65087" y="263525"/>
                  </a:lnTo>
                  <a:lnTo>
                    <a:pt x="65087" y="260350"/>
                  </a:lnTo>
                  <a:lnTo>
                    <a:pt x="61912" y="250825"/>
                  </a:lnTo>
                  <a:lnTo>
                    <a:pt x="55562" y="241300"/>
                  </a:lnTo>
                  <a:lnTo>
                    <a:pt x="68262" y="222250"/>
                  </a:lnTo>
                  <a:lnTo>
                    <a:pt x="71437" y="206375"/>
                  </a:lnTo>
                  <a:lnTo>
                    <a:pt x="74612" y="193675"/>
                  </a:lnTo>
                  <a:lnTo>
                    <a:pt x="74612" y="174625"/>
                  </a:lnTo>
                  <a:lnTo>
                    <a:pt x="80962" y="168275"/>
                  </a:lnTo>
                  <a:lnTo>
                    <a:pt x="93662" y="155575"/>
                  </a:lnTo>
                  <a:lnTo>
                    <a:pt x="90487" y="146050"/>
                  </a:lnTo>
                  <a:lnTo>
                    <a:pt x="93662" y="142875"/>
                  </a:lnTo>
                  <a:lnTo>
                    <a:pt x="103187" y="127000"/>
                  </a:lnTo>
                  <a:lnTo>
                    <a:pt x="112712" y="114300"/>
                  </a:lnTo>
                  <a:lnTo>
                    <a:pt x="109537" y="98425"/>
                  </a:lnTo>
                  <a:lnTo>
                    <a:pt x="115887" y="76200"/>
                  </a:lnTo>
                  <a:lnTo>
                    <a:pt x="122237" y="63500"/>
                  </a:lnTo>
                  <a:lnTo>
                    <a:pt x="131762" y="57150"/>
                  </a:lnTo>
                  <a:lnTo>
                    <a:pt x="138113" y="57150"/>
                  </a:lnTo>
                  <a:lnTo>
                    <a:pt x="147638" y="63500"/>
                  </a:lnTo>
                  <a:lnTo>
                    <a:pt x="150813" y="50800"/>
                  </a:lnTo>
                  <a:lnTo>
                    <a:pt x="150813" y="38100"/>
                  </a:lnTo>
                  <a:lnTo>
                    <a:pt x="160338" y="31750"/>
                  </a:lnTo>
                  <a:lnTo>
                    <a:pt x="188913" y="41275"/>
                  </a:lnTo>
                  <a:lnTo>
                    <a:pt x="195263" y="28575"/>
                  </a:lnTo>
                  <a:lnTo>
                    <a:pt x="198438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514;p35">
              <a:extLst>
                <a:ext uri="{FF2B5EF4-FFF2-40B4-BE49-F238E27FC236}">
                  <a16:creationId xmlns:a16="http://schemas.microsoft.com/office/drawing/2014/main" id="{35F9E7FC-1A78-62CD-8563-5BD06E21B63D}"/>
                </a:ext>
              </a:extLst>
            </p:cNvPr>
            <p:cNvSpPr/>
            <p:nvPr/>
          </p:nvSpPr>
          <p:spPr>
            <a:xfrm>
              <a:off x="5784135" y="3571477"/>
              <a:ext cx="277178" cy="270034"/>
            </a:xfrm>
            <a:custGeom>
              <a:avLst/>
              <a:gdLst/>
              <a:ahLst/>
              <a:cxnLst/>
              <a:rect l="l" t="t" r="r" b="b"/>
              <a:pathLst>
                <a:path w="307975" h="300038" extrusionOk="0">
                  <a:moveTo>
                    <a:pt x="298450" y="263525"/>
                  </a:moveTo>
                  <a:lnTo>
                    <a:pt x="301625" y="263525"/>
                  </a:lnTo>
                  <a:lnTo>
                    <a:pt x="304800" y="263525"/>
                  </a:lnTo>
                  <a:lnTo>
                    <a:pt x="307975" y="266700"/>
                  </a:lnTo>
                  <a:lnTo>
                    <a:pt x="307975" y="287338"/>
                  </a:lnTo>
                  <a:lnTo>
                    <a:pt x="304800" y="300038"/>
                  </a:lnTo>
                  <a:lnTo>
                    <a:pt x="298450" y="296863"/>
                  </a:lnTo>
                  <a:lnTo>
                    <a:pt x="292100" y="284163"/>
                  </a:lnTo>
                  <a:lnTo>
                    <a:pt x="288925" y="276225"/>
                  </a:lnTo>
                  <a:lnTo>
                    <a:pt x="292100" y="269875"/>
                  </a:lnTo>
                  <a:close/>
                  <a:moveTo>
                    <a:pt x="158750" y="0"/>
                  </a:moveTo>
                  <a:lnTo>
                    <a:pt x="168275" y="12700"/>
                  </a:lnTo>
                  <a:lnTo>
                    <a:pt x="171450" y="9525"/>
                  </a:lnTo>
                  <a:lnTo>
                    <a:pt x="187325" y="25400"/>
                  </a:lnTo>
                  <a:lnTo>
                    <a:pt x="193675" y="25400"/>
                  </a:lnTo>
                  <a:lnTo>
                    <a:pt x="193675" y="34925"/>
                  </a:lnTo>
                  <a:lnTo>
                    <a:pt x="206375" y="34925"/>
                  </a:lnTo>
                  <a:lnTo>
                    <a:pt x="209550" y="41275"/>
                  </a:lnTo>
                  <a:lnTo>
                    <a:pt x="219075" y="47625"/>
                  </a:lnTo>
                  <a:lnTo>
                    <a:pt x="228600" y="50800"/>
                  </a:lnTo>
                  <a:lnTo>
                    <a:pt x="241300" y="53975"/>
                  </a:lnTo>
                  <a:lnTo>
                    <a:pt x="250825" y="60325"/>
                  </a:lnTo>
                  <a:lnTo>
                    <a:pt x="260350" y="63500"/>
                  </a:lnTo>
                  <a:lnTo>
                    <a:pt x="282575" y="69850"/>
                  </a:lnTo>
                  <a:lnTo>
                    <a:pt x="276225" y="79375"/>
                  </a:lnTo>
                  <a:lnTo>
                    <a:pt x="266700" y="98425"/>
                  </a:lnTo>
                  <a:lnTo>
                    <a:pt x="266700" y="107950"/>
                  </a:lnTo>
                  <a:lnTo>
                    <a:pt x="266700" y="114300"/>
                  </a:lnTo>
                  <a:lnTo>
                    <a:pt x="263525" y="117475"/>
                  </a:lnTo>
                  <a:lnTo>
                    <a:pt x="254000" y="120650"/>
                  </a:lnTo>
                  <a:lnTo>
                    <a:pt x="254000" y="123825"/>
                  </a:lnTo>
                  <a:lnTo>
                    <a:pt x="247650" y="130175"/>
                  </a:lnTo>
                  <a:lnTo>
                    <a:pt x="241300" y="142875"/>
                  </a:lnTo>
                  <a:lnTo>
                    <a:pt x="238125" y="152400"/>
                  </a:lnTo>
                  <a:lnTo>
                    <a:pt x="236008" y="156633"/>
                  </a:lnTo>
                  <a:lnTo>
                    <a:pt x="231775" y="158750"/>
                  </a:lnTo>
                  <a:lnTo>
                    <a:pt x="234950" y="158750"/>
                  </a:lnTo>
                  <a:lnTo>
                    <a:pt x="236008" y="156633"/>
                  </a:lnTo>
                  <a:lnTo>
                    <a:pt x="238125" y="155575"/>
                  </a:lnTo>
                  <a:lnTo>
                    <a:pt x="250825" y="152400"/>
                  </a:lnTo>
                  <a:lnTo>
                    <a:pt x="257175" y="165100"/>
                  </a:lnTo>
                  <a:lnTo>
                    <a:pt x="250825" y="171450"/>
                  </a:lnTo>
                  <a:lnTo>
                    <a:pt x="257175" y="180975"/>
                  </a:lnTo>
                  <a:lnTo>
                    <a:pt x="257175" y="187325"/>
                  </a:lnTo>
                  <a:lnTo>
                    <a:pt x="254000" y="187325"/>
                  </a:lnTo>
                  <a:lnTo>
                    <a:pt x="247650" y="190500"/>
                  </a:lnTo>
                  <a:lnTo>
                    <a:pt x="250825" y="196850"/>
                  </a:lnTo>
                  <a:lnTo>
                    <a:pt x="254000" y="200025"/>
                  </a:lnTo>
                  <a:lnTo>
                    <a:pt x="257175" y="200025"/>
                  </a:lnTo>
                  <a:lnTo>
                    <a:pt x="254000" y="209550"/>
                  </a:lnTo>
                  <a:lnTo>
                    <a:pt x="254000" y="212725"/>
                  </a:lnTo>
                  <a:lnTo>
                    <a:pt x="257175" y="219075"/>
                  </a:lnTo>
                  <a:lnTo>
                    <a:pt x="263525" y="222250"/>
                  </a:lnTo>
                  <a:lnTo>
                    <a:pt x="266700" y="231775"/>
                  </a:lnTo>
                  <a:lnTo>
                    <a:pt x="263525" y="231775"/>
                  </a:lnTo>
                  <a:lnTo>
                    <a:pt x="260350" y="234950"/>
                  </a:lnTo>
                  <a:lnTo>
                    <a:pt x="250825" y="241300"/>
                  </a:lnTo>
                  <a:lnTo>
                    <a:pt x="238125" y="250825"/>
                  </a:lnTo>
                  <a:lnTo>
                    <a:pt x="219075" y="247650"/>
                  </a:lnTo>
                  <a:lnTo>
                    <a:pt x="215900" y="244475"/>
                  </a:lnTo>
                  <a:lnTo>
                    <a:pt x="209550" y="244475"/>
                  </a:lnTo>
                  <a:lnTo>
                    <a:pt x="206375" y="238125"/>
                  </a:lnTo>
                  <a:lnTo>
                    <a:pt x="200025" y="241300"/>
                  </a:lnTo>
                  <a:lnTo>
                    <a:pt x="190500" y="238125"/>
                  </a:lnTo>
                  <a:lnTo>
                    <a:pt x="187325" y="238125"/>
                  </a:lnTo>
                  <a:lnTo>
                    <a:pt x="180975" y="244475"/>
                  </a:lnTo>
                  <a:lnTo>
                    <a:pt x="174625" y="247650"/>
                  </a:lnTo>
                  <a:lnTo>
                    <a:pt x="174625" y="269875"/>
                  </a:lnTo>
                  <a:lnTo>
                    <a:pt x="168275" y="269875"/>
                  </a:lnTo>
                  <a:lnTo>
                    <a:pt x="158750" y="273050"/>
                  </a:lnTo>
                  <a:lnTo>
                    <a:pt x="142875" y="269875"/>
                  </a:lnTo>
                  <a:lnTo>
                    <a:pt x="136525" y="266700"/>
                  </a:lnTo>
                  <a:lnTo>
                    <a:pt x="127000" y="260350"/>
                  </a:lnTo>
                  <a:lnTo>
                    <a:pt x="120650" y="257175"/>
                  </a:lnTo>
                  <a:lnTo>
                    <a:pt x="120650" y="260350"/>
                  </a:lnTo>
                  <a:lnTo>
                    <a:pt x="120650" y="263525"/>
                  </a:lnTo>
                  <a:lnTo>
                    <a:pt x="114300" y="263525"/>
                  </a:lnTo>
                  <a:lnTo>
                    <a:pt x="111125" y="263525"/>
                  </a:lnTo>
                  <a:lnTo>
                    <a:pt x="101600" y="263525"/>
                  </a:lnTo>
                  <a:lnTo>
                    <a:pt x="88900" y="257175"/>
                  </a:lnTo>
                  <a:lnTo>
                    <a:pt x="66675" y="244475"/>
                  </a:lnTo>
                  <a:lnTo>
                    <a:pt x="76200" y="225425"/>
                  </a:lnTo>
                  <a:lnTo>
                    <a:pt x="79375" y="190500"/>
                  </a:lnTo>
                  <a:lnTo>
                    <a:pt x="76200" y="174625"/>
                  </a:lnTo>
                  <a:lnTo>
                    <a:pt x="82550" y="171450"/>
                  </a:lnTo>
                  <a:lnTo>
                    <a:pt x="79375" y="158750"/>
                  </a:lnTo>
                  <a:lnTo>
                    <a:pt x="69850" y="152400"/>
                  </a:lnTo>
                  <a:lnTo>
                    <a:pt x="60325" y="142875"/>
                  </a:lnTo>
                  <a:lnTo>
                    <a:pt x="60325" y="133350"/>
                  </a:lnTo>
                  <a:lnTo>
                    <a:pt x="66675" y="127000"/>
                  </a:lnTo>
                  <a:lnTo>
                    <a:pt x="60325" y="123825"/>
                  </a:lnTo>
                  <a:lnTo>
                    <a:pt x="53975" y="123825"/>
                  </a:lnTo>
                  <a:lnTo>
                    <a:pt x="44450" y="117475"/>
                  </a:lnTo>
                  <a:lnTo>
                    <a:pt x="25400" y="107950"/>
                  </a:lnTo>
                  <a:lnTo>
                    <a:pt x="3175" y="98425"/>
                  </a:lnTo>
                  <a:lnTo>
                    <a:pt x="3175" y="88900"/>
                  </a:lnTo>
                  <a:lnTo>
                    <a:pt x="0" y="85725"/>
                  </a:lnTo>
                  <a:lnTo>
                    <a:pt x="6350" y="82550"/>
                  </a:lnTo>
                  <a:lnTo>
                    <a:pt x="15875" y="79375"/>
                  </a:lnTo>
                  <a:lnTo>
                    <a:pt x="25400" y="79375"/>
                  </a:lnTo>
                  <a:lnTo>
                    <a:pt x="28575" y="76200"/>
                  </a:lnTo>
                  <a:lnTo>
                    <a:pt x="34925" y="73025"/>
                  </a:lnTo>
                  <a:lnTo>
                    <a:pt x="38100" y="76200"/>
                  </a:lnTo>
                  <a:lnTo>
                    <a:pt x="44450" y="82550"/>
                  </a:lnTo>
                  <a:lnTo>
                    <a:pt x="50800" y="79375"/>
                  </a:lnTo>
                  <a:lnTo>
                    <a:pt x="53975" y="79375"/>
                  </a:lnTo>
                  <a:lnTo>
                    <a:pt x="76200" y="79375"/>
                  </a:lnTo>
                  <a:lnTo>
                    <a:pt x="69850" y="76200"/>
                  </a:lnTo>
                  <a:lnTo>
                    <a:pt x="69850" y="69850"/>
                  </a:lnTo>
                  <a:lnTo>
                    <a:pt x="69850" y="60325"/>
                  </a:lnTo>
                  <a:lnTo>
                    <a:pt x="66675" y="53975"/>
                  </a:lnTo>
                  <a:lnTo>
                    <a:pt x="63500" y="47625"/>
                  </a:lnTo>
                  <a:lnTo>
                    <a:pt x="69850" y="47625"/>
                  </a:lnTo>
                  <a:lnTo>
                    <a:pt x="76200" y="44450"/>
                  </a:lnTo>
                  <a:lnTo>
                    <a:pt x="76200" y="50800"/>
                  </a:lnTo>
                  <a:lnTo>
                    <a:pt x="76200" y="53975"/>
                  </a:lnTo>
                  <a:lnTo>
                    <a:pt x="98425" y="60325"/>
                  </a:lnTo>
                  <a:lnTo>
                    <a:pt x="114300" y="53975"/>
                  </a:lnTo>
                  <a:lnTo>
                    <a:pt x="107950" y="53975"/>
                  </a:lnTo>
                  <a:lnTo>
                    <a:pt x="111125" y="44450"/>
                  </a:lnTo>
                  <a:lnTo>
                    <a:pt x="120650" y="38100"/>
                  </a:lnTo>
                  <a:lnTo>
                    <a:pt x="130175" y="34925"/>
                  </a:lnTo>
                  <a:lnTo>
                    <a:pt x="139700" y="25400"/>
                  </a:lnTo>
                  <a:lnTo>
                    <a:pt x="139700" y="9525"/>
                  </a:lnTo>
                  <a:lnTo>
                    <a:pt x="146050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2400">
                <a:solidFill>
                  <a:schemeClr val="lt1"/>
                </a:solidFill>
              </a:endParaRPr>
            </a:p>
          </p:txBody>
        </p:sp>
        <p:sp>
          <p:nvSpPr>
            <p:cNvPr id="66" name="Google Shape;515;p35">
              <a:extLst>
                <a:ext uri="{FF2B5EF4-FFF2-40B4-BE49-F238E27FC236}">
                  <a16:creationId xmlns:a16="http://schemas.microsoft.com/office/drawing/2014/main" id="{880BF040-92F3-C896-84DD-572785BA3976}"/>
                </a:ext>
              </a:extLst>
            </p:cNvPr>
            <p:cNvSpPr/>
            <p:nvPr/>
          </p:nvSpPr>
          <p:spPr>
            <a:xfrm>
              <a:off x="5698410" y="3780075"/>
              <a:ext cx="262890" cy="192882"/>
            </a:xfrm>
            <a:custGeom>
              <a:avLst/>
              <a:gdLst/>
              <a:ahLst/>
              <a:cxnLst/>
              <a:rect l="l" t="t" r="r" b="b"/>
              <a:pathLst>
                <a:path w="292100" h="214313" extrusionOk="0">
                  <a:moveTo>
                    <a:pt x="269875" y="109538"/>
                  </a:moveTo>
                  <a:lnTo>
                    <a:pt x="266700" y="112713"/>
                  </a:lnTo>
                  <a:lnTo>
                    <a:pt x="269875" y="115888"/>
                  </a:lnTo>
                  <a:lnTo>
                    <a:pt x="276225" y="115888"/>
                  </a:lnTo>
                  <a:lnTo>
                    <a:pt x="269875" y="125413"/>
                  </a:lnTo>
                  <a:lnTo>
                    <a:pt x="263525" y="125413"/>
                  </a:lnTo>
                  <a:lnTo>
                    <a:pt x="250825" y="122238"/>
                  </a:lnTo>
                  <a:lnTo>
                    <a:pt x="250825" y="115888"/>
                  </a:lnTo>
                  <a:close/>
                  <a:moveTo>
                    <a:pt x="282575" y="106363"/>
                  </a:moveTo>
                  <a:lnTo>
                    <a:pt x="285750" y="106363"/>
                  </a:lnTo>
                  <a:lnTo>
                    <a:pt x="292100" y="106363"/>
                  </a:lnTo>
                  <a:lnTo>
                    <a:pt x="292100" y="112713"/>
                  </a:lnTo>
                  <a:lnTo>
                    <a:pt x="282575" y="109538"/>
                  </a:lnTo>
                  <a:close/>
                  <a:moveTo>
                    <a:pt x="28575" y="0"/>
                  </a:moveTo>
                  <a:lnTo>
                    <a:pt x="38100" y="3175"/>
                  </a:lnTo>
                  <a:lnTo>
                    <a:pt x="44450" y="6350"/>
                  </a:lnTo>
                  <a:lnTo>
                    <a:pt x="63500" y="6350"/>
                  </a:lnTo>
                  <a:lnTo>
                    <a:pt x="82550" y="6350"/>
                  </a:lnTo>
                  <a:lnTo>
                    <a:pt x="101600" y="12700"/>
                  </a:lnTo>
                  <a:lnTo>
                    <a:pt x="117475" y="6350"/>
                  </a:lnTo>
                  <a:lnTo>
                    <a:pt x="123825" y="9525"/>
                  </a:lnTo>
                  <a:lnTo>
                    <a:pt x="130175" y="12700"/>
                  </a:lnTo>
                  <a:lnTo>
                    <a:pt x="146050" y="12700"/>
                  </a:lnTo>
                  <a:lnTo>
                    <a:pt x="161925" y="12700"/>
                  </a:lnTo>
                  <a:lnTo>
                    <a:pt x="184150" y="25400"/>
                  </a:lnTo>
                  <a:lnTo>
                    <a:pt x="196850" y="31750"/>
                  </a:lnTo>
                  <a:lnTo>
                    <a:pt x="206375" y="31750"/>
                  </a:lnTo>
                  <a:lnTo>
                    <a:pt x="209550" y="31750"/>
                  </a:lnTo>
                  <a:lnTo>
                    <a:pt x="215900" y="31750"/>
                  </a:lnTo>
                  <a:lnTo>
                    <a:pt x="215900" y="28575"/>
                  </a:lnTo>
                  <a:lnTo>
                    <a:pt x="215900" y="25400"/>
                  </a:lnTo>
                  <a:lnTo>
                    <a:pt x="222250" y="28575"/>
                  </a:lnTo>
                  <a:lnTo>
                    <a:pt x="231775" y="34925"/>
                  </a:lnTo>
                  <a:lnTo>
                    <a:pt x="238125" y="38100"/>
                  </a:lnTo>
                  <a:lnTo>
                    <a:pt x="254000" y="41275"/>
                  </a:lnTo>
                  <a:lnTo>
                    <a:pt x="263525" y="38100"/>
                  </a:lnTo>
                  <a:lnTo>
                    <a:pt x="269875" y="38100"/>
                  </a:lnTo>
                  <a:lnTo>
                    <a:pt x="269875" y="44450"/>
                  </a:lnTo>
                  <a:lnTo>
                    <a:pt x="269875" y="52387"/>
                  </a:lnTo>
                  <a:lnTo>
                    <a:pt x="263525" y="58738"/>
                  </a:lnTo>
                  <a:lnTo>
                    <a:pt x="244475" y="68263"/>
                  </a:lnTo>
                  <a:lnTo>
                    <a:pt x="225425" y="74613"/>
                  </a:lnTo>
                  <a:lnTo>
                    <a:pt x="215900" y="80963"/>
                  </a:lnTo>
                  <a:lnTo>
                    <a:pt x="219075" y="87313"/>
                  </a:lnTo>
                  <a:lnTo>
                    <a:pt x="209550" y="96838"/>
                  </a:lnTo>
                  <a:lnTo>
                    <a:pt x="206375" y="103188"/>
                  </a:lnTo>
                  <a:lnTo>
                    <a:pt x="203200" y="106363"/>
                  </a:lnTo>
                  <a:lnTo>
                    <a:pt x="200025" y="106363"/>
                  </a:lnTo>
                  <a:lnTo>
                    <a:pt x="193675" y="119063"/>
                  </a:lnTo>
                  <a:lnTo>
                    <a:pt x="193675" y="134938"/>
                  </a:lnTo>
                  <a:lnTo>
                    <a:pt x="203200" y="144463"/>
                  </a:lnTo>
                  <a:lnTo>
                    <a:pt x="187325" y="157163"/>
                  </a:lnTo>
                  <a:lnTo>
                    <a:pt x="180975" y="166688"/>
                  </a:lnTo>
                  <a:lnTo>
                    <a:pt x="184150" y="173038"/>
                  </a:lnTo>
                  <a:lnTo>
                    <a:pt x="161925" y="182563"/>
                  </a:lnTo>
                  <a:lnTo>
                    <a:pt x="155575" y="195263"/>
                  </a:lnTo>
                  <a:lnTo>
                    <a:pt x="149225" y="195263"/>
                  </a:lnTo>
                  <a:lnTo>
                    <a:pt x="146050" y="195263"/>
                  </a:lnTo>
                  <a:lnTo>
                    <a:pt x="142875" y="198438"/>
                  </a:lnTo>
                  <a:lnTo>
                    <a:pt x="136525" y="195263"/>
                  </a:lnTo>
                  <a:lnTo>
                    <a:pt x="107950" y="198438"/>
                  </a:lnTo>
                  <a:lnTo>
                    <a:pt x="104775" y="198438"/>
                  </a:lnTo>
                  <a:lnTo>
                    <a:pt x="98425" y="204788"/>
                  </a:lnTo>
                  <a:lnTo>
                    <a:pt x="95250" y="204788"/>
                  </a:lnTo>
                  <a:lnTo>
                    <a:pt x="82550" y="211138"/>
                  </a:lnTo>
                  <a:lnTo>
                    <a:pt x="82550" y="214313"/>
                  </a:lnTo>
                  <a:lnTo>
                    <a:pt x="76200" y="214313"/>
                  </a:lnTo>
                  <a:lnTo>
                    <a:pt x="66675" y="207963"/>
                  </a:lnTo>
                  <a:lnTo>
                    <a:pt x="60325" y="198438"/>
                  </a:lnTo>
                  <a:lnTo>
                    <a:pt x="60325" y="192088"/>
                  </a:lnTo>
                  <a:lnTo>
                    <a:pt x="53975" y="185738"/>
                  </a:lnTo>
                  <a:lnTo>
                    <a:pt x="41275" y="185738"/>
                  </a:lnTo>
                  <a:lnTo>
                    <a:pt x="38100" y="176213"/>
                  </a:lnTo>
                  <a:lnTo>
                    <a:pt x="41275" y="163513"/>
                  </a:lnTo>
                  <a:lnTo>
                    <a:pt x="50800" y="157163"/>
                  </a:lnTo>
                  <a:lnTo>
                    <a:pt x="44450" y="157163"/>
                  </a:lnTo>
                  <a:lnTo>
                    <a:pt x="41275" y="150813"/>
                  </a:lnTo>
                  <a:lnTo>
                    <a:pt x="47625" y="138113"/>
                  </a:lnTo>
                  <a:lnTo>
                    <a:pt x="41275" y="125413"/>
                  </a:lnTo>
                  <a:lnTo>
                    <a:pt x="38100" y="115888"/>
                  </a:lnTo>
                  <a:lnTo>
                    <a:pt x="47625" y="115888"/>
                  </a:lnTo>
                  <a:lnTo>
                    <a:pt x="50800" y="106363"/>
                  </a:lnTo>
                  <a:lnTo>
                    <a:pt x="47625" y="100013"/>
                  </a:lnTo>
                  <a:lnTo>
                    <a:pt x="53975" y="96838"/>
                  </a:lnTo>
                  <a:lnTo>
                    <a:pt x="53975" y="84138"/>
                  </a:lnTo>
                  <a:lnTo>
                    <a:pt x="50800" y="77788"/>
                  </a:lnTo>
                  <a:lnTo>
                    <a:pt x="60325" y="71438"/>
                  </a:lnTo>
                  <a:lnTo>
                    <a:pt x="66675" y="61913"/>
                  </a:lnTo>
                  <a:lnTo>
                    <a:pt x="57150" y="52387"/>
                  </a:lnTo>
                  <a:lnTo>
                    <a:pt x="38100" y="52387"/>
                  </a:lnTo>
                  <a:lnTo>
                    <a:pt x="31750" y="52387"/>
                  </a:lnTo>
                  <a:lnTo>
                    <a:pt x="28575" y="52387"/>
                  </a:lnTo>
                  <a:lnTo>
                    <a:pt x="25400" y="55563"/>
                  </a:lnTo>
                  <a:lnTo>
                    <a:pt x="22225" y="52387"/>
                  </a:lnTo>
                  <a:lnTo>
                    <a:pt x="22225" y="49212"/>
                  </a:lnTo>
                  <a:lnTo>
                    <a:pt x="22225" y="46037"/>
                  </a:lnTo>
                  <a:lnTo>
                    <a:pt x="9525" y="52387"/>
                  </a:lnTo>
                  <a:lnTo>
                    <a:pt x="6350" y="52387"/>
                  </a:lnTo>
                  <a:lnTo>
                    <a:pt x="9525" y="41275"/>
                  </a:lnTo>
                  <a:lnTo>
                    <a:pt x="6350" y="31750"/>
                  </a:lnTo>
                  <a:lnTo>
                    <a:pt x="0" y="19050"/>
                  </a:lnTo>
                  <a:lnTo>
                    <a:pt x="3175" y="15875"/>
                  </a:lnTo>
                  <a:lnTo>
                    <a:pt x="9525" y="12700"/>
                  </a:lnTo>
                  <a:lnTo>
                    <a:pt x="1905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2400">
                <a:solidFill>
                  <a:schemeClr val="lt1"/>
                </a:solidFill>
              </a:endParaRPr>
            </a:p>
          </p:txBody>
        </p:sp>
        <p:sp>
          <p:nvSpPr>
            <p:cNvPr id="67" name="Google Shape;516;p35">
              <a:extLst>
                <a:ext uri="{FF2B5EF4-FFF2-40B4-BE49-F238E27FC236}">
                  <a16:creationId xmlns:a16="http://schemas.microsoft.com/office/drawing/2014/main" id="{7D4C35B2-A343-0B2C-BC37-576F80BD2F33}"/>
                </a:ext>
              </a:extLst>
            </p:cNvPr>
            <p:cNvSpPr/>
            <p:nvPr/>
          </p:nvSpPr>
          <p:spPr>
            <a:xfrm>
              <a:off x="5375512" y="3821510"/>
              <a:ext cx="382905" cy="128588"/>
            </a:xfrm>
            <a:custGeom>
              <a:avLst/>
              <a:gdLst/>
              <a:ahLst/>
              <a:cxnLst/>
              <a:rect l="l" t="t" r="r" b="b"/>
              <a:pathLst>
                <a:path w="425450" h="142875" extrusionOk="0">
                  <a:moveTo>
                    <a:pt x="0" y="120650"/>
                  </a:moveTo>
                  <a:lnTo>
                    <a:pt x="15875" y="120650"/>
                  </a:lnTo>
                  <a:lnTo>
                    <a:pt x="12700" y="123825"/>
                  </a:lnTo>
                  <a:lnTo>
                    <a:pt x="3175" y="123825"/>
                  </a:lnTo>
                  <a:close/>
                  <a:moveTo>
                    <a:pt x="381000" y="0"/>
                  </a:moveTo>
                  <a:lnTo>
                    <a:pt x="381000" y="3175"/>
                  </a:lnTo>
                  <a:lnTo>
                    <a:pt x="381000" y="6350"/>
                  </a:lnTo>
                  <a:lnTo>
                    <a:pt x="384175" y="9525"/>
                  </a:lnTo>
                  <a:lnTo>
                    <a:pt x="387350" y="6350"/>
                  </a:lnTo>
                  <a:lnTo>
                    <a:pt x="390525" y="6350"/>
                  </a:lnTo>
                  <a:lnTo>
                    <a:pt x="396875" y="6350"/>
                  </a:lnTo>
                  <a:lnTo>
                    <a:pt x="415925" y="6350"/>
                  </a:lnTo>
                  <a:lnTo>
                    <a:pt x="425450" y="15875"/>
                  </a:lnTo>
                  <a:lnTo>
                    <a:pt x="419100" y="25400"/>
                  </a:lnTo>
                  <a:lnTo>
                    <a:pt x="409575" y="31750"/>
                  </a:lnTo>
                  <a:lnTo>
                    <a:pt x="412750" y="38100"/>
                  </a:lnTo>
                  <a:lnTo>
                    <a:pt x="412750" y="50800"/>
                  </a:lnTo>
                  <a:lnTo>
                    <a:pt x="406400" y="53975"/>
                  </a:lnTo>
                  <a:lnTo>
                    <a:pt x="409575" y="60325"/>
                  </a:lnTo>
                  <a:lnTo>
                    <a:pt x="406400" y="69850"/>
                  </a:lnTo>
                  <a:lnTo>
                    <a:pt x="396875" y="69850"/>
                  </a:lnTo>
                  <a:lnTo>
                    <a:pt x="400050" y="79375"/>
                  </a:lnTo>
                  <a:lnTo>
                    <a:pt x="406400" y="92075"/>
                  </a:lnTo>
                  <a:lnTo>
                    <a:pt x="400050" y="104775"/>
                  </a:lnTo>
                  <a:lnTo>
                    <a:pt x="403225" y="111125"/>
                  </a:lnTo>
                  <a:lnTo>
                    <a:pt x="409575" y="111125"/>
                  </a:lnTo>
                  <a:lnTo>
                    <a:pt x="400050" y="117475"/>
                  </a:lnTo>
                  <a:lnTo>
                    <a:pt x="396875" y="130175"/>
                  </a:lnTo>
                  <a:lnTo>
                    <a:pt x="400050" y="139700"/>
                  </a:lnTo>
                  <a:lnTo>
                    <a:pt x="396875" y="139700"/>
                  </a:lnTo>
                  <a:lnTo>
                    <a:pt x="390525" y="142875"/>
                  </a:lnTo>
                  <a:lnTo>
                    <a:pt x="377825" y="142875"/>
                  </a:lnTo>
                  <a:lnTo>
                    <a:pt x="368300" y="136525"/>
                  </a:lnTo>
                  <a:lnTo>
                    <a:pt x="368300" y="127000"/>
                  </a:lnTo>
                  <a:lnTo>
                    <a:pt x="368300" y="111125"/>
                  </a:lnTo>
                  <a:lnTo>
                    <a:pt x="365125" y="104775"/>
                  </a:lnTo>
                  <a:lnTo>
                    <a:pt x="361950" y="104775"/>
                  </a:lnTo>
                  <a:lnTo>
                    <a:pt x="361950" y="95250"/>
                  </a:lnTo>
                  <a:lnTo>
                    <a:pt x="352425" y="98425"/>
                  </a:lnTo>
                  <a:lnTo>
                    <a:pt x="365125" y="63500"/>
                  </a:lnTo>
                  <a:lnTo>
                    <a:pt x="371475" y="28575"/>
                  </a:lnTo>
                  <a:lnTo>
                    <a:pt x="368300" y="19050"/>
                  </a:lnTo>
                  <a:lnTo>
                    <a:pt x="36830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Google Shape;517;p35">
              <a:extLst>
                <a:ext uri="{FF2B5EF4-FFF2-40B4-BE49-F238E27FC236}">
                  <a16:creationId xmlns:a16="http://schemas.microsoft.com/office/drawing/2014/main" id="{CBF50FB6-53FC-063C-C0B7-D050492CB0E7}"/>
                </a:ext>
              </a:extLst>
            </p:cNvPr>
            <p:cNvSpPr/>
            <p:nvPr/>
          </p:nvSpPr>
          <p:spPr>
            <a:xfrm>
              <a:off x="6285627" y="3337163"/>
              <a:ext cx="140017" cy="82867"/>
            </a:xfrm>
            <a:custGeom>
              <a:avLst/>
              <a:gdLst/>
              <a:ahLst/>
              <a:cxnLst/>
              <a:rect l="l" t="t" r="r" b="b"/>
              <a:pathLst>
                <a:path w="98" h="58" extrusionOk="0">
                  <a:moveTo>
                    <a:pt x="2" y="48"/>
                  </a:moveTo>
                  <a:lnTo>
                    <a:pt x="2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40" y="42"/>
                  </a:lnTo>
                  <a:lnTo>
                    <a:pt x="48" y="42"/>
                  </a:lnTo>
                  <a:lnTo>
                    <a:pt x="54" y="44"/>
                  </a:lnTo>
                  <a:lnTo>
                    <a:pt x="56" y="46"/>
                  </a:lnTo>
                  <a:lnTo>
                    <a:pt x="60" y="48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76" y="58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92" y="50"/>
                  </a:lnTo>
                  <a:lnTo>
                    <a:pt x="96" y="46"/>
                  </a:lnTo>
                  <a:lnTo>
                    <a:pt x="98" y="42"/>
                  </a:lnTo>
                  <a:lnTo>
                    <a:pt x="96" y="36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86" y="12"/>
                  </a:lnTo>
                  <a:lnTo>
                    <a:pt x="78" y="10"/>
                  </a:lnTo>
                  <a:lnTo>
                    <a:pt x="68" y="8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6" y="20"/>
                  </a:lnTo>
                  <a:lnTo>
                    <a:pt x="40" y="24"/>
                  </a:lnTo>
                  <a:lnTo>
                    <a:pt x="30" y="24"/>
                  </a:lnTo>
                  <a:lnTo>
                    <a:pt x="28" y="20"/>
                  </a:lnTo>
                  <a:lnTo>
                    <a:pt x="24" y="14"/>
                  </a:lnTo>
                  <a:lnTo>
                    <a:pt x="18" y="8"/>
                  </a:lnTo>
                  <a:lnTo>
                    <a:pt x="10" y="12"/>
                  </a:lnTo>
                  <a:lnTo>
                    <a:pt x="6" y="20"/>
                  </a:lnTo>
                  <a:lnTo>
                    <a:pt x="0" y="32"/>
                  </a:lnTo>
                  <a:lnTo>
                    <a:pt x="0" y="44"/>
                  </a:lnTo>
                  <a:lnTo>
                    <a:pt x="0" y="50"/>
                  </a:lnTo>
                  <a:lnTo>
                    <a:pt x="2" y="48"/>
                  </a:lnTo>
                  <a:lnTo>
                    <a:pt x="2" y="4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518;p35">
              <a:extLst>
                <a:ext uri="{FF2B5EF4-FFF2-40B4-BE49-F238E27FC236}">
                  <a16:creationId xmlns:a16="http://schemas.microsoft.com/office/drawing/2014/main" id="{79DA0FFC-0B6E-D87A-4A8C-7C2C8F783982}"/>
                </a:ext>
              </a:extLst>
            </p:cNvPr>
            <p:cNvSpPr/>
            <p:nvPr/>
          </p:nvSpPr>
          <p:spPr>
            <a:xfrm>
              <a:off x="6302772" y="3277155"/>
              <a:ext cx="117157" cy="77153"/>
            </a:xfrm>
            <a:custGeom>
              <a:avLst/>
              <a:gdLst/>
              <a:ahLst/>
              <a:cxnLst/>
              <a:rect l="l" t="t" r="r" b="b"/>
              <a:pathLst>
                <a:path w="130175" h="85725" extrusionOk="0">
                  <a:moveTo>
                    <a:pt x="6350" y="44450"/>
                  </a:moveTo>
                  <a:lnTo>
                    <a:pt x="22225" y="44450"/>
                  </a:lnTo>
                  <a:lnTo>
                    <a:pt x="25400" y="47625"/>
                  </a:lnTo>
                  <a:lnTo>
                    <a:pt x="22225" y="53975"/>
                  </a:lnTo>
                  <a:lnTo>
                    <a:pt x="15875" y="60325"/>
                  </a:lnTo>
                  <a:lnTo>
                    <a:pt x="3175" y="69850"/>
                  </a:lnTo>
                  <a:lnTo>
                    <a:pt x="0" y="69850"/>
                  </a:lnTo>
                  <a:lnTo>
                    <a:pt x="0" y="53975"/>
                  </a:lnTo>
                  <a:close/>
                  <a:moveTo>
                    <a:pt x="15875" y="22225"/>
                  </a:moveTo>
                  <a:lnTo>
                    <a:pt x="22225" y="28575"/>
                  </a:lnTo>
                  <a:lnTo>
                    <a:pt x="22225" y="34925"/>
                  </a:lnTo>
                  <a:lnTo>
                    <a:pt x="19050" y="34925"/>
                  </a:lnTo>
                  <a:lnTo>
                    <a:pt x="9525" y="34925"/>
                  </a:lnTo>
                  <a:close/>
                  <a:moveTo>
                    <a:pt x="88900" y="0"/>
                  </a:moveTo>
                  <a:lnTo>
                    <a:pt x="101600" y="3175"/>
                  </a:lnTo>
                  <a:lnTo>
                    <a:pt x="107950" y="6350"/>
                  </a:lnTo>
                  <a:lnTo>
                    <a:pt x="127000" y="9525"/>
                  </a:lnTo>
                  <a:lnTo>
                    <a:pt x="130175" y="6350"/>
                  </a:lnTo>
                  <a:lnTo>
                    <a:pt x="127000" y="19050"/>
                  </a:lnTo>
                  <a:lnTo>
                    <a:pt x="120650" y="41275"/>
                  </a:lnTo>
                  <a:lnTo>
                    <a:pt x="123825" y="66675"/>
                  </a:lnTo>
                  <a:lnTo>
                    <a:pt x="127000" y="69850"/>
                  </a:lnTo>
                  <a:lnTo>
                    <a:pt x="123825" y="76200"/>
                  </a:lnTo>
                  <a:lnTo>
                    <a:pt x="120650" y="76200"/>
                  </a:lnTo>
                  <a:lnTo>
                    <a:pt x="117475" y="85725"/>
                  </a:lnTo>
                  <a:lnTo>
                    <a:pt x="104775" y="82550"/>
                  </a:lnTo>
                  <a:lnTo>
                    <a:pt x="88900" y="79375"/>
                  </a:lnTo>
                  <a:lnTo>
                    <a:pt x="76200" y="66675"/>
                  </a:lnTo>
                  <a:lnTo>
                    <a:pt x="66675" y="66675"/>
                  </a:lnTo>
                  <a:lnTo>
                    <a:pt x="50800" y="73025"/>
                  </a:lnTo>
                  <a:lnTo>
                    <a:pt x="57150" y="53975"/>
                  </a:lnTo>
                  <a:lnTo>
                    <a:pt x="50800" y="53975"/>
                  </a:lnTo>
                  <a:lnTo>
                    <a:pt x="50800" y="57150"/>
                  </a:lnTo>
                  <a:lnTo>
                    <a:pt x="41275" y="53975"/>
                  </a:lnTo>
                  <a:lnTo>
                    <a:pt x="34925" y="44450"/>
                  </a:lnTo>
                  <a:lnTo>
                    <a:pt x="31750" y="34925"/>
                  </a:lnTo>
                  <a:lnTo>
                    <a:pt x="34925" y="15875"/>
                  </a:lnTo>
                  <a:lnTo>
                    <a:pt x="50800" y="9525"/>
                  </a:lnTo>
                  <a:lnTo>
                    <a:pt x="7620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519;p35">
              <a:extLst>
                <a:ext uri="{FF2B5EF4-FFF2-40B4-BE49-F238E27FC236}">
                  <a16:creationId xmlns:a16="http://schemas.microsoft.com/office/drawing/2014/main" id="{5B494453-D154-8733-6278-06F1B43DE4B4}"/>
                </a:ext>
              </a:extLst>
            </p:cNvPr>
            <p:cNvSpPr/>
            <p:nvPr/>
          </p:nvSpPr>
          <p:spPr>
            <a:xfrm>
              <a:off x="6035595" y="3351450"/>
              <a:ext cx="84297" cy="105728"/>
            </a:xfrm>
            <a:custGeom>
              <a:avLst/>
              <a:gdLst/>
              <a:ahLst/>
              <a:cxnLst/>
              <a:rect l="l" t="t" r="r" b="b"/>
              <a:pathLst>
                <a:path w="93663" h="117475" extrusionOk="0">
                  <a:moveTo>
                    <a:pt x="63500" y="104775"/>
                  </a:moveTo>
                  <a:lnTo>
                    <a:pt x="65088" y="104775"/>
                  </a:lnTo>
                  <a:lnTo>
                    <a:pt x="71438" y="107950"/>
                  </a:lnTo>
                  <a:lnTo>
                    <a:pt x="74613" y="107950"/>
                  </a:lnTo>
                  <a:lnTo>
                    <a:pt x="77788" y="114300"/>
                  </a:lnTo>
                  <a:lnTo>
                    <a:pt x="74613" y="117475"/>
                  </a:lnTo>
                  <a:lnTo>
                    <a:pt x="68263" y="114300"/>
                  </a:lnTo>
                  <a:lnTo>
                    <a:pt x="63500" y="111125"/>
                  </a:lnTo>
                  <a:close/>
                  <a:moveTo>
                    <a:pt x="38100" y="82550"/>
                  </a:moveTo>
                  <a:lnTo>
                    <a:pt x="50800" y="82550"/>
                  </a:lnTo>
                  <a:lnTo>
                    <a:pt x="50800" y="85725"/>
                  </a:lnTo>
                  <a:lnTo>
                    <a:pt x="53975" y="82550"/>
                  </a:lnTo>
                  <a:lnTo>
                    <a:pt x="57150" y="92075"/>
                  </a:lnTo>
                  <a:lnTo>
                    <a:pt x="57150" y="98425"/>
                  </a:lnTo>
                  <a:lnTo>
                    <a:pt x="44450" y="98425"/>
                  </a:lnTo>
                  <a:lnTo>
                    <a:pt x="38100" y="92075"/>
                  </a:lnTo>
                  <a:close/>
                  <a:moveTo>
                    <a:pt x="93663" y="63500"/>
                  </a:moveTo>
                  <a:lnTo>
                    <a:pt x="93663" y="82550"/>
                  </a:lnTo>
                  <a:lnTo>
                    <a:pt x="90488" y="92075"/>
                  </a:lnTo>
                  <a:lnTo>
                    <a:pt x="87313" y="101600"/>
                  </a:lnTo>
                  <a:lnTo>
                    <a:pt x="77788" y="101600"/>
                  </a:lnTo>
                  <a:lnTo>
                    <a:pt x="77788" y="98425"/>
                  </a:lnTo>
                  <a:lnTo>
                    <a:pt x="74613" y="95250"/>
                  </a:lnTo>
                  <a:lnTo>
                    <a:pt x="68263" y="92075"/>
                  </a:lnTo>
                  <a:lnTo>
                    <a:pt x="63500" y="79375"/>
                  </a:lnTo>
                  <a:lnTo>
                    <a:pt x="71438" y="69850"/>
                  </a:lnTo>
                  <a:close/>
                  <a:moveTo>
                    <a:pt x="47625" y="0"/>
                  </a:moveTo>
                  <a:lnTo>
                    <a:pt x="50800" y="3175"/>
                  </a:lnTo>
                  <a:lnTo>
                    <a:pt x="50800" y="12700"/>
                  </a:lnTo>
                  <a:lnTo>
                    <a:pt x="44450" y="25400"/>
                  </a:lnTo>
                  <a:lnTo>
                    <a:pt x="47625" y="41275"/>
                  </a:lnTo>
                  <a:lnTo>
                    <a:pt x="50800" y="44450"/>
                  </a:lnTo>
                  <a:lnTo>
                    <a:pt x="57150" y="44450"/>
                  </a:lnTo>
                  <a:lnTo>
                    <a:pt x="60325" y="53975"/>
                  </a:lnTo>
                  <a:lnTo>
                    <a:pt x="50800" y="63500"/>
                  </a:lnTo>
                  <a:lnTo>
                    <a:pt x="34925" y="82550"/>
                  </a:lnTo>
                  <a:lnTo>
                    <a:pt x="28575" y="98425"/>
                  </a:lnTo>
                  <a:lnTo>
                    <a:pt x="31750" y="104775"/>
                  </a:lnTo>
                  <a:lnTo>
                    <a:pt x="28575" y="111125"/>
                  </a:lnTo>
                  <a:lnTo>
                    <a:pt x="12700" y="104775"/>
                  </a:lnTo>
                  <a:lnTo>
                    <a:pt x="12700" y="98425"/>
                  </a:lnTo>
                  <a:lnTo>
                    <a:pt x="9525" y="85725"/>
                  </a:lnTo>
                  <a:lnTo>
                    <a:pt x="3175" y="79375"/>
                  </a:lnTo>
                  <a:lnTo>
                    <a:pt x="0" y="60325"/>
                  </a:lnTo>
                  <a:lnTo>
                    <a:pt x="0" y="41275"/>
                  </a:lnTo>
                  <a:lnTo>
                    <a:pt x="3175" y="31750"/>
                  </a:lnTo>
                  <a:lnTo>
                    <a:pt x="9525" y="22225"/>
                  </a:lnTo>
                  <a:lnTo>
                    <a:pt x="19050" y="22225"/>
                  </a:lnTo>
                  <a:lnTo>
                    <a:pt x="28575" y="19050"/>
                  </a:lnTo>
                  <a:lnTo>
                    <a:pt x="38100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520;p35">
              <a:extLst>
                <a:ext uri="{FF2B5EF4-FFF2-40B4-BE49-F238E27FC236}">
                  <a16:creationId xmlns:a16="http://schemas.microsoft.com/office/drawing/2014/main" id="{C0EFA19E-1811-CF21-F290-11B864C114D2}"/>
                </a:ext>
              </a:extLst>
            </p:cNvPr>
            <p:cNvSpPr/>
            <p:nvPr/>
          </p:nvSpPr>
          <p:spPr>
            <a:xfrm>
              <a:off x="6282770" y="3394313"/>
              <a:ext cx="111442" cy="85725"/>
            </a:xfrm>
            <a:custGeom>
              <a:avLst/>
              <a:gdLst/>
              <a:ahLst/>
              <a:cxnLst/>
              <a:rect l="l" t="t" r="r" b="b"/>
              <a:pathLst>
                <a:path w="78" h="60" extrusionOk="0">
                  <a:moveTo>
                    <a:pt x="16" y="34"/>
                  </a:moveTo>
                  <a:lnTo>
                    <a:pt x="22" y="32"/>
                  </a:lnTo>
                  <a:lnTo>
                    <a:pt x="24" y="34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6" y="50"/>
                  </a:lnTo>
                  <a:lnTo>
                    <a:pt x="32" y="52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50" y="60"/>
                  </a:lnTo>
                  <a:lnTo>
                    <a:pt x="56" y="54"/>
                  </a:lnTo>
                  <a:lnTo>
                    <a:pt x="62" y="54"/>
                  </a:lnTo>
                  <a:lnTo>
                    <a:pt x="64" y="46"/>
                  </a:lnTo>
                  <a:lnTo>
                    <a:pt x="66" y="38"/>
                  </a:lnTo>
                  <a:lnTo>
                    <a:pt x="72" y="34"/>
                  </a:lnTo>
                  <a:lnTo>
                    <a:pt x="78" y="18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2" y="8"/>
                  </a:lnTo>
                  <a:lnTo>
                    <a:pt x="58" y="6"/>
                  </a:lnTo>
                  <a:lnTo>
                    <a:pt x="56" y="4"/>
                  </a:lnTo>
                  <a:lnTo>
                    <a:pt x="50" y="2"/>
                  </a:lnTo>
                  <a:lnTo>
                    <a:pt x="42" y="2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6" y="28"/>
                  </a:lnTo>
                  <a:lnTo>
                    <a:pt x="16" y="3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521;p35">
              <a:extLst>
                <a:ext uri="{FF2B5EF4-FFF2-40B4-BE49-F238E27FC236}">
                  <a16:creationId xmlns:a16="http://schemas.microsoft.com/office/drawing/2014/main" id="{B192EA8F-068D-0522-73EC-E4DA08783585}"/>
                </a:ext>
              </a:extLst>
            </p:cNvPr>
            <p:cNvSpPr/>
            <p:nvPr/>
          </p:nvSpPr>
          <p:spPr>
            <a:xfrm>
              <a:off x="6305630" y="3528615"/>
              <a:ext cx="351472" cy="234315"/>
            </a:xfrm>
            <a:custGeom>
              <a:avLst/>
              <a:gdLst/>
              <a:ahLst/>
              <a:cxnLst/>
              <a:rect l="l" t="t" r="r" b="b"/>
              <a:pathLst>
                <a:path w="246" h="164" extrusionOk="0">
                  <a:moveTo>
                    <a:pt x="222" y="100"/>
                  </a:moveTo>
                  <a:lnTo>
                    <a:pt x="228" y="98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94"/>
                  </a:lnTo>
                  <a:lnTo>
                    <a:pt x="242" y="90"/>
                  </a:lnTo>
                  <a:lnTo>
                    <a:pt x="242" y="86"/>
                  </a:lnTo>
                  <a:lnTo>
                    <a:pt x="240" y="82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40" y="72"/>
                  </a:lnTo>
                  <a:lnTo>
                    <a:pt x="244" y="70"/>
                  </a:lnTo>
                  <a:lnTo>
                    <a:pt x="246" y="66"/>
                  </a:lnTo>
                  <a:lnTo>
                    <a:pt x="244" y="60"/>
                  </a:lnTo>
                  <a:lnTo>
                    <a:pt x="226" y="54"/>
                  </a:lnTo>
                  <a:lnTo>
                    <a:pt x="216" y="52"/>
                  </a:lnTo>
                  <a:lnTo>
                    <a:pt x="216" y="52"/>
                  </a:lnTo>
                  <a:lnTo>
                    <a:pt x="212" y="48"/>
                  </a:lnTo>
                  <a:lnTo>
                    <a:pt x="208" y="44"/>
                  </a:lnTo>
                  <a:lnTo>
                    <a:pt x="206" y="44"/>
                  </a:lnTo>
                  <a:lnTo>
                    <a:pt x="202" y="46"/>
                  </a:lnTo>
                  <a:lnTo>
                    <a:pt x="194" y="46"/>
                  </a:lnTo>
                  <a:lnTo>
                    <a:pt x="184" y="42"/>
                  </a:lnTo>
                  <a:lnTo>
                    <a:pt x="182" y="38"/>
                  </a:lnTo>
                  <a:lnTo>
                    <a:pt x="180" y="32"/>
                  </a:lnTo>
                  <a:lnTo>
                    <a:pt x="176" y="26"/>
                  </a:lnTo>
                  <a:lnTo>
                    <a:pt x="166" y="24"/>
                  </a:lnTo>
                  <a:lnTo>
                    <a:pt x="164" y="16"/>
                  </a:lnTo>
                  <a:lnTo>
                    <a:pt x="162" y="4"/>
                  </a:lnTo>
                  <a:lnTo>
                    <a:pt x="160" y="2"/>
                  </a:lnTo>
                  <a:lnTo>
                    <a:pt x="154" y="0"/>
                  </a:lnTo>
                  <a:lnTo>
                    <a:pt x="146" y="4"/>
                  </a:lnTo>
                  <a:lnTo>
                    <a:pt x="138" y="8"/>
                  </a:lnTo>
                  <a:lnTo>
                    <a:pt x="136" y="8"/>
                  </a:lnTo>
                  <a:lnTo>
                    <a:pt x="132" y="6"/>
                  </a:lnTo>
                  <a:lnTo>
                    <a:pt x="120" y="8"/>
                  </a:lnTo>
                  <a:lnTo>
                    <a:pt x="118" y="10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08" y="20"/>
                  </a:lnTo>
                  <a:lnTo>
                    <a:pt x="88" y="18"/>
                  </a:lnTo>
                  <a:lnTo>
                    <a:pt x="74" y="18"/>
                  </a:lnTo>
                  <a:lnTo>
                    <a:pt x="56" y="12"/>
                  </a:lnTo>
                  <a:lnTo>
                    <a:pt x="48" y="10"/>
                  </a:lnTo>
                  <a:lnTo>
                    <a:pt x="40" y="12"/>
                  </a:lnTo>
                  <a:lnTo>
                    <a:pt x="30" y="12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8" y="38"/>
                  </a:lnTo>
                  <a:lnTo>
                    <a:pt x="26" y="44"/>
                  </a:lnTo>
                  <a:lnTo>
                    <a:pt x="24" y="44"/>
                  </a:lnTo>
                  <a:lnTo>
                    <a:pt x="16" y="50"/>
                  </a:lnTo>
                  <a:lnTo>
                    <a:pt x="10" y="58"/>
                  </a:lnTo>
                  <a:lnTo>
                    <a:pt x="6" y="72"/>
                  </a:lnTo>
                  <a:lnTo>
                    <a:pt x="0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8" y="92"/>
                  </a:lnTo>
                  <a:lnTo>
                    <a:pt x="10" y="92"/>
                  </a:lnTo>
                  <a:lnTo>
                    <a:pt x="12" y="94"/>
                  </a:lnTo>
                  <a:lnTo>
                    <a:pt x="20" y="94"/>
                  </a:lnTo>
                  <a:lnTo>
                    <a:pt x="28" y="96"/>
                  </a:lnTo>
                  <a:lnTo>
                    <a:pt x="44" y="96"/>
                  </a:lnTo>
                  <a:lnTo>
                    <a:pt x="52" y="94"/>
                  </a:lnTo>
                  <a:lnTo>
                    <a:pt x="56" y="94"/>
                  </a:lnTo>
                  <a:lnTo>
                    <a:pt x="58" y="90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6" y="86"/>
                  </a:lnTo>
                  <a:lnTo>
                    <a:pt x="72" y="86"/>
                  </a:lnTo>
                  <a:lnTo>
                    <a:pt x="74" y="84"/>
                  </a:lnTo>
                  <a:lnTo>
                    <a:pt x="80" y="86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4"/>
                  </a:lnTo>
                  <a:lnTo>
                    <a:pt x="96" y="94"/>
                  </a:lnTo>
                  <a:lnTo>
                    <a:pt x="98" y="9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102" y="114"/>
                  </a:lnTo>
                  <a:lnTo>
                    <a:pt x="108" y="118"/>
                  </a:lnTo>
                  <a:lnTo>
                    <a:pt x="106" y="122"/>
                  </a:lnTo>
                  <a:lnTo>
                    <a:pt x="110" y="126"/>
                  </a:lnTo>
                  <a:lnTo>
                    <a:pt x="108" y="126"/>
                  </a:lnTo>
                  <a:lnTo>
                    <a:pt x="98" y="122"/>
                  </a:lnTo>
                  <a:lnTo>
                    <a:pt x="94" y="124"/>
                  </a:lnTo>
                  <a:lnTo>
                    <a:pt x="94" y="128"/>
                  </a:lnTo>
                  <a:lnTo>
                    <a:pt x="94" y="132"/>
                  </a:lnTo>
                  <a:lnTo>
                    <a:pt x="90" y="136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0" y="148"/>
                  </a:lnTo>
                  <a:lnTo>
                    <a:pt x="100" y="144"/>
                  </a:lnTo>
                  <a:lnTo>
                    <a:pt x="104" y="148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2" y="140"/>
                  </a:lnTo>
                  <a:lnTo>
                    <a:pt x="106" y="136"/>
                  </a:lnTo>
                  <a:lnTo>
                    <a:pt x="110" y="136"/>
                  </a:lnTo>
                  <a:lnTo>
                    <a:pt x="114" y="132"/>
                  </a:lnTo>
                  <a:lnTo>
                    <a:pt x="118" y="124"/>
                  </a:lnTo>
                  <a:lnTo>
                    <a:pt x="124" y="122"/>
                  </a:lnTo>
                  <a:lnTo>
                    <a:pt x="130" y="122"/>
                  </a:lnTo>
                  <a:lnTo>
                    <a:pt x="134" y="126"/>
                  </a:lnTo>
                  <a:lnTo>
                    <a:pt x="142" y="132"/>
                  </a:lnTo>
                  <a:lnTo>
                    <a:pt x="150" y="130"/>
                  </a:lnTo>
                  <a:lnTo>
                    <a:pt x="158" y="132"/>
                  </a:lnTo>
                  <a:lnTo>
                    <a:pt x="158" y="136"/>
                  </a:lnTo>
                  <a:lnTo>
                    <a:pt x="152" y="138"/>
                  </a:lnTo>
                  <a:lnTo>
                    <a:pt x="146" y="142"/>
                  </a:lnTo>
                  <a:lnTo>
                    <a:pt x="142" y="146"/>
                  </a:lnTo>
                  <a:lnTo>
                    <a:pt x="146" y="146"/>
                  </a:lnTo>
                  <a:lnTo>
                    <a:pt x="154" y="150"/>
                  </a:lnTo>
                  <a:lnTo>
                    <a:pt x="156" y="156"/>
                  </a:lnTo>
                  <a:lnTo>
                    <a:pt x="156" y="160"/>
                  </a:lnTo>
                  <a:lnTo>
                    <a:pt x="154" y="160"/>
                  </a:lnTo>
                  <a:lnTo>
                    <a:pt x="158" y="164"/>
                  </a:lnTo>
                  <a:lnTo>
                    <a:pt x="170" y="158"/>
                  </a:lnTo>
                  <a:lnTo>
                    <a:pt x="180" y="152"/>
                  </a:lnTo>
                  <a:lnTo>
                    <a:pt x="184" y="150"/>
                  </a:lnTo>
                  <a:lnTo>
                    <a:pt x="188" y="152"/>
                  </a:lnTo>
                  <a:lnTo>
                    <a:pt x="192" y="152"/>
                  </a:lnTo>
                  <a:lnTo>
                    <a:pt x="196" y="152"/>
                  </a:lnTo>
                  <a:lnTo>
                    <a:pt x="196" y="144"/>
                  </a:lnTo>
                  <a:lnTo>
                    <a:pt x="192" y="144"/>
                  </a:lnTo>
                  <a:lnTo>
                    <a:pt x="190" y="144"/>
                  </a:lnTo>
                  <a:lnTo>
                    <a:pt x="186" y="146"/>
                  </a:lnTo>
                  <a:lnTo>
                    <a:pt x="182" y="148"/>
                  </a:lnTo>
                  <a:lnTo>
                    <a:pt x="176" y="140"/>
                  </a:lnTo>
                  <a:lnTo>
                    <a:pt x="174" y="132"/>
                  </a:lnTo>
                  <a:lnTo>
                    <a:pt x="174" y="130"/>
                  </a:lnTo>
                  <a:lnTo>
                    <a:pt x="178" y="124"/>
                  </a:lnTo>
                  <a:lnTo>
                    <a:pt x="180" y="126"/>
                  </a:lnTo>
                  <a:lnTo>
                    <a:pt x="198" y="118"/>
                  </a:lnTo>
                  <a:lnTo>
                    <a:pt x="210" y="112"/>
                  </a:lnTo>
                  <a:lnTo>
                    <a:pt x="220" y="112"/>
                  </a:lnTo>
                  <a:lnTo>
                    <a:pt x="220" y="106"/>
                  </a:lnTo>
                  <a:lnTo>
                    <a:pt x="222" y="10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522;p35">
              <a:extLst>
                <a:ext uri="{FF2B5EF4-FFF2-40B4-BE49-F238E27FC236}">
                  <a16:creationId xmlns:a16="http://schemas.microsoft.com/office/drawing/2014/main" id="{397601CF-D262-26B6-158B-C69D8F384961}"/>
                </a:ext>
              </a:extLst>
            </p:cNvPr>
            <p:cNvSpPr/>
            <p:nvPr/>
          </p:nvSpPr>
          <p:spPr>
            <a:xfrm>
              <a:off x="6257052" y="3434318"/>
              <a:ext cx="62865" cy="31432"/>
            </a:xfrm>
            <a:custGeom>
              <a:avLst/>
              <a:gdLst/>
              <a:ahLst/>
              <a:cxnLst/>
              <a:rect l="l" t="t" r="r" b="b"/>
              <a:pathLst>
                <a:path w="44" h="22" extrusionOk="0">
                  <a:moveTo>
                    <a:pt x="24" y="22"/>
                  </a:moveTo>
                  <a:lnTo>
                    <a:pt x="34" y="22"/>
                  </a:lnTo>
                  <a:lnTo>
                    <a:pt x="44" y="22"/>
                  </a:lnTo>
                  <a:lnTo>
                    <a:pt x="42" y="20"/>
                  </a:lnTo>
                  <a:lnTo>
                    <a:pt x="42" y="14"/>
                  </a:lnTo>
                  <a:lnTo>
                    <a:pt x="42" y="6"/>
                  </a:lnTo>
                  <a:lnTo>
                    <a:pt x="40" y="4"/>
                  </a:lnTo>
                  <a:lnTo>
                    <a:pt x="34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4" y="2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523;p35">
              <a:extLst>
                <a:ext uri="{FF2B5EF4-FFF2-40B4-BE49-F238E27FC236}">
                  <a16:creationId xmlns:a16="http://schemas.microsoft.com/office/drawing/2014/main" id="{5CBCBD94-4C38-3E68-A11C-654629A10C5E}"/>
                </a:ext>
              </a:extLst>
            </p:cNvPr>
            <p:cNvSpPr/>
            <p:nvPr/>
          </p:nvSpPr>
          <p:spPr>
            <a:xfrm>
              <a:off x="6325632" y="3402885"/>
              <a:ext cx="188595" cy="162877"/>
            </a:xfrm>
            <a:custGeom>
              <a:avLst/>
              <a:gdLst/>
              <a:ahLst/>
              <a:cxnLst/>
              <a:rect l="l" t="t" r="r" b="b"/>
              <a:pathLst>
                <a:path w="132" h="114" extrusionOk="0">
                  <a:moveTo>
                    <a:pt x="60" y="10"/>
                  </a:moveTo>
                  <a:lnTo>
                    <a:pt x="58" y="10"/>
                  </a:lnTo>
                  <a:lnTo>
                    <a:pt x="48" y="12"/>
                  </a:lnTo>
                  <a:lnTo>
                    <a:pt x="42" y="28"/>
                  </a:lnTo>
                  <a:lnTo>
                    <a:pt x="36" y="32"/>
                  </a:lnTo>
                  <a:lnTo>
                    <a:pt x="34" y="40"/>
                  </a:lnTo>
                  <a:lnTo>
                    <a:pt x="32" y="48"/>
                  </a:lnTo>
                  <a:lnTo>
                    <a:pt x="26" y="48"/>
                  </a:lnTo>
                  <a:lnTo>
                    <a:pt x="20" y="54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6" y="54"/>
                  </a:lnTo>
                  <a:lnTo>
                    <a:pt x="8" y="64"/>
                  </a:lnTo>
                  <a:lnTo>
                    <a:pt x="10" y="70"/>
                  </a:lnTo>
                  <a:lnTo>
                    <a:pt x="12" y="78"/>
                  </a:lnTo>
                  <a:lnTo>
                    <a:pt x="10" y="82"/>
                  </a:lnTo>
                  <a:lnTo>
                    <a:pt x="8" y="84"/>
                  </a:lnTo>
                  <a:lnTo>
                    <a:pt x="0" y="92"/>
                  </a:lnTo>
                  <a:lnTo>
                    <a:pt x="6" y="94"/>
                  </a:lnTo>
                  <a:lnTo>
                    <a:pt x="8" y="96"/>
                  </a:lnTo>
                  <a:lnTo>
                    <a:pt x="6" y="104"/>
                  </a:lnTo>
                  <a:lnTo>
                    <a:pt x="6" y="106"/>
                  </a:lnTo>
                  <a:lnTo>
                    <a:pt x="6" y="108"/>
                  </a:lnTo>
                  <a:lnTo>
                    <a:pt x="10" y="104"/>
                  </a:lnTo>
                  <a:lnTo>
                    <a:pt x="16" y="100"/>
                  </a:lnTo>
                  <a:lnTo>
                    <a:pt x="26" y="100"/>
                  </a:lnTo>
                  <a:lnTo>
                    <a:pt x="34" y="98"/>
                  </a:lnTo>
                  <a:lnTo>
                    <a:pt x="42" y="100"/>
                  </a:lnTo>
                  <a:lnTo>
                    <a:pt x="60" y="106"/>
                  </a:lnTo>
                  <a:lnTo>
                    <a:pt x="74" y="106"/>
                  </a:lnTo>
                  <a:lnTo>
                    <a:pt x="94" y="108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4" y="98"/>
                  </a:lnTo>
                  <a:lnTo>
                    <a:pt x="106" y="96"/>
                  </a:lnTo>
                  <a:lnTo>
                    <a:pt x="118" y="94"/>
                  </a:lnTo>
                  <a:lnTo>
                    <a:pt x="116" y="90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6"/>
                  </a:lnTo>
                  <a:lnTo>
                    <a:pt x="114" y="82"/>
                  </a:lnTo>
                  <a:lnTo>
                    <a:pt x="114" y="78"/>
                  </a:lnTo>
                  <a:lnTo>
                    <a:pt x="112" y="76"/>
                  </a:lnTo>
                  <a:lnTo>
                    <a:pt x="112" y="70"/>
                  </a:lnTo>
                  <a:lnTo>
                    <a:pt x="116" y="70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8" y="68"/>
                  </a:lnTo>
                  <a:lnTo>
                    <a:pt x="132" y="64"/>
                  </a:lnTo>
                  <a:lnTo>
                    <a:pt x="128" y="58"/>
                  </a:lnTo>
                  <a:lnTo>
                    <a:pt x="118" y="56"/>
                  </a:lnTo>
                  <a:lnTo>
                    <a:pt x="120" y="52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106" y="28"/>
                  </a:lnTo>
                  <a:lnTo>
                    <a:pt x="108" y="20"/>
                  </a:lnTo>
                  <a:lnTo>
                    <a:pt x="106" y="14"/>
                  </a:lnTo>
                  <a:lnTo>
                    <a:pt x="94" y="8"/>
                  </a:lnTo>
                  <a:lnTo>
                    <a:pt x="86" y="10"/>
                  </a:lnTo>
                  <a:lnTo>
                    <a:pt x="82" y="4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2" y="2"/>
                  </a:lnTo>
                  <a:lnTo>
                    <a:pt x="70" y="4"/>
                  </a:lnTo>
                  <a:lnTo>
                    <a:pt x="68" y="0"/>
                  </a:lnTo>
                  <a:lnTo>
                    <a:pt x="64" y="4"/>
                  </a:lnTo>
                  <a:lnTo>
                    <a:pt x="60" y="1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524;p35">
              <a:extLst>
                <a:ext uri="{FF2B5EF4-FFF2-40B4-BE49-F238E27FC236}">
                  <a16:creationId xmlns:a16="http://schemas.microsoft.com/office/drawing/2014/main" id="{51EF6D12-318D-9652-228E-8D33264A9AB0}"/>
                </a:ext>
              </a:extLst>
            </p:cNvPr>
            <p:cNvSpPr/>
            <p:nvPr/>
          </p:nvSpPr>
          <p:spPr>
            <a:xfrm>
              <a:off x="6151325" y="3451463"/>
              <a:ext cx="194310" cy="180022"/>
            </a:xfrm>
            <a:custGeom>
              <a:avLst/>
              <a:gdLst/>
              <a:ahLst/>
              <a:cxnLst/>
              <a:rect l="l" t="t" r="r" b="b"/>
              <a:pathLst>
                <a:path w="136" h="126" extrusionOk="0">
                  <a:moveTo>
                    <a:pt x="4" y="38"/>
                  </a:moveTo>
                  <a:lnTo>
                    <a:pt x="0" y="46"/>
                  </a:lnTo>
                  <a:lnTo>
                    <a:pt x="6" y="50"/>
                  </a:lnTo>
                  <a:lnTo>
                    <a:pt x="8" y="62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2" y="82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6" y="86"/>
                  </a:lnTo>
                  <a:lnTo>
                    <a:pt x="20" y="90"/>
                  </a:lnTo>
                  <a:lnTo>
                    <a:pt x="28" y="92"/>
                  </a:lnTo>
                  <a:lnTo>
                    <a:pt x="32" y="100"/>
                  </a:lnTo>
                  <a:lnTo>
                    <a:pt x="36" y="104"/>
                  </a:lnTo>
                  <a:lnTo>
                    <a:pt x="38" y="102"/>
                  </a:lnTo>
                  <a:lnTo>
                    <a:pt x="38" y="98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50" y="100"/>
                  </a:lnTo>
                  <a:lnTo>
                    <a:pt x="50" y="102"/>
                  </a:lnTo>
                  <a:lnTo>
                    <a:pt x="50" y="106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64" y="116"/>
                  </a:lnTo>
                  <a:lnTo>
                    <a:pt x="68" y="118"/>
                  </a:lnTo>
                  <a:lnTo>
                    <a:pt x="70" y="116"/>
                  </a:lnTo>
                  <a:lnTo>
                    <a:pt x="72" y="114"/>
                  </a:lnTo>
                  <a:lnTo>
                    <a:pt x="78" y="124"/>
                  </a:lnTo>
                  <a:lnTo>
                    <a:pt x="80" y="122"/>
                  </a:lnTo>
                  <a:lnTo>
                    <a:pt x="86" y="118"/>
                  </a:lnTo>
                  <a:lnTo>
                    <a:pt x="98" y="118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10" y="124"/>
                  </a:lnTo>
                  <a:lnTo>
                    <a:pt x="114" y="126"/>
                  </a:lnTo>
                  <a:lnTo>
                    <a:pt x="118" y="112"/>
                  </a:lnTo>
                  <a:lnTo>
                    <a:pt x="124" y="104"/>
                  </a:lnTo>
                  <a:lnTo>
                    <a:pt x="132" y="98"/>
                  </a:lnTo>
                  <a:lnTo>
                    <a:pt x="134" y="98"/>
                  </a:lnTo>
                  <a:lnTo>
                    <a:pt x="136" y="92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8" y="70"/>
                  </a:lnTo>
                  <a:lnTo>
                    <a:pt x="130" y="62"/>
                  </a:lnTo>
                  <a:lnTo>
                    <a:pt x="128" y="60"/>
                  </a:lnTo>
                  <a:lnTo>
                    <a:pt x="122" y="58"/>
                  </a:lnTo>
                  <a:lnTo>
                    <a:pt x="130" y="50"/>
                  </a:lnTo>
                  <a:lnTo>
                    <a:pt x="132" y="48"/>
                  </a:lnTo>
                  <a:lnTo>
                    <a:pt x="134" y="44"/>
                  </a:lnTo>
                  <a:lnTo>
                    <a:pt x="132" y="36"/>
                  </a:lnTo>
                  <a:lnTo>
                    <a:pt x="130" y="30"/>
                  </a:lnTo>
                  <a:lnTo>
                    <a:pt x="128" y="20"/>
                  </a:lnTo>
                  <a:lnTo>
                    <a:pt x="124" y="12"/>
                  </a:lnTo>
                  <a:lnTo>
                    <a:pt x="118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66" y="10"/>
                  </a:lnTo>
                  <a:lnTo>
                    <a:pt x="60" y="8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8" y="10"/>
                  </a:lnTo>
                  <a:lnTo>
                    <a:pt x="6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4" y="34"/>
                  </a:lnTo>
                  <a:lnTo>
                    <a:pt x="4" y="3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6" name="Google Shape;525;p35">
              <a:extLst>
                <a:ext uri="{FF2B5EF4-FFF2-40B4-BE49-F238E27FC236}">
                  <a16:creationId xmlns:a16="http://schemas.microsoft.com/office/drawing/2014/main" id="{F60EB68B-641B-8BE3-AB5F-94BC3315648F}"/>
                </a:ext>
              </a:extLst>
            </p:cNvPr>
            <p:cNvSpPr/>
            <p:nvPr/>
          </p:nvSpPr>
          <p:spPr>
            <a:xfrm>
              <a:off x="5995590" y="3445748"/>
              <a:ext cx="172879" cy="234315"/>
            </a:xfrm>
            <a:custGeom>
              <a:avLst/>
              <a:gdLst/>
              <a:ahLst/>
              <a:cxnLst/>
              <a:rect l="l" t="t" r="r" b="b"/>
              <a:pathLst>
                <a:path w="192088" h="260350" extrusionOk="0">
                  <a:moveTo>
                    <a:pt x="160338" y="9525"/>
                  </a:moveTo>
                  <a:lnTo>
                    <a:pt x="163513" y="19050"/>
                  </a:lnTo>
                  <a:lnTo>
                    <a:pt x="163513" y="22225"/>
                  </a:lnTo>
                  <a:lnTo>
                    <a:pt x="153988" y="22225"/>
                  </a:lnTo>
                  <a:close/>
                  <a:moveTo>
                    <a:pt x="57150" y="0"/>
                  </a:moveTo>
                  <a:lnTo>
                    <a:pt x="73025" y="6350"/>
                  </a:lnTo>
                  <a:lnTo>
                    <a:pt x="82550" y="9525"/>
                  </a:lnTo>
                  <a:lnTo>
                    <a:pt x="95250" y="19050"/>
                  </a:lnTo>
                  <a:lnTo>
                    <a:pt x="107950" y="22225"/>
                  </a:lnTo>
                  <a:lnTo>
                    <a:pt x="104775" y="38100"/>
                  </a:lnTo>
                  <a:lnTo>
                    <a:pt x="112713" y="34925"/>
                  </a:lnTo>
                  <a:lnTo>
                    <a:pt x="119063" y="34925"/>
                  </a:lnTo>
                  <a:lnTo>
                    <a:pt x="134938" y="22225"/>
                  </a:lnTo>
                  <a:lnTo>
                    <a:pt x="147638" y="19050"/>
                  </a:lnTo>
                  <a:lnTo>
                    <a:pt x="150813" y="22225"/>
                  </a:lnTo>
                  <a:lnTo>
                    <a:pt x="153988" y="25400"/>
                  </a:lnTo>
                  <a:lnTo>
                    <a:pt x="163513" y="28575"/>
                  </a:lnTo>
                  <a:lnTo>
                    <a:pt x="166688" y="41275"/>
                  </a:lnTo>
                  <a:lnTo>
                    <a:pt x="176213" y="47625"/>
                  </a:lnTo>
                  <a:lnTo>
                    <a:pt x="179388" y="60325"/>
                  </a:lnTo>
                  <a:lnTo>
                    <a:pt x="179388" y="66675"/>
                  </a:lnTo>
                  <a:lnTo>
                    <a:pt x="173038" y="79375"/>
                  </a:lnTo>
                  <a:lnTo>
                    <a:pt x="182563" y="85725"/>
                  </a:lnTo>
                  <a:lnTo>
                    <a:pt x="185738" y="104775"/>
                  </a:lnTo>
                  <a:lnTo>
                    <a:pt x="182563" y="114300"/>
                  </a:lnTo>
                  <a:lnTo>
                    <a:pt x="188913" y="123825"/>
                  </a:lnTo>
                  <a:lnTo>
                    <a:pt x="192088" y="136525"/>
                  </a:lnTo>
                  <a:lnTo>
                    <a:pt x="188913" y="146050"/>
                  </a:lnTo>
                  <a:lnTo>
                    <a:pt x="179388" y="139700"/>
                  </a:lnTo>
                  <a:lnTo>
                    <a:pt x="179388" y="142875"/>
                  </a:lnTo>
                  <a:lnTo>
                    <a:pt x="153988" y="155575"/>
                  </a:lnTo>
                  <a:lnTo>
                    <a:pt x="128588" y="165100"/>
                  </a:lnTo>
                  <a:lnTo>
                    <a:pt x="134938" y="174625"/>
                  </a:lnTo>
                  <a:lnTo>
                    <a:pt x="141288" y="190500"/>
                  </a:lnTo>
                  <a:lnTo>
                    <a:pt x="150813" y="200025"/>
                  </a:lnTo>
                  <a:lnTo>
                    <a:pt x="157163" y="209550"/>
                  </a:lnTo>
                  <a:lnTo>
                    <a:pt x="166688" y="215900"/>
                  </a:lnTo>
                  <a:lnTo>
                    <a:pt x="163513" y="225425"/>
                  </a:lnTo>
                  <a:lnTo>
                    <a:pt x="160338" y="222250"/>
                  </a:lnTo>
                  <a:lnTo>
                    <a:pt x="157163" y="222250"/>
                  </a:lnTo>
                  <a:lnTo>
                    <a:pt x="147638" y="234950"/>
                  </a:lnTo>
                  <a:lnTo>
                    <a:pt x="147638" y="244475"/>
                  </a:lnTo>
                  <a:lnTo>
                    <a:pt x="147638" y="257175"/>
                  </a:lnTo>
                  <a:lnTo>
                    <a:pt x="144463" y="254000"/>
                  </a:lnTo>
                  <a:lnTo>
                    <a:pt x="131763" y="250825"/>
                  </a:lnTo>
                  <a:lnTo>
                    <a:pt x="119063" y="254000"/>
                  </a:lnTo>
                  <a:lnTo>
                    <a:pt x="109538" y="260350"/>
                  </a:lnTo>
                  <a:lnTo>
                    <a:pt x="107950" y="260350"/>
                  </a:lnTo>
                  <a:lnTo>
                    <a:pt x="104775" y="257175"/>
                  </a:lnTo>
                  <a:lnTo>
                    <a:pt x="98425" y="254000"/>
                  </a:lnTo>
                  <a:lnTo>
                    <a:pt x="92075" y="254000"/>
                  </a:lnTo>
                  <a:lnTo>
                    <a:pt x="82550" y="254000"/>
                  </a:lnTo>
                  <a:lnTo>
                    <a:pt x="79375" y="257175"/>
                  </a:lnTo>
                  <a:lnTo>
                    <a:pt x="76200" y="257175"/>
                  </a:lnTo>
                  <a:lnTo>
                    <a:pt x="60325" y="250825"/>
                  </a:lnTo>
                  <a:lnTo>
                    <a:pt x="53975" y="250825"/>
                  </a:lnTo>
                  <a:lnTo>
                    <a:pt x="53975" y="254000"/>
                  </a:lnTo>
                  <a:lnTo>
                    <a:pt x="50800" y="254000"/>
                  </a:lnTo>
                  <a:lnTo>
                    <a:pt x="47625" y="254000"/>
                  </a:lnTo>
                  <a:lnTo>
                    <a:pt x="34925" y="254000"/>
                  </a:lnTo>
                  <a:lnTo>
                    <a:pt x="31750" y="254000"/>
                  </a:lnTo>
                  <a:lnTo>
                    <a:pt x="31750" y="247650"/>
                  </a:lnTo>
                  <a:lnTo>
                    <a:pt x="31750" y="238125"/>
                  </a:lnTo>
                  <a:lnTo>
                    <a:pt x="41275" y="219075"/>
                  </a:lnTo>
                  <a:lnTo>
                    <a:pt x="47625" y="209550"/>
                  </a:lnTo>
                  <a:lnTo>
                    <a:pt x="25400" y="203200"/>
                  </a:lnTo>
                  <a:lnTo>
                    <a:pt x="15875" y="200025"/>
                  </a:lnTo>
                  <a:lnTo>
                    <a:pt x="6350" y="193675"/>
                  </a:lnTo>
                  <a:lnTo>
                    <a:pt x="9525" y="184150"/>
                  </a:lnTo>
                  <a:lnTo>
                    <a:pt x="3175" y="171450"/>
                  </a:lnTo>
                  <a:lnTo>
                    <a:pt x="6350" y="158750"/>
                  </a:lnTo>
                  <a:lnTo>
                    <a:pt x="0" y="149225"/>
                  </a:lnTo>
                  <a:lnTo>
                    <a:pt x="3175" y="133350"/>
                  </a:lnTo>
                  <a:lnTo>
                    <a:pt x="3175" y="123825"/>
                  </a:lnTo>
                  <a:lnTo>
                    <a:pt x="0" y="117475"/>
                  </a:lnTo>
                  <a:lnTo>
                    <a:pt x="0" y="111125"/>
                  </a:lnTo>
                  <a:lnTo>
                    <a:pt x="3175" y="111125"/>
                  </a:lnTo>
                  <a:lnTo>
                    <a:pt x="6350" y="111125"/>
                  </a:lnTo>
                  <a:lnTo>
                    <a:pt x="22225" y="95250"/>
                  </a:lnTo>
                  <a:lnTo>
                    <a:pt x="25400" y="63500"/>
                  </a:lnTo>
                  <a:lnTo>
                    <a:pt x="22225" y="57150"/>
                  </a:lnTo>
                  <a:lnTo>
                    <a:pt x="28575" y="47625"/>
                  </a:lnTo>
                  <a:lnTo>
                    <a:pt x="41275" y="44450"/>
                  </a:lnTo>
                  <a:lnTo>
                    <a:pt x="50800" y="50800"/>
                  </a:lnTo>
                  <a:lnTo>
                    <a:pt x="57150" y="38100"/>
                  </a:lnTo>
                  <a:lnTo>
                    <a:pt x="63500" y="31750"/>
                  </a:lnTo>
                  <a:lnTo>
                    <a:pt x="63500" y="22225"/>
                  </a:lnTo>
                  <a:lnTo>
                    <a:pt x="60325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2400">
                <a:solidFill>
                  <a:schemeClr val="lt1"/>
                </a:solidFill>
              </a:endParaRPr>
            </a:p>
          </p:txBody>
        </p:sp>
        <p:sp>
          <p:nvSpPr>
            <p:cNvPr id="77" name="Google Shape;526;p35">
              <a:extLst>
                <a:ext uri="{FF2B5EF4-FFF2-40B4-BE49-F238E27FC236}">
                  <a16:creationId xmlns:a16="http://schemas.microsoft.com/office/drawing/2014/main" id="{542C3546-7EF9-F42A-6564-11FC55513F83}"/>
                </a:ext>
              </a:extLst>
            </p:cNvPr>
            <p:cNvSpPr/>
            <p:nvPr/>
          </p:nvSpPr>
          <p:spPr>
            <a:xfrm>
              <a:off x="5944155" y="3494325"/>
              <a:ext cx="74295" cy="85725"/>
            </a:xfrm>
            <a:custGeom>
              <a:avLst/>
              <a:gdLst/>
              <a:ahLst/>
              <a:cxnLst/>
              <a:rect l="l" t="t" r="r" b="b"/>
              <a:pathLst>
                <a:path w="82550" h="95250" extrusionOk="0">
                  <a:moveTo>
                    <a:pt x="9525" y="66675"/>
                  </a:moveTo>
                  <a:lnTo>
                    <a:pt x="19050" y="73025"/>
                  </a:lnTo>
                  <a:lnTo>
                    <a:pt x="9525" y="79375"/>
                  </a:lnTo>
                  <a:lnTo>
                    <a:pt x="3175" y="79375"/>
                  </a:lnTo>
                  <a:lnTo>
                    <a:pt x="0" y="76200"/>
                  </a:lnTo>
                  <a:lnTo>
                    <a:pt x="0" y="73025"/>
                  </a:lnTo>
                  <a:close/>
                  <a:moveTo>
                    <a:pt x="73025" y="0"/>
                  </a:moveTo>
                  <a:lnTo>
                    <a:pt x="79375" y="3175"/>
                  </a:lnTo>
                  <a:lnTo>
                    <a:pt x="82550" y="9525"/>
                  </a:lnTo>
                  <a:lnTo>
                    <a:pt x="79375" y="41275"/>
                  </a:lnTo>
                  <a:lnTo>
                    <a:pt x="63500" y="57150"/>
                  </a:lnTo>
                  <a:lnTo>
                    <a:pt x="60325" y="57150"/>
                  </a:lnTo>
                  <a:lnTo>
                    <a:pt x="57150" y="57150"/>
                  </a:lnTo>
                  <a:lnTo>
                    <a:pt x="57150" y="63500"/>
                  </a:lnTo>
                  <a:lnTo>
                    <a:pt x="60325" y="69850"/>
                  </a:lnTo>
                  <a:lnTo>
                    <a:pt x="60325" y="79375"/>
                  </a:lnTo>
                  <a:lnTo>
                    <a:pt x="57150" y="95250"/>
                  </a:lnTo>
                  <a:lnTo>
                    <a:pt x="50800" y="95250"/>
                  </a:lnTo>
                  <a:lnTo>
                    <a:pt x="47625" y="92075"/>
                  </a:lnTo>
                  <a:lnTo>
                    <a:pt x="53975" y="82550"/>
                  </a:lnTo>
                  <a:lnTo>
                    <a:pt x="47625" y="79375"/>
                  </a:lnTo>
                  <a:lnTo>
                    <a:pt x="44450" y="76200"/>
                  </a:lnTo>
                  <a:lnTo>
                    <a:pt x="41275" y="79375"/>
                  </a:lnTo>
                  <a:lnTo>
                    <a:pt x="28575" y="73025"/>
                  </a:lnTo>
                  <a:lnTo>
                    <a:pt x="19050" y="73025"/>
                  </a:lnTo>
                  <a:lnTo>
                    <a:pt x="15875" y="53975"/>
                  </a:lnTo>
                  <a:lnTo>
                    <a:pt x="22225" y="41275"/>
                  </a:lnTo>
                  <a:lnTo>
                    <a:pt x="28575" y="28575"/>
                  </a:lnTo>
                  <a:lnTo>
                    <a:pt x="31750" y="19050"/>
                  </a:lnTo>
                  <a:lnTo>
                    <a:pt x="44450" y="12700"/>
                  </a:lnTo>
                  <a:lnTo>
                    <a:pt x="53975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Google Shape;527;p35">
              <a:extLst>
                <a:ext uri="{FF2B5EF4-FFF2-40B4-BE49-F238E27FC236}">
                  <a16:creationId xmlns:a16="http://schemas.microsoft.com/office/drawing/2014/main" id="{288234A5-90FA-7329-D2B1-3060FD57ECC6}"/>
                </a:ext>
              </a:extLst>
            </p:cNvPr>
            <p:cNvSpPr/>
            <p:nvPr/>
          </p:nvSpPr>
          <p:spPr>
            <a:xfrm>
              <a:off x="5927010" y="3560048"/>
              <a:ext cx="74295" cy="57150"/>
            </a:xfrm>
            <a:custGeom>
              <a:avLst/>
              <a:gdLst/>
              <a:ahLst/>
              <a:cxnLst/>
              <a:rect l="l" t="t" r="r" b="b"/>
              <a:pathLst>
                <a:path w="52" h="40" extrusionOk="0">
                  <a:moveTo>
                    <a:pt x="8" y="14"/>
                  </a:moveTo>
                  <a:lnTo>
                    <a:pt x="18" y="24"/>
                  </a:lnTo>
                  <a:lnTo>
                    <a:pt x="22" y="24"/>
                  </a:lnTo>
                  <a:lnTo>
                    <a:pt x="22" y="30"/>
                  </a:lnTo>
                  <a:lnTo>
                    <a:pt x="30" y="30"/>
                  </a:lnTo>
                  <a:lnTo>
                    <a:pt x="32" y="34"/>
                  </a:lnTo>
                  <a:lnTo>
                    <a:pt x="38" y="38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6" y="36"/>
                  </a:lnTo>
                  <a:lnTo>
                    <a:pt x="44" y="32"/>
                  </a:lnTo>
                  <a:lnTo>
                    <a:pt x="50" y="28"/>
                  </a:lnTo>
                  <a:lnTo>
                    <a:pt x="52" y="20"/>
                  </a:lnTo>
                  <a:lnTo>
                    <a:pt x="48" y="14"/>
                  </a:lnTo>
                  <a:lnTo>
                    <a:pt x="44" y="14"/>
                  </a:lnTo>
                  <a:lnTo>
                    <a:pt x="42" y="12"/>
                  </a:lnTo>
                  <a:lnTo>
                    <a:pt x="46" y="6"/>
                  </a:lnTo>
                  <a:lnTo>
                    <a:pt x="42" y="4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4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0" y="8"/>
                  </a:lnTo>
                  <a:lnTo>
                    <a:pt x="6" y="16"/>
                  </a:lnTo>
                  <a:lnTo>
                    <a:pt x="8" y="1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528;p35">
              <a:extLst>
                <a:ext uri="{FF2B5EF4-FFF2-40B4-BE49-F238E27FC236}">
                  <a16:creationId xmlns:a16="http://schemas.microsoft.com/office/drawing/2014/main" id="{30E5A8E2-3CE3-1547-C45F-82FDB8EFF203}"/>
                </a:ext>
              </a:extLst>
            </p:cNvPr>
            <p:cNvSpPr/>
            <p:nvPr/>
          </p:nvSpPr>
          <p:spPr>
            <a:xfrm>
              <a:off x="5989875" y="3600053"/>
              <a:ext cx="14287" cy="20002"/>
            </a:xfrm>
            <a:custGeom>
              <a:avLst/>
              <a:gdLst/>
              <a:ahLst/>
              <a:cxnLst/>
              <a:rect l="l" t="t" r="r" b="b"/>
              <a:pathLst>
                <a:path w="10" h="14" extrusionOk="0">
                  <a:moveTo>
                    <a:pt x="6" y="0"/>
                  </a:moveTo>
                  <a:lnTo>
                    <a:pt x="0" y="4"/>
                  </a:lnTo>
                  <a:lnTo>
                    <a:pt x="2" y="8"/>
                  </a:lnTo>
                  <a:lnTo>
                    <a:pt x="0" y="12"/>
                  </a:lnTo>
                  <a:lnTo>
                    <a:pt x="8" y="14"/>
                  </a:lnTo>
                  <a:lnTo>
                    <a:pt x="10" y="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529;p35">
              <a:extLst>
                <a:ext uri="{FF2B5EF4-FFF2-40B4-BE49-F238E27FC236}">
                  <a16:creationId xmlns:a16="http://schemas.microsoft.com/office/drawing/2014/main" id="{A97FE9F1-0867-7BAC-C597-B0F94749B7FD}"/>
                </a:ext>
              </a:extLst>
            </p:cNvPr>
            <p:cNvSpPr/>
            <p:nvPr/>
          </p:nvSpPr>
          <p:spPr>
            <a:xfrm>
              <a:off x="6188472" y="3645773"/>
              <a:ext cx="134302" cy="80010"/>
            </a:xfrm>
            <a:custGeom>
              <a:avLst/>
              <a:gdLst/>
              <a:ahLst/>
              <a:cxnLst/>
              <a:rect l="l" t="t" r="r" b="b"/>
              <a:pathLst>
                <a:path w="94" h="56" extrusionOk="0">
                  <a:moveTo>
                    <a:pt x="78" y="4"/>
                  </a:moveTo>
                  <a:lnTo>
                    <a:pt x="74" y="0"/>
                  </a:lnTo>
                  <a:lnTo>
                    <a:pt x="68" y="2"/>
                  </a:lnTo>
                  <a:lnTo>
                    <a:pt x="64" y="0"/>
                  </a:lnTo>
                  <a:lnTo>
                    <a:pt x="60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6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8"/>
                  </a:lnTo>
                  <a:lnTo>
                    <a:pt x="8" y="22"/>
                  </a:lnTo>
                  <a:lnTo>
                    <a:pt x="6" y="28"/>
                  </a:lnTo>
                  <a:lnTo>
                    <a:pt x="6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8" y="42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8" y="52"/>
                  </a:lnTo>
                  <a:lnTo>
                    <a:pt x="30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6" y="50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8" y="50"/>
                  </a:lnTo>
                  <a:lnTo>
                    <a:pt x="60" y="48"/>
                  </a:lnTo>
                  <a:lnTo>
                    <a:pt x="64" y="48"/>
                  </a:lnTo>
                  <a:lnTo>
                    <a:pt x="66" y="46"/>
                  </a:lnTo>
                  <a:lnTo>
                    <a:pt x="70" y="44"/>
                  </a:lnTo>
                  <a:lnTo>
                    <a:pt x="78" y="28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4" y="12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80" y="4"/>
                  </a:lnTo>
                  <a:lnTo>
                    <a:pt x="78" y="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Google Shape;530;p35">
              <a:extLst>
                <a:ext uri="{FF2B5EF4-FFF2-40B4-BE49-F238E27FC236}">
                  <a16:creationId xmlns:a16="http://schemas.microsoft.com/office/drawing/2014/main" id="{370425FC-2AC7-618E-9416-B18C120EF7B1}"/>
                </a:ext>
              </a:extLst>
            </p:cNvPr>
            <p:cNvSpPr/>
            <p:nvPr/>
          </p:nvSpPr>
          <p:spPr>
            <a:xfrm>
              <a:off x="6205617" y="3614340"/>
              <a:ext cx="108585" cy="54292"/>
            </a:xfrm>
            <a:custGeom>
              <a:avLst/>
              <a:gdLst/>
              <a:ahLst/>
              <a:cxnLst/>
              <a:rect l="l" t="t" r="r" b="b"/>
              <a:pathLst>
                <a:path w="76" h="38" extrusionOk="0">
                  <a:moveTo>
                    <a:pt x="70" y="8"/>
                  </a:moveTo>
                  <a:lnTo>
                    <a:pt x="70" y="8"/>
                  </a:lnTo>
                  <a:lnTo>
                    <a:pt x="60" y="4"/>
                  </a:lnTo>
                  <a:lnTo>
                    <a:pt x="48" y="4"/>
                  </a:lnTo>
                  <a:lnTo>
                    <a:pt x="42" y="8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32" y="2"/>
                  </a:lnTo>
                  <a:lnTo>
                    <a:pt x="30" y="4"/>
                  </a:lnTo>
                  <a:lnTo>
                    <a:pt x="26" y="2"/>
                  </a:lnTo>
                  <a:lnTo>
                    <a:pt x="20" y="6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0" y="18"/>
                  </a:lnTo>
                  <a:lnTo>
                    <a:pt x="4" y="16"/>
                  </a:lnTo>
                  <a:lnTo>
                    <a:pt x="0" y="22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12" y="38"/>
                  </a:lnTo>
                  <a:lnTo>
                    <a:pt x="16" y="38"/>
                  </a:lnTo>
                  <a:lnTo>
                    <a:pt x="24" y="38"/>
                  </a:lnTo>
                  <a:lnTo>
                    <a:pt x="26" y="32"/>
                  </a:lnTo>
                  <a:lnTo>
                    <a:pt x="28" y="32"/>
                  </a:lnTo>
                  <a:lnTo>
                    <a:pt x="36" y="30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8" y="26"/>
                  </a:lnTo>
                  <a:lnTo>
                    <a:pt x="52" y="22"/>
                  </a:lnTo>
                  <a:lnTo>
                    <a:pt x="56" y="24"/>
                  </a:lnTo>
                  <a:lnTo>
                    <a:pt x="62" y="22"/>
                  </a:lnTo>
                  <a:lnTo>
                    <a:pt x="66" y="26"/>
                  </a:lnTo>
                  <a:lnTo>
                    <a:pt x="68" y="26"/>
                  </a:lnTo>
                  <a:lnTo>
                    <a:pt x="70" y="26"/>
                  </a:lnTo>
                  <a:lnTo>
                    <a:pt x="76" y="12"/>
                  </a:lnTo>
                  <a:lnTo>
                    <a:pt x="72" y="10"/>
                  </a:lnTo>
                  <a:lnTo>
                    <a:pt x="70" y="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" name="Google Shape;531;p35">
              <a:extLst>
                <a:ext uri="{FF2B5EF4-FFF2-40B4-BE49-F238E27FC236}">
                  <a16:creationId xmlns:a16="http://schemas.microsoft.com/office/drawing/2014/main" id="{29D27152-2744-FCDD-B393-9860A1198618}"/>
                </a:ext>
              </a:extLst>
            </p:cNvPr>
            <p:cNvSpPr/>
            <p:nvPr/>
          </p:nvSpPr>
          <p:spPr>
            <a:xfrm>
              <a:off x="6111320" y="3571478"/>
              <a:ext cx="131445" cy="74295"/>
            </a:xfrm>
            <a:custGeom>
              <a:avLst/>
              <a:gdLst/>
              <a:ahLst/>
              <a:cxnLst/>
              <a:rect l="l" t="t" r="r" b="b"/>
              <a:pathLst>
                <a:path w="92" h="52" extrusionOk="0">
                  <a:moveTo>
                    <a:pt x="34" y="52"/>
                  </a:moveTo>
                  <a:lnTo>
                    <a:pt x="38" y="48"/>
                  </a:lnTo>
                  <a:lnTo>
                    <a:pt x="40" y="42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8" y="48"/>
                  </a:lnTo>
                  <a:lnTo>
                    <a:pt x="66" y="48"/>
                  </a:lnTo>
                  <a:lnTo>
                    <a:pt x="66" y="52"/>
                  </a:lnTo>
                  <a:lnTo>
                    <a:pt x="70" y="46"/>
                  </a:lnTo>
                  <a:lnTo>
                    <a:pt x="76" y="48"/>
                  </a:lnTo>
                  <a:lnTo>
                    <a:pt x="82" y="42"/>
                  </a:lnTo>
                  <a:lnTo>
                    <a:pt x="84" y="38"/>
                  </a:lnTo>
                  <a:lnTo>
                    <a:pt x="86" y="36"/>
                  </a:lnTo>
                  <a:lnTo>
                    <a:pt x="92" y="32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78" y="22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76" y="16"/>
                  </a:lnTo>
                  <a:lnTo>
                    <a:pt x="72" y="16"/>
                  </a:lnTo>
                  <a:lnTo>
                    <a:pt x="66" y="14"/>
                  </a:lnTo>
                  <a:lnTo>
                    <a:pt x="66" y="18"/>
                  </a:lnTo>
                  <a:lnTo>
                    <a:pt x="64" y="20"/>
                  </a:lnTo>
                  <a:lnTo>
                    <a:pt x="60" y="16"/>
                  </a:lnTo>
                  <a:lnTo>
                    <a:pt x="56" y="8"/>
                  </a:lnTo>
                  <a:lnTo>
                    <a:pt x="48" y="6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16" y="10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32"/>
                  </a:lnTo>
                  <a:lnTo>
                    <a:pt x="14" y="38"/>
                  </a:lnTo>
                  <a:lnTo>
                    <a:pt x="18" y="44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4" y="5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2400">
                <a:solidFill>
                  <a:schemeClr val="lt1"/>
                </a:solidFill>
              </a:endParaRPr>
            </a:p>
          </p:txBody>
        </p:sp>
        <p:sp>
          <p:nvSpPr>
            <p:cNvPr id="83" name="Google Shape;532;p35">
              <a:extLst>
                <a:ext uri="{FF2B5EF4-FFF2-40B4-BE49-F238E27FC236}">
                  <a16:creationId xmlns:a16="http://schemas.microsoft.com/office/drawing/2014/main" id="{79BAED92-D107-D419-35C7-C5F4EF45E023}"/>
                </a:ext>
              </a:extLst>
            </p:cNvPr>
            <p:cNvSpPr/>
            <p:nvPr/>
          </p:nvSpPr>
          <p:spPr>
            <a:xfrm>
              <a:off x="5992733" y="3671490"/>
              <a:ext cx="88582" cy="48577"/>
            </a:xfrm>
            <a:custGeom>
              <a:avLst/>
              <a:gdLst/>
              <a:ahLst/>
              <a:cxnLst/>
              <a:rect l="l" t="t" r="r" b="b"/>
              <a:pathLst>
                <a:path w="62" h="34" extrusionOk="0">
                  <a:moveTo>
                    <a:pt x="62" y="14"/>
                  </a:moveTo>
                  <a:lnTo>
                    <a:pt x="50" y="12"/>
                  </a:lnTo>
                  <a:lnTo>
                    <a:pt x="48" y="12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0" y="12"/>
                  </a:lnTo>
                  <a:lnTo>
                    <a:pt x="6" y="20"/>
                  </a:lnTo>
                  <a:lnTo>
                    <a:pt x="4" y="26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4" y="28"/>
                  </a:lnTo>
                  <a:lnTo>
                    <a:pt x="12" y="26"/>
                  </a:lnTo>
                  <a:lnTo>
                    <a:pt x="16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8" y="34"/>
                  </a:lnTo>
                  <a:lnTo>
                    <a:pt x="30" y="30"/>
                  </a:lnTo>
                  <a:lnTo>
                    <a:pt x="32" y="28"/>
                  </a:lnTo>
                  <a:lnTo>
                    <a:pt x="34" y="26"/>
                  </a:lnTo>
                  <a:lnTo>
                    <a:pt x="34" y="30"/>
                  </a:lnTo>
                  <a:lnTo>
                    <a:pt x="40" y="32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6" y="28"/>
                  </a:lnTo>
                  <a:lnTo>
                    <a:pt x="54" y="28"/>
                  </a:lnTo>
                  <a:lnTo>
                    <a:pt x="58" y="28"/>
                  </a:lnTo>
                  <a:lnTo>
                    <a:pt x="58" y="22"/>
                  </a:lnTo>
                  <a:lnTo>
                    <a:pt x="60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" name="Google Shape;533;p35">
              <a:extLst>
                <a:ext uri="{FF2B5EF4-FFF2-40B4-BE49-F238E27FC236}">
                  <a16:creationId xmlns:a16="http://schemas.microsoft.com/office/drawing/2014/main" id="{656DEAE0-2521-BAC1-0A32-250F27ECEBC1}"/>
                </a:ext>
              </a:extLst>
            </p:cNvPr>
            <p:cNvSpPr/>
            <p:nvPr/>
          </p:nvSpPr>
          <p:spPr>
            <a:xfrm>
              <a:off x="6271340" y="3654345"/>
              <a:ext cx="182880" cy="128587"/>
            </a:xfrm>
            <a:custGeom>
              <a:avLst/>
              <a:gdLst/>
              <a:ahLst/>
              <a:cxnLst/>
              <a:rect l="l" t="t" r="r" b="b"/>
              <a:pathLst>
                <a:path w="128" h="90" extrusionOk="0">
                  <a:moveTo>
                    <a:pt x="114" y="60"/>
                  </a:moveTo>
                  <a:lnTo>
                    <a:pt x="108" y="56"/>
                  </a:lnTo>
                  <a:lnTo>
                    <a:pt x="108" y="56"/>
                  </a:lnTo>
                  <a:lnTo>
                    <a:pt x="106" y="52"/>
                  </a:lnTo>
                  <a:lnTo>
                    <a:pt x="106" y="48"/>
                  </a:lnTo>
                  <a:lnTo>
                    <a:pt x="106" y="4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8" y="40"/>
                  </a:lnTo>
                  <a:lnTo>
                    <a:pt x="108" y="34"/>
                  </a:lnTo>
                  <a:lnTo>
                    <a:pt x="104" y="26"/>
                  </a:lnTo>
                  <a:lnTo>
                    <a:pt x="102" y="24"/>
                  </a:lnTo>
                  <a:lnTo>
                    <a:pt x="100" y="20"/>
                  </a:lnTo>
                  <a:lnTo>
                    <a:pt x="94" y="12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68" y="8"/>
                  </a:lnTo>
                  <a:lnTo>
                    <a:pt x="52" y="8"/>
                  </a:lnTo>
                  <a:lnTo>
                    <a:pt x="44" y="6"/>
                  </a:lnTo>
                  <a:lnTo>
                    <a:pt x="36" y="6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0" y="22"/>
                  </a:lnTo>
                  <a:lnTo>
                    <a:pt x="12" y="38"/>
                  </a:lnTo>
                  <a:lnTo>
                    <a:pt x="8" y="40"/>
                  </a:lnTo>
                  <a:lnTo>
                    <a:pt x="6" y="42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6" y="52"/>
                  </a:lnTo>
                  <a:lnTo>
                    <a:pt x="8" y="56"/>
                  </a:lnTo>
                  <a:lnTo>
                    <a:pt x="14" y="60"/>
                  </a:lnTo>
                  <a:lnTo>
                    <a:pt x="14" y="64"/>
                  </a:lnTo>
                  <a:lnTo>
                    <a:pt x="14" y="68"/>
                  </a:lnTo>
                  <a:lnTo>
                    <a:pt x="18" y="70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4" y="74"/>
                  </a:lnTo>
                  <a:lnTo>
                    <a:pt x="26" y="72"/>
                  </a:lnTo>
                  <a:lnTo>
                    <a:pt x="30" y="70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0" y="74"/>
                  </a:lnTo>
                  <a:lnTo>
                    <a:pt x="32" y="80"/>
                  </a:lnTo>
                  <a:lnTo>
                    <a:pt x="40" y="86"/>
                  </a:lnTo>
                  <a:lnTo>
                    <a:pt x="44" y="86"/>
                  </a:lnTo>
                  <a:lnTo>
                    <a:pt x="48" y="88"/>
                  </a:lnTo>
                  <a:lnTo>
                    <a:pt x="56" y="88"/>
                  </a:lnTo>
                  <a:lnTo>
                    <a:pt x="62" y="90"/>
                  </a:lnTo>
                  <a:lnTo>
                    <a:pt x="72" y="90"/>
                  </a:lnTo>
                  <a:lnTo>
                    <a:pt x="80" y="84"/>
                  </a:lnTo>
                  <a:lnTo>
                    <a:pt x="86" y="82"/>
                  </a:lnTo>
                  <a:lnTo>
                    <a:pt x="94" y="82"/>
                  </a:lnTo>
                  <a:lnTo>
                    <a:pt x="100" y="86"/>
                  </a:lnTo>
                  <a:lnTo>
                    <a:pt x="110" y="88"/>
                  </a:lnTo>
                  <a:lnTo>
                    <a:pt x="112" y="88"/>
                  </a:lnTo>
                  <a:lnTo>
                    <a:pt x="114" y="80"/>
                  </a:lnTo>
                  <a:lnTo>
                    <a:pt x="114" y="78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6" y="68"/>
                  </a:lnTo>
                  <a:lnTo>
                    <a:pt x="128" y="60"/>
                  </a:lnTo>
                  <a:lnTo>
                    <a:pt x="124" y="56"/>
                  </a:lnTo>
                  <a:lnTo>
                    <a:pt x="114" y="6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" name="Google Shape;534;p35">
              <a:extLst>
                <a:ext uri="{FF2B5EF4-FFF2-40B4-BE49-F238E27FC236}">
                  <a16:creationId xmlns:a16="http://schemas.microsoft.com/office/drawing/2014/main" id="{EF9CF688-0C89-6F64-0115-D2D33A21E8A3}"/>
                </a:ext>
              </a:extLst>
            </p:cNvPr>
            <p:cNvSpPr/>
            <p:nvPr/>
          </p:nvSpPr>
          <p:spPr>
            <a:xfrm>
              <a:off x="6394212" y="3648630"/>
              <a:ext cx="68580" cy="85725"/>
            </a:xfrm>
            <a:custGeom>
              <a:avLst/>
              <a:gdLst/>
              <a:ahLst/>
              <a:cxnLst/>
              <a:rect l="l" t="t" r="r" b="b"/>
              <a:pathLst>
                <a:path w="48" h="60" extrusionOk="0">
                  <a:moveTo>
                    <a:pt x="8" y="16"/>
                  </a:moveTo>
                  <a:lnTo>
                    <a:pt x="14" y="24"/>
                  </a:lnTo>
                  <a:lnTo>
                    <a:pt x="16" y="28"/>
                  </a:lnTo>
                  <a:lnTo>
                    <a:pt x="18" y="30"/>
                  </a:lnTo>
                  <a:lnTo>
                    <a:pt x="22" y="38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8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6" y="38"/>
                  </a:lnTo>
                  <a:lnTo>
                    <a:pt x="46" y="42"/>
                  </a:lnTo>
                  <a:lnTo>
                    <a:pt x="48" y="42"/>
                  </a:lnTo>
                  <a:lnTo>
                    <a:pt x="44" y="38"/>
                  </a:lnTo>
                  <a:lnTo>
                    <a:pt x="46" y="34"/>
                  </a:lnTo>
                  <a:lnTo>
                    <a:pt x="40" y="3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6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4" y="2"/>
                  </a:lnTo>
                  <a:lnTo>
                    <a:pt x="0" y="4"/>
                  </a:lnTo>
                  <a:lnTo>
                    <a:pt x="4" y="6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" name="Google Shape;535;p35">
              <a:extLst>
                <a:ext uri="{FF2B5EF4-FFF2-40B4-BE49-F238E27FC236}">
                  <a16:creationId xmlns:a16="http://schemas.microsoft.com/office/drawing/2014/main" id="{6DEE84FF-3D44-F0DB-50DF-E420FC622CF9}"/>
                </a:ext>
              </a:extLst>
            </p:cNvPr>
            <p:cNvSpPr/>
            <p:nvPr/>
          </p:nvSpPr>
          <p:spPr>
            <a:xfrm>
              <a:off x="6007020" y="3688634"/>
              <a:ext cx="230029" cy="270034"/>
            </a:xfrm>
            <a:custGeom>
              <a:avLst/>
              <a:gdLst/>
              <a:ahLst/>
              <a:cxnLst/>
              <a:rect l="l" t="t" r="r" b="b"/>
              <a:pathLst>
                <a:path w="255588" h="300038" extrusionOk="0">
                  <a:moveTo>
                    <a:pt x="138113" y="258763"/>
                  </a:moveTo>
                  <a:lnTo>
                    <a:pt x="144463" y="261938"/>
                  </a:lnTo>
                  <a:lnTo>
                    <a:pt x="153988" y="265113"/>
                  </a:lnTo>
                  <a:lnTo>
                    <a:pt x="166688" y="265113"/>
                  </a:lnTo>
                  <a:lnTo>
                    <a:pt x="182563" y="261938"/>
                  </a:lnTo>
                  <a:lnTo>
                    <a:pt x="192088" y="258763"/>
                  </a:lnTo>
                  <a:lnTo>
                    <a:pt x="182563" y="274638"/>
                  </a:lnTo>
                  <a:lnTo>
                    <a:pt x="182563" y="280988"/>
                  </a:lnTo>
                  <a:lnTo>
                    <a:pt x="182563" y="287338"/>
                  </a:lnTo>
                  <a:lnTo>
                    <a:pt x="182563" y="293688"/>
                  </a:lnTo>
                  <a:lnTo>
                    <a:pt x="179388" y="300038"/>
                  </a:lnTo>
                  <a:lnTo>
                    <a:pt x="173038" y="300038"/>
                  </a:lnTo>
                  <a:lnTo>
                    <a:pt x="163513" y="293688"/>
                  </a:lnTo>
                  <a:lnTo>
                    <a:pt x="150813" y="287338"/>
                  </a:lnTo>
                  <a:lnTo>
                    <a:pt x="141288" y="280988"/>
                  </a:lnTo>
                  <a:lnTo>
                    <a:pt x="128588" y="274638"/>
                  </a:lnTo>
                  <a:lnTo>
                    <a:pt x="122238" y="271463"/>
                  </a:lnTo>
                  <a:lnTo>
                    <a:pt x="125413" y="265113"/>
                  </a:lnTo>
                  <a:close/>
                  <a:moveTo>
                    <a:pt x="57150" y="173038"/>
                  </a:moveTo>
                  <a:lnTo>
                    <a:pt x="63500" y="182563"/>
                  </a:lnTo>
                  <a:lnTo>
                    <a:pt x="69850" y="195263"/>
                  </a:lnTo>
                  <a:lnTo>
                    <a:pt x="63500" y="201613"/>
                  </a:lnTo>
                  <a:lnTo>
                    <a:pt x="66675" y="207963"/>
                  </a:lnTo>
                  <a:lnTo>
                    <a:pt x="66675" y="214313"/>
                  </a:lnTo>
                  <a:lnTo>
                    <a:pt x="60325" y="233363"/>
                  </a:lnTo>
                  <a:lnTo>
                    <a:pt x="47625" y="239713"/>
                  </a:lnTo>
                  <a:lnTo>
                    <a:pt x="41275" y="236538"/>
                  </a:lnTo>
                  <a:lnTo>
                    <a:pt x="41275" y="214313"/>
                  </a:lnTo>
                  <a:lnTo>
                    <a:pt x="41275" y="201613"/>
                  </a:lnTo>
                  <a:lnTo>
                    <a:pt x="34925" y="192088"/>
                  </a:lnTo>
                  <a:lnTo>
                    <a:pt x="34925" y="182563"/>
                  </a:lnTo>
                  <a:lnTo>
                    <a:pt x="44450" y="185738"/>
                  </a:lnTo>
                  <a:lnTo>
                    <a:pt x="50800" y="179388"/>
                  </a:lnTo>
                  <a:close/>
                  <a:moveTo>
                    <a:pt x="119063" y="0"/>
                  </a:moveTo>
                  <a:lnTo>
                    <a:pt x="115888" y="3175"/>
                  </a:lnTo>
                  <a:lnTo>
                    <a:pt x="119063" y="6350"/>
                  </a:lnTo>
                  <a:lnTo>
                    <a:pt x="119063" y="9525"/>
                  </a:lnTo>
                  <a:lnTo>
                    <a:pt x="122238" y="9525"/>
                  </a:lnTo>
                  <a:lnTo>
                    <a:pt x="122238" y="12700"/>
                  </a:lnTo>
                  <a:lnTo>
                    <a:pt x="134938" y="15875"/>
                  </a:lnTo>
                  <a:lnTo>
                    <a:pt x="150813" y="19050"/>
                  </a:lnTo>
                  <a:lnTo>
                    <a:pt x="147638" y="28575"/>
                  </a:lnTo>
                  <a:lnTo>
                    <a:pt x="147638" y="38100"/>
                  </a:lnTo>
                  <a:lnTo>
                    <a:pt x="150813" y="41275"/>
                  </a:lnTo>
                  <a:lnTo>
                    <a:pt x="153988" y="44450"/>
                  </a:lnTo>
                  <a:lnTo>
                    <a:pt x="150813" y="47625"/>
                  </a:lnTo>
                  <a:lnTo>
                    <a:pt x="150813" y="44450"/>
                  </a:lnTo>
                  <a:lnTo>
                    <a:pt x="147638" y="41275"/>
                  </a:lnTo>
                  <a:lnTo>
                    <a:pt x="131763" y="44450"/>
                  </a:lnTo>
                  <a:lnTo>
                    <a:pt x="119063" y="50800"/>
                  </a:lnTo>
                  <a:lnTo>
                    <a:pt x="115888" y="57150"/>
                  </a:lnTo>
                  <a:lnTo>
                    <a:pt x="122238" y="57150"/>
                  </a:lnTo>
                  <a:lnTo>
                    <a:pt x="122238" y="60325"/>
                  </a:lnTo>
                  <a:lnTo>
                    <a:pt x="122238" y="63500"/>
                  </a:lnTo>
                  <a:lnTo>
                    <a:pt x="125413" y="66675"/>
                  </a:lnTo>
                  <a:lnTo>
                    <a:pt x="122238" y="69850"/>
                  </a:lnTo>
                  <a:lnTo>
                    <a:pt x="119063" y="69850"/>
                  </a:lnTo>
                  <a:lnTo>
                    <a:pt x="119063" y="79375"/>
                  </a:lnTo>
                  <a:lnTo>
                    <a:pt x="125413" y="92075"/>
                  </a:lnTo>
                  <a:lnTo>
                    <a:pt x="141288" y="104775"/>
                  </a:lnTo>
                  <a:lnTo>
                    <a:pt x="144463" y="104775"/>
                  </a:lnTo>
                  <a:lnTo>
                    <a:pt x="147638" y="111125"/>
                  </a:lnTo>
                  <a:lnTo>
                    <a:pt x="153988" y="127000"/>
                  </a:lnTo>
                  <a:lnTo>
                    <a:pt x="160338" y="139700"/>
                  </a:lnTo>
                  <a:lnTo>
                    <a:pt x="185738" y="153988"/>
                  </a:lnTo>
                  <a:lnTo>
                    <a:pt x="195263" y="153988"/>
                  </a:lnTo>
                  <a:lnTo>
                    <a:pt x="204788" y="157163"/>
                  </a:lnTo>
                  <a:lnTo>
                    <a:pt x="198438" y="163513"/>
                  </a:lnTo>
                  <a:lnTo>
                    <a:pt x="204788" y="169863"/>
                  </a:lnTo>
                  <a:lnTo>
                    <a:pt x="217488" y="176213"/>
                  </a:lnTo>
                  <a:lnTo>
                    <a:pt x="230188" y="182563"/>
                  </a:lnTo>
                  <a:lnTo>
                    <a:pt x="242888" y="192088"/>
                  </a:lnTo>
                  <a:lnTo>
                    <a:pt x="252413" y="201613"/>
                  </a:lnTo>
                  <a:lnTo>
                    <a:pt x="255588" y="207963"/>
                  </a:lnTo>
                  <a:lnTo>
                    <a:pt x="252413" y="214313"/>
                  </a:lnTo>
                  <a:lnTo>
                    <a:pt x="246063" y="211138"/>
                  </a:lnTo>
                  <a:lnTo>
                    <a:pt x="242888" y="204788"/>
                  </a:lnTo>
                  <a:lnTo>
                    <a:pt x="239713" y="201613"/>
                  </a:lnTo>
                  <a:lnTo>
                    <a:pt x="223838" y="195263"/>
                  </a:lnTo>
                  <a:lnTo>
                    <a:pt x="217488" y="201613"/>
                  </a:lnTo>
                  <a:lnTo>
                    <a:pt x="211138" y="214313"/>
                  </a:lnTo>
                  <a:lnTo>
                    <a:pt x="217488" y="220663"/>
                  </a:lnTo>
                  <a:lnTo>
                    <a:pt x="223838" y="227013"/>
                  </a:lnTo>
                  <a:lnTo>
                    <a:pt x="220663" y="239713"/>
                  </a:lnTo>
                  <a:lnTo>
                    <a:pt x="214313" y="242888"/>
                  </a:lnTo>
                  <a:lnTo>
                    <a:pt x="214313" y="249238"/>
                  </a:lnTo>
                  <a:lnTo>
                    <a:pt x="207963" y="258763"/>
                  </a:lnTo>
                  <a:lnTo>
                    <a:pt x="201613" y="265113"/>
                  </a:lnTo>
                  <a:lnTo>
                    <a:pt x="192088" y="265113"/>
                  </a:lnTo>
                  <a:lnTo>
                    <a:pt x="195263" y="258763"/>
                  </a:lnTo>
                  <a:lnTo>
                    <a:pt x="198438" y="252413"/>
                  </a:lnTo>
                  <a:lnTo>
                    <a:pt x="201613" y="246063"/>
                  </a:lnTo>
                  <a:lnTo>
                    <a:pt x="204788" y="239713"/>
                  </a:lnTo>
                  <a:lnTo>
                    <a:pt x="201613" y="227013"/>
                  </a:lnTo>
                  <a:lnTo>
                    <a:pt x="195263" y="211138"/>
                  </a:lnTo>
                  <a:lnTo>
                    <a:pt x="188913" y="204788"/>
                  </a:lnTo>
                  <a:lnTo>
                    <a:pt x="176213" y="201613"/>
                  </a:lnTo>
                  <a:lnTo>
                    <a:pt x="176213" y="195263"/>
                  </a:lnTo>
                  <a:lnTo>
                    <a:pt x="173038" y="188913"/>
                  </a:lnTo>
                  <a:lnTo>
                    <a:pt x="153988" y="179388"/>
                  </a:lnTo>
                  <a:lnTo>
                    <a:pt x="147638" y="173038"/>
                  </a:lnTo>
                  <a:lnTo>
                    <a:pt x="134938" y="173038"/>
                  </a:lnTo>
                  <a:lnTo>
                    <a:pt x="119063" y="160338"/>
                  </a:lnTo>
                  <a:lnTo>
                    <a:pt x="109538" y="150813"/>
                  </a:lnTo>
                  <a:lnTo>
                    <a:pt x="100013" y="142875"/>
                  </a:lnTo>
                  <a:lnTo>
                    <a:pt x="88900" y="127000"/>
                  </a:lnTo>
                  <a:lnTo>
                    <a:pt x="85725" y="120650"/>
                  </a:lnTo>
                  <a:lnTo>
                    <a:pt x="82550" y="114300"/>
                  </a:lnTo>
                  <a:lnTo>
                    <a:pt x="79375" y="98425"/>
                  </a:lnTo>
                  <a:lnTo>
                    <a:pt x="69850" y="92075"/>
                  </a:lnTo>
                  <a:lnTo>
                    <a:pt x="57150" y="85725"/>
                  </a:lnTo>
                  <a:lnTo>
                    <a:pt x="47625" y="82550"/>
                  </a:lnTo>
                  <a:lnTo>
                    <a:pt x="38100" y="88900"/>
                  </a:lnTo>
                  <a:lnTo>
                    <a:pt x="31750" y="98425"/>
                  </a:lnTo>
                  <a:lnTo>
                    <a:pt x="19050" y="101600"/>
                  </a:lnTo>
                  <a:lnTo>
                    <a:pt x="15875" y="92075"/>
                  </a:lnTo>
                  <a:lnTo>
                    <a:pt x="9525" y="88900"/>
                  </a:lnTo>
                  <a:lnTo>
                    <a:pt x="6350" y="82550"/>
                  </a:lnTo>
                  <a:lnTo>
                    <a:pt x="6350" y="79375"/>
                  </a:lnTo>
                  <a:lnTo>
                    <a:pt x="9525" y="69850"/>
                  </a:lnTo>
                  <a:lnTo>
                    <a:pt x="6350" y="69850"/>
                  </a:lnTo>
                  <a:lnTo>
                    <a:pt x="3175" y="66675"/>
                  </a:lnTo>
                  <a:lnTo>
                    <a:pt x="0" y="60325"/>
                  </a:lnTo>
                  <a:lnTo>
                    <a:pt x="6350" y="57150"/>
                  </a:lnTo>
                  <a:lnTo>
                    <a:pt x="9525" y="57150"/>
                  </a:lnTo>
                  <a:lnTo>
                    <a:pt x="9525" y="50800"/>
                  </a:lnTo>
                  <a:lnTo>
                    <a:pt x="3175" y="41275"/>
                  </a:lnTo>
                  <a:lnTo>
                    <a:pt x="9525" y="34925"/>
                  </a:lnTo>
                  <a:lnTo>
                    <a:pt x="19050" y="34925"/>
                  </a:lnTo>
                  <a:lnTo>
                    <a:pt x="22225" y="34925"/>
                  </a:lnTo>
                  <a:lnTo>
                    <a:pt x="25400" y="34925"/>
                  </a:lnTo>
                  <a:lnTo>
                    <a:pt x="28575" y="34925"/>
                  </a:lnTo>
                  <a:lnTo>
                    <a:pt x="31750" y="28575"/>
                  </a:lnTo>
                  <a:lnTo>
                    <a:pt x="34925" y="25400"/>
                  </a:lnTo>
                  <a:lnTo>
                    <a:pt x="38100" y="22225"/>
                  </a:lnTo>
                  <a:lnTo>
                    <a:pt x="38100" y="28575"/>
                  </a:lnTo>
                  <a:lnTo>
                    <a:pt x="47625" y="31750"/>
                  </a:lnTo>
                  <a:lnTo>
                    <a:pt x="50800" y="34925"/>
                  </a:lnTo>
                  <a:lnTo>
                    <a:pt x="50800" y="31750"/>
                  </a:lnTo>
                  <a:lnTo>
                    <a:pt x="57150" y="25400"/>
                  </a:lnTo>
                  <a:lnTo>
                    <a:pt x="69850" y="25400"/>
                  </a:lnTo>
                  <a:lnTo>
                    <a:pt x="76200" y="25400"/>
                  </a:lnTo>
                  <a:lnTo>
                    <a:pt x="76200" y="15875"/>
                  </a:lnTo>
                  <a:lnTo>
                    <a:pt x="79375" y="15875"/>
                  </a:lnTo>
                  <a:lnTo>
                    <a:pt x="82550" y="15875"/>
                  </a:lnTo>
                  <a:lnTo>
                    <a:pt x="82550" y="6350"/>
                  </a:lnTo>
                  <a:lnTo>
                    <a:pt x="92075" y="9525"/>
                  </a:lnTo>
                  <a:lnTo>
                    <a:pt x="96838" y="3175"/>
                  </a:lnTo>
                  <a:lnTo>
                    <a:pt x="106363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7" name="Google Shape;536;p35">
              <a:extLst>
                <a:ext uri="{FF2B5EF4-FFF2-40B4-BE49-F238E27FC236}">
                  <a16:creationId xmlns:a16="http://schemas.microsoft.com/office/drawing/2014/main" id="{BD34BA17-B59F-BA2F-D597-B17B662C61CC}"/>
                </a:ext>
              </a:extLst>
            </p:cNvPr>
            <p:cNvSpPr/>
            <p:nvPr/>
          </p:nvSpPr>
          <p:spPr>
            <a:xfrm>
              <a:off x="6242765" y="3714353"/>
              <a:ext cx="80010" cy="105727"/>
            </a:xfrm>
            <a:custGeom>
              <a:avLst/>
              <a:gdLst/>
              <a:ahLst/>
              <a:cxnLst/>
              <a:rect l="l" t="t" r="r" b="b"/>
              <a:pathLst>
                <a:path w="56" h="74" extrusionOk="0">
                  <a:moveTo>
                    <a:pt x="10" y="0"/>
                  </a:moveTo>
                  <a:lnTo>
                    <a:pt x="8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8" y="18"/>
                  </a:lnTo>
                  <a:lnTo>
                    <a:pt x="2" y="26"/>
                  </a:lnTo>
                  <a:lnTo>
                    <a:pt x="8" y="24"/>
                  </a:lnTo>
                  <a:lnTo>
                    <a:pt x="6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10" y="40"/>
                  </a:lnTo>
                  <a:lnTo>
                    <a:pt x="6" y="42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8" y="54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16" y="60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22" y="62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6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4" y="62"/>
                  </a:lnTo>
                  <a:lnTo>
                    <a:pt x="36" y="64"/>
                  </a:lnTo>
                  <a:lnTo>
                    <a:pt x="36" y="66"/>
                  </a:lnTo>
                  <a:lnTo>
                    <a:pt x="38" y="66"/>
                  </a:lnTo>
                  <a:lnTo>
                    <a:pt x="40" y="66"/>
                  </a:lnTo>
                  <a:lnTo>
                    <a:pt x="40" y="68"/>
                  </a:lnTo>
                  <a:lnTo>
                    <a:pt x="38" y="70"/>
                  </a:lnTo>
                  <a:lnTo>
                    <a:pt x="38" y="72"/>
                  </a:lnTo>
                  <a:lnTo>
                    <a:pt x="38" y="74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62"/>
                  </a:lnTo>
                  <a:lnTo>
                    <a:pt x="56" y="58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52" y="38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0" y="28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38" y="28"/>
                  </a:lnTo>
                  <a:lnTo>
                    <a:pt x="34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28" y="14"/>
                  </a:lnTo>
                  <a:lnTo>
                    <a:pt x="26" y="10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8" name="Google Shape;537;p35">
              <a:extLst>
                <a:ext uri="{FF2B5EF4-FFF2-40B4-BE49-F238E27FC236}">
                  <a16:creationId xmlns:a16="http://schemas.microsoft.com/office/drawing/2014/main" id="{387EADE7-49A7-934F-8A51-7D3B09F11A2D}"/>
                </a:ext>
              </a:extLst>
            </p:cNvPr>
            <p:cNvSpPr/>
            <p:nvPr/>
          </p:nvSpPr>
          <p:spPr>
            <a:xfrm>
              <a:off x="6139895" y="3694350"/>
              <a:ext cx="60007" cy="40005"/>
            </a:xfrm>
            <a:custGeom>
              <a:avLst/>
              <a:gdLst/>
              <a:ahLst/>
              <a:cxnLst/>
              <a:rect l="l" t="t" r="r" b="b"/>
              <a:pathLst>
                <a:path w="42" h="28" extrusionOk="0">
                  <a:moveTo>
                    <a:pt x="22" y="28"/>
                  </a:moveTo>
                  <a:lnTo>
                    <a:pt x="24" y="26"/>
                  </a:lnTo>
                  <a:lnTo>
                    <a:pt x="28" y="18"/>
                  </a:lnTo>
                  <a:lnTo>
                    <a:pt x="30" y="12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6"/>
                  </a:lnTo>
                  <a:lnTo>
                    <a:pt x="42" y="8"/>
                  </a:lnTo>
                  <a:lnTo>
                    <a:pt x="34" y="0"/>
                  </a:lnTo>
                  <a:lnTo>
                    <a:pt x="34" y="4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2" y="10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28"/>
                  </a:lnTo>
                  <a:lnTo>
                    <a:pt x="22" y="2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9" name="Google Shape;538;p35">
              <a:extLst>
                <a:ext uri="{FF2B5EF4-FFF2-40B4-BE49-F238E27FC236}">
                  <a16:creationId xmlns:a16="http://schemas.microsoft.com/office/drawing/2014/main" id="{B1E054C0-0DAB-DE89-7E37-C1B7D82CB4D2}"/>
                </a:ext>
              </a:extLst>
            </p:cNvPr>
            <p:cNvSpPr/>
            <p:nvPr/>
          </p:nvSpPr>
          <p:spPr>
            <a:xfrm>
              <a:off x="6061313" y="3682920"/>
              <a:ext cx="2857" cy="5715"/>
            </a:xfrm>
            <a:custGeom>
              <a:avLst/>
              <a:gdLst/>
              <a:ahLst/>
              <a:cxnLst/>
              <a:rect l="l" t="t" r="r" b="b"/>
              <a:pathLst>
                <a:path w="2" h="4" extrusionOk="0">
                  <a:moveTo>
                    <a:pt x="2" y="4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0" name="Google Shape;539;p35">
              <a:extLst>
                <a:ext uri="{FF2B5EF4-FFF2-40B4-BE49-F238E27FC236}">
                  <a16:creationId xmlns:a16="http://schemas.microsoft.com/office/drawing/2014/main" id="{4B0AC63B-E3F0-1F2C-E040-D3142C3DB012}"/>
                </a:ext>
              </a:extLst>
            </p:cNvPr>
            <p:cNvSpPr/>
            <p:nvPr/>
          </p:nvSpPr>
          <p:spPr>
            <a:xfrm>
              <a:off x="6064170" y="3631485"/>
              <a:ext cx="147162" cy="77152"/>
            </a:xfrm>
            <a:custGeom>
              <a:avLst/>
              <a:gdLst/>
              <a:ahLst/>
              <a:cxnLst/>
              <a:rect l="l" t="t" r="r" b="b"/>
              <a:pathLst>
                <a:path w="103" h="54" extrusionOk="0">
                  <a:moveTo>
                    <a:pt x="89" y="42"/>
                  </a:moveTo>
                  <a:lnTo>
                    <a:pt x="93" y="42"/>
                  </a:lnTo>
                  <a:lnTo>
                    <a:pt x="93" y="38"/>
                  </a:lnTo>
                  <a:lnTo>
                    <a:pt x="95" y="32"/>
                  </a:lnTo>
                  <a:lnTo>
                    <a:pt x="99" y="28"/>
                  </a:lnTo>
                  <a:lnTo>
                    <a:pt x="103" y="22"/>
                  </a:lnTo>
                  <a:lnTo>
                    <a:pt x="101" y="18"/>
                  </a:lnTo>
                  <a:lnTo>
                    <a:pt x="99" y="18"/>
                  </a:lnTo>
                  <a:lnTo>
                    <a:pt x="99" y="10"/>
                  </a:lnTo>
                  <a:lnTo>
                    <a:pt x="99" y="6"/>
                  </a:lnTo>
                  <a:lnTo>
                    <a:pt x="91" y="6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73" y="0"/>
                  </a:lnTo>
                  <a:lnTo>
                    <a:pt x="71" y="6"/>
                  </a:lnTo>
                  <a:lnTo>
                    <a:pt x="67" y="10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5" y="12"/>
                  </a:lnTo>
                  <a:lnTo>
                    <a:pt x="53" y="10"/>
                  </a:lnTo>
                  <a:lnTo>
                    <a:pt x="51" y="10"/>
                  </a:lnTo>
                  <a:lnTo>
                    <a:pt x="45" y="18"/>
                  </a:lnTo>
                  <a:lnTo>
                    <a:pt x="45" y="24"/>
                  </a:lnTo>
                  <a:lnTo>
                    <a:pt x="45" y="32"/>
                  </a:lnTo>
                  <a:lnTo>
                    <a:pt x="43" y="30"/>
                  </a:lnTo>
                  <a:lnTo>
                    <a:pt x="35" y="28"/>
                  </a:lnTo>
                  <a:lnTo>
                    <a:pt x="27" y="30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18" y="32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12" y="42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8" y="46"/>
                  </a:lnTo>
                  <a:lnTo>
                    <a:pt x="21" y="42"/>
                  </a:lnTo>
                  <a:lnTo>
                    <a:pt x="27" y="42"/>
                  </a:lnTo>
                  <a:lnTo>
                    <a:pt x="35" y="40"/>
                  </a:lnTo>
                  <a:lnTo>
                    <a:pt x="33" y="42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6"/>
                  </a:lnTo>
                  <a:lnTo>
                    <a:pt x="37" y="46"/>
                  </a:lnTo>
                  <a:lnTo>
                    <a:pt x="37" y="48"/>
                  </a:lnTo>
                  <a:lnTo>
                    <a:pt x="45" y="50"/>
                  </a:lnTo>
                  <a:lnTo>
                    <a:pt x="55" y="52"/>
                  </a:lnTo>
                  <a:lnTo>
                    <a:pt x="65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9" y="48"/>
                  </a:lnTo>
                  <a:lnTo>
                    <a:pt x="81" y="50"/>
                  </a:lnTo>
                  <a:lnTo>
                    <a:pt x="81" y="48"/>
                  </a:lnTo>
                  <a:lnTo>
                    <a:pt x="87" y="48"/>
                  </a:lnTo>
                  <a:lnTo>
                    <a:pt x="87" y="44"/>
                  </a:lnTo>
                  <a:lnTo>
                    <a:pt x="89" y="42"/>
                  </a:lnTo>
                  <a:lnTo>
                    <a:pt x="89" y="4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" name="Google Shape;540;p35">
              <a:extLst>
                <a:ext uri="{FF2B5EF4-FFF2-40B4-BE49-F238E27FC236}">
                  <a16:creationId xmlns:a16="http://schemas.microsoft.com/office/drawing/2014/main" id="{05C66A97-DE60-A19B-1A71-E7C84FD4C6C5}"/>
                </a:ext>
              </a:extLst>
            </p:cNvPr>
            <p:cNvSpPr/>
            <p:nvPr/>
          </p:nvSpPr>
          <p:spPr>
            <a:xfrm>
              <a:off x="6142752" y="3702923"/>
              <a:ext cx="111442" cy="102870"/>
            </a:xfrm>
            <a:custGeom>
              <a:avLst/>
              <a:gdLst/>
              <a:ahLst/>
              <a:cxnLst/>
              <a:rect l="l" t="t" r="r" b="b"/>
              <a:pathLst>
                <a:path w="78" h="72" extrusionOk="0">
                  <a:moveTo>
                    <a:pt x="50" y="62"/>
                  </a:moveTo>
                  <a:lnTo>
                    <a:pt x="44" y="58"/>
                  </a:lnTo>
                  <a:lnTo>
                    <a:pt x="34" y="40"/>
                  </a:lnTo>
                  <a:lnTo>
                    <a:pt x="30" y="36"/>
                  </a:lnTo>
                  <a:lnTo>
                    <a:pt x="28" y="28"/>
                  </a:lnTo>
                  <a:lnTo>
                    <a:pt x="32" y="26"/>
                  </a:lnTo>
                  <a:lnTo>
                    <a:pt x="36" y="30"/>
                  </a:lnTo>
                  <a:lnTo>
                    <a:pt x="44" y="26"/>
                  </a:lnTo>
                  <a:lnTo>
                    <a:pt x="50" y="28"/>
                  </a:lnTo>
                  <a:lnTo>
                    <a:pt x="58" y="30"/>
                  </a:lnTo>
                  <a:lnTo>
                    <a:pt x="66" y="30"/>
                  </a:lnTo>
                  <a:lnTo>
                    <a:pt x="72" y="34"/>
                  </a:lnTo>
                  <a:lnTo>
                    <a:pt x="78" y="26"/>
                  </a:lnTo>
                  <a:lnTo>
                    <a:pt x="70" y="20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2" y="16"/>
                  </a:lnTo>
                  <a:lnTo>
                    <a:pt x="50" y="12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2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28" y="6"/>
                  </a:lnTo>
                  <a:lnTo>
                    <a:pt x="26" y="12"/>
                  </a:lnTo>
                  <a:lnTo>
                    <a:pt x="22" y="20"/>
                  </a:lnTo>
                  <a:lnTo>
                    <a:pt x="20" y="22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14" y="26"/>
                  </a:lnTo>
                  <a:lnTo>
                    <a:pt x="16" y="34"/>
                  </a:lnTo>
                  <a:lnTo>
                    <a:pt x="18" y="42"/>
                  </a:lnTo>
                  <a:lnTo>
                    <a:pt x="22" y="50"/>
                  </a:lnTo>
                  <a:lnTo>
                    <a:pt x="34" y="58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4" y="68"/>
                  </a:lnTo>
                  <a:lnTo>
                    <a:pt x="50" y="6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" name="Google Shape;541;p35">
              <a:extLst>
                <a:ext uri="{FF2B5EF4-FFF2-40B4-BE49-F238E27FC236}">
                  <a16:creationId xmlns:a16="http://schemas.microsoft.com/office/drawing/2014/main" id="{A8E998E3-B6DA-2FB5-8A66-A0E05BBE1C4F}"/>
                </a:ext>
              </a:extLst>
            </p:cNvPr>
            <p:cNvSpPr/>
            <p:nvPr/>
          </p:nvSpPr>
          <p:spPr>
            <a:xfrm>
              <a:off x="6182757" y="3740070"/>
              <a:ext cx="74295" cy="71437"/>
            </a:xfrm>
            <a:custGeom>
              <a:avLst/>
              <a:gdLst/>
              <a:ahLst/>
              <a:cxnLst/>
              <a:rect l="l" t="t" r="r" b="b"/>
              <a:pathLst>
                <a:path w="52" h="50" extrusionOk="0">
                  <a:moveTo>
                    <a:pt x="42" y="36"/>
                  </a:moveTo>
                  <a:lnTo>
                    <a:pt x="44" y="38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0" y="32"/>
                  </a:lnTo>
                  <a:lnTo>
                    <a:pt x="48" y="24"/>
                  </a:lnTo>
                  <a:lnTo>
                    <a:pt x="52" y="22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0"/>
                  </a:lnTo>
                  <a:lnTo>
                    <a:pt x="50" y="6"/>
                  </a:lnTo>
                  <a:lnTo>
                    <a:pt x="44" y="8"/>
                  </a:lnTo>
                  <a:lnTo>
                    <a:pt x="38" y="4"/>
                  </a:lnTo>
                  <a:lnTo>
                    <a:pt x="30" y="4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8" y="4"/>
                  </a:lnTo>
                  <a:lnTo>
                    <a:pt x="4" y="0"/>
                  </a:lnTo>
                  <a:lnTo>
                    <a:pt x="0" y="2"/>
                  </a:lnTo>
                  <a:lnTo>
                    <a:pt x="2" y="10"/>
                  </a:lnTo>
                  <a:lnTo>
                    <a:pt x="6" y="14"/>
                  </a:lnTo>
                  <a:lnTo>
                    <a:pt x="16" y="32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6" y="46"/>
                  </a:lnTo>
                  <a:lnTo>
                    <a:pt x="36" y="50"/>
                  </a:lnTo>
                  <a:lnTo>
                    <a:pt x="38" y="42"/>
                  </a:lnTo>
                  <a:lnTo>
                    <a:pt x="42" y="3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3" name="Google Shape;542;p35">
              <a:extLst>
                <a:ext uri="{FF2B5EF4-FFF2-40B4-BE49-F238E27FC236}">
                  <a16:creationId xmlns:a16="http://schemas.microsoft.com/office/drawing/2014/main" id="{70172F3F-54FE-9466-0ECB-49E674544508}"/>
                </a:ext>
              </a:extLst>
            </p:cNvPr>
            <p:cNvSpPr/>
            <p:nvPr/>
          </p:nvSpPr>
          <p:spPr>
            <a:xfrm>
              <a:off x="6359922" y="4075827"/>
              <a:ext cx="234315" cy="208597"/>
            </a:xfrm>
            <a:custGeom>
              <a:avLst/>
              <a:gdLst/>
              <a:ahLst/>
              <a:cxnLst/>
              <a:rect l="l" t="t" r="r" b="b"/>
              <a:pathLst>
                <a:path w="164" h="146" extrusionOk="0">
                  <a:moveTo>
                    <a:pt x="0" y="8"/>
                  </a:moveTo>
                  <a:lnTo>
                    <a:pt x="2" y="14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40"/>
                  </a:lnTo>
                  <a:lnTo>
                    <a:pt x="2" y="48"/>
                  </a:lnTo>
                  <a:lnTo>
                    <a:pt x="2" y="68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56" y="146"/>
                  </a:lnTo>
                  <a:lnTo>
                    <a:pt x="114" y="146"/>
                  </a:lnTo>
                  <a:lnTo>
                    <a:pt x="126" y="146"/>
                  </a:lnTo>
                  <a:lnTo>
                    <a:pt x="164" y="146"/>
                  </a:lnTo>
                  <a:lnTo>
                    <a:pt x="160" y="144"/>
                  </a:lnTo>
                  <a:lnTo>
                    <a:pt x="154" y="138"/>
                  </a:lnTo>
                  <a:lnTo>
                    <a:pt x="150" y="136"/>
                  </a:lnTo>
                  <a:lnTo>
                    <a:pt x="146" y="130"/>
                  </a:lnTo>
                  <a:lnTo>
                    <a:pt x="146" y="130"/>
                  </a:lnTo>
                  <a:lnTo>
                    <a:pt x="144" y="114"/>
                  </a:lnTo>
                  <a:lnTo>
                    <a:pt x="134" y="98"/>
                  </a:lnTo>
                  <a:lnTo>
                    <a:pt x="124" y="80"/>
                  </a:lnTo>
                  <a:lnTo>
                    <a:pt x="122" y="72"/>
                  </a:lnTo>
                  <a:lnTo>
                    <a:pt x="118" y="64"/>
                  </a:lnTo>
                  <a:lnTo>
                    <a:pt x="118" y="60"/>
                  </a:lnTo>
                  <a:lnTo>
                    <a:pt x="114" y="54"/>
                  </a:lnTo>
                  <a:lnTo>
                    <a:pt x="110" y="46"/>
                  </a:lnTo>
                  <a:lnTo>
                    <a:pt x="108" y="46"/>
                  </a:lnTo>
                  <a:lnTo>
                    <a:pt x="102" y="34"/>
                  </a:lnTo>
                  <a:lnTo>
                    <a:pt x="102" y="30"/>
                  </a:lnTo>
                  <a:lnTo>
                    <a:pt x="104" y="28"/>
                  </a:lnTo>
                  <a:lnTo>
                    <a:pt x="108" y="38"/>
                  </a:lnTo>
                  <a:lnTo>
                    <a:pt x="112" y="40"/>
                  </a:lnTo>
                  <a:lnTo>
                    <a:pt x="112" y="42"/>
                  </a:lnTo>
                  <a:lnTo>
                    <a:pt x="114" y="44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8" y="52"/>
                  </a:lnTo>
                  <a:lnTo>
                    <a:pt x="124" y="60"/>
                  </a:lnTo>
                  <a:lnTo>
                    <a:pt x="128" y="62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30" y="58"/>
                  </a:lnTo>
                  <a:lnTo>
                    <a:pt x="130" y="54"/>
                  </a:lnTo>
                  <a:lnTo>
                    <a:pt x="132" y="50"/>
                  </a:lnTo>
                  <a:lnTo>
                    <a:pt x="132" y="44"/>
                  </a:lnTo>
                  <a:lnTo>
                    <a:pt x="136" y="34"/>
                  </a:lnTo>
                  <a:lnTo>
                    <a:pt x="128" y="8"/>
                  </a:lnTo>
                  <a:lnTo>
                    <a:pt x="128" y="6"/>
                  </a:lnTo>
                  <a:lnTo>
                    <a:pt x="118" y="10"/>
                  </a:lnTo>
                  <a:lnTo>
                    <a:pt x="112" y="8"/>
                  </a:lnTo>
                  <a:lnTo>
                    <a:pt x="110" y="10"/>
                  </a:lnTo>
                  <a:lnTo>
                    <a:pt x="108" y="10"/>
                  </a:lnTo>
                  <a:lnTo>
                    <a:pt x="94" y="2"/>
                  </a:lnTo>
                  <a:lnTo>
                    <a:pt x="76" y="4"/>
                  </a:lnTo>
                  <a:lnTo>
                    <a:pt x="74" y="6"/>
                  </a:lnTo>
                  <a:lnTo>
                    <a:pt x="64" y="10"/>
                  </a:lnTo>
                  <a:lnTo>
                    <a:pt x="56" y="14"/>
                  </a:lnTo>
                  <a:lnTo>
                    <a:pt x="50" y="10"/>
                  </a:lnTo>
                  <a:lnTo>
                    <a:pt x="42" y="10"/>
                  </a:lnTo>
                  <a:lnTo>
                    <a:pt x="36" y="8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1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" name="Google Shape;543;p35">
              <a:extLst>
                <a:ext uri="{FF2B5EF4-FFF2-40B4-BE49-F238E27FC236}">
                  <a16:creationId xmlns:a16="http://schemas.microsoft.com/office/drawing/2014/main" id="{8AFDC31C-0D06-E7D7-A15B-3B10D558396B}"/>
                </a:ext>
              </a:extLst>
            </p:cNvPr>
            <p:cNvSpPr/>
            <p:nvPr/>
          </p:nvSpPr>
          <p:spPr>
            <a:xfrm>
              <a:off x="5709840" y="3950097"/>
              <a:ext cx="398622" cy="397192"/>
            </a:xfrm>
            <a:custGeom>
              <a:avLst/>
              <a:gdLst/>
              <a:ahLst/>
              <a:cxnLst/>
              <a:rect l="l" t="t" r="r" b="b"/>
              <a:pathLst>
                <a:path w="279" h="278" extrusionOk="0">
                  <a:moveTo>
                    <a:pt x="92" y="36"/>
                  </a:moveTo>
                  <a:lnTo>
                    <a:pt x="94" y="40"/>
                  </a:lnTo>
                  <a:lnTo>
                    <a:pt x="96" y="48"/>
                  </a:lnTo>
                  <a:lnTo>
                    <a:pt x="94" y="56"/>
                  </a:lnTo>
                  <a:lnTo>
                    <a:pt x="96" y="68"/>
                  </a:lnTo>
                  <a:lnTo>
                    <a:pt x="100" y="74"/>
                  </a:lnTo>
                  <a:lnTo>
                    <a:pt x="100" y="80"/>
                  </a:lnTo>
                  <a:lnTo>
                    <a:pt x="100" y="82"/>
                  </a:lnTo>
                  <a:lnTo>
                    <a:pt x="94" y="80"/>
                  </a:lnTo>
                  <a:lnTo>
                    <a:pt x="84" y="80"/>
                  </a:lnTo>
                  <a:lnTo>
                    <a:pt x="78" y="82"/>
                  </a:lnTo>
                  <a:lnTo>
                    <a:pt x="78" y="84"/>
                  </a:lnTo>
                  <a:lnTo>
                    <a:pt x="74" y="86"/>
                  </a:lnTo>
                  <a:lnTo>
                    <a:pt x="70" y="88"/>
                  </a:lnTo>
                  <a:lnTo>
                    <a:pt x="66" y="88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64" y="100"/>
                  </a:lnTo>
                  <a:lnTo>
                    <a:pt x="58" y="104"/>
                  </a:lnTo>
                  <a:lnTo>
                    <a:pt x="50" y="106"/>
                  </a:lnTo>
                  <a:lnTo>
                    <a:pt x="48" y="110"/>
                  </a:lnTo>
                  <a:lnTo>
                    <a:pt x="48" y="112"/>
                  </a:lnTo>
                  <a:lnTo>
                    <a:pt x="42" y="116"/>
                  </a:lnTo>
                  <a:lnTo>
                    <a:pt x="30" y="118"/>
                  </a:lnTo>
                  <a:lnTo>
                    <a:pt x="20" y="120"/>
                  </a:lnTo>
                  <a:lnTo>
                    <a:pt x="8" y="128"/>
                  </a:lnTo>
                  <a:lnTo>
                    <a:pt x="0" y="134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26" y="174"/>
                  </a:lnTo>
                  <a:lnTo>
                    <a:pt x="38" y="182"/>
                  </a:lnTo>
                  <a:lnTo>
                    <a:pt x="52" y="190"/>
                  </a:lnTo>
                  <a:lnTo>
                    <a:pt x="110" y="232"/>
                  </a:lnTo>
                  <a:lnTo>
                    <a:pt x="118" y="23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52"/>
                  </a:lnTo>
                  <a:lnTo>
                    <a:pt x="138" y="256"/>
                  </a:lnTo>
                  <a:lnTo>
                    <a:pt x="144" y="260"/>
                  </a:lnTo>
                  <a:lnTo>
                    <a:pt x="152" y="264"/>
                  </a:lnTo>
                  <a:lnTo>
                    <a:pt x="158" y="264"/>
                  </a:lnTo>
                  <a:lnTo>
                    <a:pt x="162" y="266"/>
                  </a:lnTo>
                  <a:lnTo>
                    <a:pt x="162" y="270"/>
                  </a:lnTo>
                  <a:lnTo>
                    <a:pt x="162" y="274"/>
                  </a:lnTo>
                  <a:lnTo>
                    <a:pt x="160" y="276"/>
                  </a:lnTo>
                  <a:lnTo>
                    <a:pt x="164" y="278"/>
                  </a:lnTo>
                  <a:lnTo>
                    <a:pt x="168" y="278"/>
                  </a:lnTo>
                  <a:lnTo>
                    <a:pt x="176" y="276"/>
                  </a:lnTo>
                  <a:lnTo>
                    <a:pt x="188" y="274"/>
                  </a:lnTo>
                  <a:lnTo>
                    <a:pt x="194" y="272"/>
                  </a:lnTo>
                  <a:lnTo>
                    <a:pt x="200" y="270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79" y="214"/>
                  </a:lnTo>
                  <a:lnTo>
                    <a:pt x="279" y="212"/>
                  </a:lnTo>
                  <a:lnTo>
                    <a:pt x="277" y="206"/>
                  </a:lnTo>
                  <a:lnTo>
                    <a:pt x="275" y="200"/>
                  </a:lnTo>
                  <a:lnTo>
                    <a:pt x="269" y="200"/>
                  </a:lnTo>
                  <a:lnTo>
                    <a:pt x="262" y="198"/>
                  </a:lnTo>
                  <a:lnTo>
                    <a:pt x="258" y="198"/>
                  </a:lnTo>
                  <a:lnTo>
                    <a:pt x="256" y="194"/>
                  </a:lnTo>
                  <a:lnTo>
                    <a:pt x="254" y="186"/>
                  </a:lnTo>
                  <a:lnTo>
                    <a:pt x="252" y="182"/>
                  </a:lnTo>
                  <a:lnTo>
                    <a:pt x="250" y="178"/>
                  </a:lnTo>
                  <a:lnTo>
                    <a:pt x="246" y="172"/>
                  </a:lnTo>
                  <a:lnTo>
                    <a:pt x="248" y="170"/>
                  </a:lnTo>
                  <a:lnTo>
                    <a:pt x="252" y="168"/>
                  </a:lnTo>
                  <a:lnTo>
                    <a:pt x="252" y="164"/>
                  </a:lnTo>
                  <a:lnTo>
                    <a:pt x="252" y="162"/>
                  </a:lnTo>
                  <a:lnTo>
                    <a:pt x="250" y="154"/>
                  </a:lnTo>
                  <a:lnTo>
                    <a:pt x="252" y="152"/>
                  </a:lnTo>
                  <a:lnTo>
                    <a:pt x="252" y="146"/>
                  </a:lnTo>
                  <a:lnTo>
                    <a:pt x="252" y="138"/>
                  </a:lnTo>
                  <a:lnTo>
                    <a:pt x="250" y="124"/>
                  </a:lnTo>
                  <a:lnTo>
                    <a:pt x="244" y="112"/>
                  </a:lnTo>
                  <a:lnTo>
                    <a:pt x="248" y="110"/>
                  </a:lnTo>
                  <a:lnTo>
                    <a:pt x="244" y="92"/>
                  </a:lnTo>
                  <a:lnTo>
                    <a:pt x="242" y="82"/>
                  </a:lnTo>
                  <a:lnTo>
                    <a:pt x="234" y="76"/>
                  </a:lnTo>
                  <a:lnTo>
                    <a:pt x="232" y="74"/>
                  </a:lnTo>
                  <a:lnTo>
                    <a:pt x="230" y="70"/>
                  </a:lnTo>
                  <a:lnTo>
                    <a:pt x="228" y="66"/>
                  </a:lnTo>
                  <a:lnTo>
                    <a:pt x="224" y="64"/>
                  </a:lnTo>
                  <a:lnTo>
                    <a:pt x="220" y="56"/>
                  </a:lnTo>
                  <a:lnTo>
                    <a:pt x="220" y="48"/>
                  </a:lnTo>
                  <a:lnTo>
                    <a:pt x="224" y="44"/>
                  </a:lnTo>
                  <a:lnTo>
                    <a:pt x="228" y="42"/>
                  </a:lnTo>
                  <a:lnTo>
                    <a:pt x="230" y="36"/>
                  </a:lnTo>
                  <a:lnTo>
                    <a:pt x="232" y="28"/>
                  </a:lnTo>
                  <a:lnTo>
                    <a:pt x="230" y="14"/>
                  </a:lnTo>
                  <a:lnTo>
                    <a:pt x="232" y="8"/>
                  </a:lnTo>
                  <a:lnTo>
                    <a:pt x="234" y="2"/>
                  </a:lnTo>
                  <a:lnTo>
                    <a:pt x="226" y="4"/>
                  </a:lnTo>
                  <a:lnTo>
                    <a:pt x="220" y="0"/>
                  </a:lnTo>
                  <a:lnTo>
                    <a:pt x="212" y="2"/>
                  </a:lnTo>
                  <a:lnTo>
                    <a:pt x="202" y="4"/>
                  </a:lnTo>
                  <a:lnTo>
                    <a:pt x="188" y="6"/>
                  </a:lnTo>
                  <a:lnTo>
                    <a:pt x="180" y="2"/>
                  </a:lnTo>
                  <a:lnTo>
                    <a:pt x="168" y="4"/>
                  </a:lnTo>
                  <a:lnTo>
                    <a:pt x="158" y="6"/>
                  </a:lnTo>
                  <a:lnTo>
                    <a:pt x="150" y="6"/>
                  </a:lnTo>
                  <a:lnTo>
                    <a:pt x="140" y="8"/>
                  </a:lnTo>
                  <a:lnTo>
                    <a:pt x="132" y="10"/>
                  </a:lnTo>
                  <a:lnTo>
                    <a:pt x="120" y="16"/>
                  </a:lnTo>
                  <a:lnTo>
                    <a:pt x="114" y="20"/>
                  </a:lnTo>
                  <a:lnTo>
                    <a:pt x="108" y="22"/>
                  </a:lnTo>
                  <a:lnTo>
                    <a:pt x="104" y="22"/>
                  </a:lnTo>
                  <a:lnTo>
                    <a:pt x="102" y="24"/>
                  </a:lnTo>
                  <a:lnTo>
                    <a:pt x="100" y="26"/>
                  </a:lnTo>
                  <a:lnTo>
                    <a:pt x="94" y="32"/>
                  </a:lnTo>
                  <a:lnTo>
                    <a:pt x="90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92" y="3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" name="Google Shape;544;p35">
              <a:extLst>
                <a:ext uri="{FF2B5EF4-FFF2-40B4-BE49-F238E27FC236}">
                  <a16:creationId xmlns:a16="http://schemas.microsoft.com/office/drawing/2014/main" id="{B69E2692-A65B-19C4-C4B3-08F5542D0F19}"/>
                </a:ext>
              </a:extLst>
            </p:cNvPr>
            <p:cNvSpPr/>
            <p:nvPr/>
          </p:nvSpPr>
          <p:spPr>
            <a:xfrm>
              <a:off x="5621258" y="3975815"/>
              <a:ext cx="231457" cy="188595"/>
            </a:xfrm>
            <a:custGeom>
              <a:avLst/>
              <a:gdLst/>
              <a:ahLst/>
              <a:cxnLst/>
              <a:rect l="l" t="t" r="r" b="b"/>
              <a:pathLst>
                <a:path w="162" h="132" extrusionOk="0">
                  <a:moveTo>
                    <a:pt x="2" y="130"/>
                  </a:moveTo>
                  <a:lnTo>
                    <a:pt x="0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16"/>
                  </a:lnTo>
                  <a:lnTo>
                    <a:pt x="70" y="110"/>
                  </a:lnTo>
                  <a:lnTo>
                    <a:pt x="82" y="102"/>
                  </a:lnTo>
                  <a:lnTo>
                    <a:pt x="92" y="100"/>
                  </a:lnTo>
                  <a:lnTo>
                    <a:pt x="104" y="98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12" y="88"/>
                  </a:lnTo>
                  <a:lnTo>
                    <a:pt x="120" y="86"/>
                  </a:lnTo>
                  <a:lnTo>
                    <a:pt x="126" y="82"/>
                  </a:lnTo>
                  <a:lnTo>
                    <a:pt x="132" y="80"/>
                  </a:lnTo>
                  <a:lnTo>
                    <a:pt x="128" y="78"/>
                  </a:lnTo>
                  <a:lnTo>
                    <a:pt x="128" y="76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0"/>
                  </a:lnTo>
                  <a:lnTo>
                    <a:pt x="132" y="70"/>
                  </a:lnTo>
                  <a:lnTo>
                    <a:pt x="136" y="68"/>
                  </a:lnTo>
                  <a:lnTo>
                    <a:pt x="140" y="66"/>
                  </a:lnTo>
                  <a:lnTo>
                    <a:pt x="140" y="64"/>
                  </a:lnTo>
                  <a:lnTo>
                    <a:pt x="146" y="62"/>
                  </a:lnTo>
                  <a:lnTo>
                    <a:pt x="156" y="62"/>
                  </a:lnTo>
                  <a:lnTo>
                    <a:pt x="162" y="64"/>
                  </a:lnTo>
                  <a:lnTo>
                    <a:pt x="162" y="62"/>
                  </a:lnTo>
                  <a:lnTo>
                    <a:pt x="162" y="56"/>
                  </a:lnTo>
                  <a:lnTo>
                    <a:pt x="158" y="50"/>
                  </a:lnTo>
                  <a:lnTo>
                    <a:pt x="156" y="38"/>
                  </a:lnTo>
                  <a:lnTo>
                    <a:pt x="158" y="30"/>
                  </a:lnTo>
                  <a:lnTo>
                    <a:pt x="156" y="22"/>
                  </a:lnTo>
                  <a:lnTo>
                    <a:pt x="154" y="18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48" y="14"/>
                  </a:lnTo>
                  <a:lnTo>
                    <a:pt x="142" y="14"/>
                  </a:lnTo>
                  <a:lnTo>
                    <a:pt x="138" y="12"/>
                  </a:lnTo>
                  <a:lnTo>
                    <a:pt x="134" y="14"/>
                  </a:lnTo>
                  <a:lnTo>
                    <a:pt x="126" y="14"/>
                  </a:lnTo>
                  <a:lnTo>
                    <a:pt x="114" y="1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0" y="4"/>
                  </a:lnTo>
                  <a:lnTo>
                    <a:pt x="90" y="28"/>
                  </a:lnTo>
                  <a:lnTo>
                    <a:pt x="88" y="32"/>
                  </a:lnTo>
                  <a:lnTo>
                    <a:pt x="66" y="44"/>
                  </a:lnTo>
                  <a:lnTo>
                    <a:pt x="56" y="54"/>
                  </a:lnTo>
                  <a:lnTo>
                    <a:pt x="54" y="58"/>
                  </a:lnTo>
                  <a:lnTo>
                    <a:pt x="52" y="64"/>
                  </a:lnTo>
                  <a:lnTo>
                    <a:pt x="46" y="76"/>
                  </a:lnTo>
                  <a:lnTo>
                    <a:pt x="50" y="90"/>
                  </a:lnTo>
                  <a:lnTo>
                    <a:pt x="42" y="106"/>
                  </a:lnTo>
                  <a:lnTo>
                    <a:pt x="36" y="112"/>
                  </a:lnTo>
                  <a:lnTo>
                    <a:pt x="30" y="116"/>
                  </a:lnTo>
                  <a:lnTo>
                    <a:pt x="24" y="120"/>
                  </a:lnTo>
                  <a:lnTo>
                    <a:pt x="18" y="126"/>
                  </a:lnTo>
                  <a:lnTo>
                    <a:pt x="10" y="128"/>
                  </a:lnTo>
                  <a:lnTo>
                    <a:pt x="2" y="13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Google Shape;545;p35">
              <a:extLst>
                <a:ext uri="{FF2B5EF4-FFF2-40B4-BE49-F238E27FC236}">
                  <a16:creationId xmlns:a16="http://schemas.microsoft.com/office/drawing/2014/main" id="{EA61184E-FF5C-3D65-DD90-A811028A8B3A}"/>
                </a:ext>
              </a:extLst>
            </p:cNvPr>
            <p:cNvSpPr/>
            <p:nvPr/>
          </p:nvSpPr>
          <p:spPr>
            <a:xfrm>
              <a:off x="6024165" y="3944382"/>
              <a:ext cx="78582" cy="162877"/>
            </a:xfrm>
            <a:custGeom>
              <a:avLst/>
              <a:gdLst/>
              <a:ahLst/>
              <a:cxnLst/>
              <a:rect l="l" t="t" r="r" b="b"/>
              <a:pathLst>
                <a:path w="55" h="114" extrusionOk="0">
                  <a:moveTo>
                    <a:pt x="10" y="18"/>
                  </a:moveTo>
                  <a:lnTo>
                    <a:pt x="12" y="32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60"/>
                  </a:lnTo>
                  <a:lnTo>
                    <a:pt x="4" y="68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22" y="86"/>
                  </a:lnTo>
                  <a:lnTo>
                    <a:pt x="24" y="96"/>
                  </a:lnTo>
                  <a:lnTo>
                    <a:pt x="28" y="114"/>
                  </a:lnTo>
                  <a:lnTo>
                    <a:pt x="34" y="112"/>
                  </a:lnTo>
                  <a:lnTo>
                    <a:pt x="38" y="104"/>
                  </a:lnTo>
                  <a:lnTo>
                    <a:pt x="36" y="96"/>
                  </a:lnTo>
                  <a:lnTo>
                    <a:pt x="38" y="90"/>
                  </a:lnTo>
                  <a:lnTo>
                    <a:pt x="46" y="84"/>
                  </a:lnTo>
                  <a:lnTo>
                    <a:pt x="53" y="80"/>
                  </a:lnTo>
                  <a:lnTo>
                    <a:pt x="55" y="80"/>
                  </a:lnTo>
                  <a:lnTo>
                    <a:pt x="53" y="76"/>
                  </a:lnTo>
                  <a:lnTo>
                    <a:pt x="53" y="68"/>
                  </a:lnTo>
                  <a:lnTo>
                    <a:pt x="51" y="66"/>
                  </a:lnTo>
                  <a:lnTo>
                    <a:pt x="49" y="68"/>
                  </a:lnTo>
                  <a:lnTo>
                    <a:pt x="44" y="64"/>
                  </a:lnTo>
                  <a:lnTo>
                    <a:pt x="34" y="54"/>
                  </a:lnTo>
                  <a:lnTo>
                    <a:pt x="40" y="46"/>
                  </a:lnTo>
                  <a:lnTo>
                    <a:pt x="46" y="40"/>
                  </a:lnTo>
                  <a:lnTo>
                    <a:pt x="48" y="34"/>
                  </a:lnTo>
                  <a:lnTo>
                    <a:pt x="44" y="26"/>
                  </a:lnTo>
                  <a:lnTo>
                    <a:pt x="40" y="22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2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38" y="8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12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" name="Google Shape;546;p35">
              <a:extLst>
                <a:ext uri="{FF2B5EF4-FFF2-40B4-BE49-F238E27FC236}">
                  <a16:creationId xmlns:a16="http://schemas.microsoft.com/office/drawing/2014/main" id="{6ADFD4B9-A363-F794-6B77-71214C9F0A52}"/>
                </a:ext>
              </a:extLst>
            </p:cNvPr>
            <p:cNvSpPr/>
            <p:nvPr/>
          </p:nvSpPr>
          <p:spPr>
            <a:xfrm>
              <a:off x="5544105" y="4050109"/>
              <a:ext cx="71438" cy="114300"/>
            </a:xfrm>
            <a:custGeom>
              <a:avLst/>
              <a:gdLst/>
              <a:ahLst/>
              <a:cxnLst/>
              <a:rect l="l" t="t" r="r" b="b"/>
              <a:pathLst>
                <a:path w="79375" h="127000" extrusionOk="0">
                  <a:moveTo>
                    <a:pt x="31750" y="117475"/>
                  </a:moveTo>
                  <a:lnTo>
                    <a:pt x="34925" y="117475"/>
                  </a:lnTo>
                  <a:lnTo>
                    <a:pt x="38100" y="117475"/>
                  </a:lnTo>
                  <a:lnTo>
                    <a:pt x="38100" y="120650"/>
                  </a:lnTo>
                  <a:lnTo>
                    <a:pt x="34925" y="127000"/>
                  </a:lnTo>
                  <a:lnTo>
                    <a:pt x="28575" y="120650"/>
                  </a:lnTo>
                  <a:close/>
                  <a:moveTo>
                    <a:pt x="22225" y="104775"/>
                  </a:moveTo>
                  <a:lnTo>
                    <a:pt x="19050" y="111125"/>
                  </a:lnTo>
                  <a:lnTo>
                    <a:pt x="15875" y="117475"/>
                  </a:lnTo>
                  <a:lnTo>
                    <a:pt x="12700" y="120650"/>
                  </a:lnTo>
                  <a:lnTo>
                    <a:pt x="9525" y="117475"/>
                  </a:lnTo>
                  <a:lnTo>
                    <a:pt x="6350" y="111125"/>
                  </a:lnTo>
                  <a:lnTo>
                    <a:pt x="9525" y="111125"/>
                  </a:lnTo>
                  <a:close/>
                  <a:moveTo>
                    <a:pt x="69850" y="101600"/>
                  </a:moveTo>
                  <a:lnTo>
                    <a:pt x="73025" y="107950"/>
                  </a:lnTo>
                  <a:lnTo>
                    <a:pt x="69850" y="114300"/>
                  </a:lnTo>
                  <a:lnTo>
                    <a:pt x="60325" y="117475"/>
                  </a:lnTo>
                  <a:lnTo>
                    <a:pt x="66675" y="107950"/>
                  </a:lnTo>
                  <a:close/>
                  <a:moveTo>
                    <a:pt x="79375" y="88900"/>
                  </a:moveTo>
                  <a:lnTo>
                    <a:pt x="79375" y="92075"/>
                  </a:lnTo>
                  <a:lnTo>
                    <a:pt x="76200" y="98425"/>
                  </a:lnTo>
                  <a:lnTo>
                    <a:pt x="73025" y="98425"/>
                  </a:lnTo>
                  <a:lnTo>
                    <a:pt x="73025" y="95250"/>
                  </a:lnTo>
                  <a:lnTo>
                    <a:pt x="76200" y="92075"/>
                  </a:lnTo>
                  <a:close/>
                  <a:moveTo>
                    <a:pt x="0" y="0"/>
                  </a:moveTo>
                  <a:lnTo>
                    <a:pt x="3175" y="0"/>
                  </a:lnTo>
                  <a:lnTo>
                    <a:pt x="9525" y="0"/>
                  </a:lnTo>
                  <a:lnTo>
                    <a:pt x="3175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" name="Google Shape;547;p35">
              <a:extLst>
                <a:ext uri="{FF2B5EF4-FFF2-40B4-BE49-F238E27FC236}">
                  <a16:creationId xmlns:a16="http://schemas.microsoft.com/office/drawing/2014/main" id="{F51EB547-E3DD-1A9B-14BB-FFF1A06B7216}"/>
                </a:ext>
              </a:extLst>
            </p:cNvPr>
            <p:cNvSpPr/>
            <p:nvPr/>
          </p:nvSpPr>
          <p:spPr>
            <a:xfrm>
              <a:off x="6058455" y="4041537"/>
              <a:ext cx="307182" cy="294322"/>
            </a:xfrm>
            <a:custGeom>
              <a:avLst/>
              <a:gdLst/>
              <a:ahLst/>
              <a:cxnLst/>
              <a:rect l="l" t="t" r="r" b="b"/>
              <a:pathLst>
                <a:path w="215" h="206" extrusionOk="0">
                  <a:moveTo>
                    <a:pt x="31" y="12"/>
                  </a:moveTo>
                  <a:lnTo>
                    <a:pt x="29" y="12"/>
                  </a:lnTo>
                  <a:lnTo>
                    <a:pt x="22" y="16"/>
                  </a:lnTo>
                  <a:lnTo>
                    <a:pt x="14" y="22"/>
                  </a:lnTo>
                  <a:lnTo>
                    <a:pt x="12" y="28"/>
                  </a:lnTo>
                  <a:lnTo>
                    <a:pt x="14" y="36"/>
                  </a:lnTo>
                  <a:lnTo>
                    <a:pt x="10" y="44"/>
                  </a:lnTo>
                  <a:lnTo>
                    <a:pt x="4" y="46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8" y="74"/>
                  </a:lnTo>
                  <a:lnTo>
                    <a:pt x="8" y="82"/>
                  </a:lnTo>
                  <a:lnTo>
                    <a:pt x="8" y="88"/>
                  </a:lnTo>
                  <a:lnTo>
                    <a:pt x="6" y="90"/>
                  </a:lnTo>
                  <a:lnTo>
                    <a:pt x="8" y="98"/>
                  </a:lnTo>
                  <a:lnTo>
                    <a:pt x="8" y="100"/>
                  </a:lnTo>
                  <a:lnTo>
                    <a:pt x="8" y="104"/>
                  </a:lnTo>
                  <a:lnTo>
                    <a:pt x="4" y="106"/>
                  </a:lnTo>
                  <a:lnTo>
                    <a:pt x="2" y="108"/>
                  </a:lnTo>
                  <a:lnTo>
                    <a:pt x="6" y="114"/>
                  </a:lnTo>
                  <a:lnTo>
                    <a:pt x="8" y="118"/>
                  </a:lnTo>
                  <a:lnTo>
                    <a:pt x="10" y="122"/>
                  </a:lnTo>
                  <a:lnTo>
                    <a:pt x="12" y="130"/>
                  </a:lnTo>
                  <a:lnTo>
                    <a:pt x="14" y="134"/>
                  </a:lnTo>
                  <a:lnTo>
                    <a:pt x="18" y="134"/>
                  </a:lnTo>
                  <a:lnTo>
                    <a:pt x="25" y="136"/>
                  </a:lnTo>
                  <a:lnTo>
                    <a:pt x="31" y="136"/>
                  </a:lnTo>
                  <a:lnTo>
                    <a:pt x="33" y="142"/>
                  </a:lnTo>
                  <a:lnTo>
                    <a:pt x="35" y="148"/>
                  </a:lnTo>
                  <a:lnTo>
                    <a:pt x="49" y="152"/>
                  </a:lnTo>
                  <a:lnTo>
                    <a:pt x="57" y="154"/>
                  </a:lnTo>
                  <a:lnTo>
                    <a:pt x="63" y="158"/>
                  </a:lnTo>
                  <a:lnTo>
                    <a:pt x="67" y="162"/>
                  </a:lnTo>
                  <a:lnTo>
                    <a:pt x="71" y="158"/>
                  </a:lnTo>
                  <a:lnTo>
                    <a:pt x="77" y="156"/>
                  </a:lnTo>
                  <a:lnTo>
                    <a:pt x="85" y="152"/>
                  </a:lnTo>
                  <a:lnTo>
                    <a:pt x="87" y="152"/>
                  </a:lnTo>
                  <a:lnTo>
                    <a:pt x="91" y="148"/>
                  </a:lnTo>
                  <a:lnTo>
                    <a:pt x="93" y="150"/>
                  </a:lnTo>
                  <a:lnTo>
                    <a:pt x="97" y="152"/>
                  </a:lnTo>
                  <a:lnTo>
                    <a:pt x="103" y="156"/>
                  </a:lnTo>
                  <a:lnTo>
                    <a:pt x="131" y="170"/>
                  </a:lnTo>
                  <a:lnTo>
                    <a:pt x="137" y="172"/>
                  </a:lnTo>
                  <a:lnTo>
                    <a:pt x="199" y="206"/>
                  </a:lnTo>
                  <a:lnTo>
                    <a:pt x="199" y="200"/>
                  </a:lnTo>
                  <a:lnTo>
                    <a:pt x="203" y="200"/>
                  </a:lnTo>
                  <a:lnTo>
                    <a:pt x="211" y="200"/>
                  </a:lnTo>
                  <a:lnTo>
                    <a:pt x="213" y="200"/>
                  </a:lnTo>
                  <a:lnTo>
                    <a:pt x="213" y="198"/>
                  </a:lnTo>
                  <a:lnTo>
                    <a:pt x="213" y="170"/>
                  </a:lnTo>
                  <a:lnTo>
                    <a:pt x="213" y="170"/>
                  </a:lnTo>
                  <a:lnTo>
                    <a:pt x="213" y="92"/>
                  </a:lnTo>
                  <a:lnTo>
                    <a:pt x="213" y="72"/>
                  </a:lnTo>
                  <a:lnTo>
                    <a:pt x="213" y="64"/>
                  </a:lnTo>
                  <a:lnTo>
                    <a:pt x="211" y="58"/>
                  </a:lnTo>
                  <a:lnTo>
                    <a:pt x="211" y="56"/>
                  </a:lnTo>
                  <a:lnTo>
                    <a:pt x="211" y="52"/>
                  </a:lnTo>
                  <a:lnTo>
                    <a:pt x="211" y="46"/>
                  </a:lnTo>
                  <a:lnTo>
                    <a:pt x="213" y="38"/>
                  </a:lnTo>
                  <a:lnTo>
                    <a:pt x="211" y="32"/>
                  </a:lnTo>
                  <a:lnTo>
                    <a:pt x="213" y="26"/>
                  </a:lnTo>
                  <a:lnTo>
                    <a:pt x="215" y="24"/>
                  </a:lnTo>
                  <a:lnTo>
                    <a:pt x="213" y="20"/>
                  </a:lnTo>
                  <a:lnTo>
                    <a:pt x="207" y="18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87" y="12"/>
                  </a:lnTo>
                  <a:lnTo>
                    <a:pt x="187" y="8"/>
                  </a:lnTo>
                  <a:lnTo>
                    <a:pt x="185" y="8"/>
                  </a:lnTo>
                  <a:lnTo>
                    <a:pt x="175" y="4"/>
                  </a:lnTo>
                  <a:lnTo>
                    <a:pt x="159" y="6"/>
                  </a:lnTo>
                  <a:lnTo>
                    <a:pt x="145" y="16"/>
                  </a:lnTo>
                  <a:lnTo>
                    <a:pt x="147" y="32"/>
                  </a:lnTo>
                  <a:lnTo>
                    <a:pt x="139" y="44"/>
                  </a:lnTo>
                  <a:lnTo>
                    <a:pt x="125" y="44"/>
                  </a:lnTo>
                  <a:lnTo>
                    <a:pt x="119" y="38"/>
                  </a:lnTo>
                  <a:lnTo>
                    <a:pt x="111" y="34"/>
                  </a:lnTo>
                  <a:lnTo>
                    <a:pt x="103" y="32"/>
                  </a:lnTo>
                  <a:lnTo>
                    <a:pt x="97" y="32"/>
                  </a:lnTo>
                  <a:lnTo>
                    <a:pt x="83" y="24"/>
                  </a:lnTo>
                  <a:lnTo>
                    <a:pt x="81" y="18"/>
                  </a:lnTo>
                  <a:lnTo>
                    <a:pt x="79" y="12"/>
                  </a:lnTo>
                  <a:lnTo>
                    <a:pt x="61" y="6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33" y="2"/>
                  </a:lnTo>
                  <a:lnTo>
                    <a:pt x="29" y="0"/>
                  </a:lnTo>
                  <a:lnTo>
                    <a:pt x="29" y="8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" name="Google Shape;548;p35">
              <a:extLst>
                <a:ext uri="{FF2B5EF4-FFF2-40B4-BE49-F238E27FC236}">
                  <a16:creationId xmlns:a16="http://schemas.microsoft.com/office/drawing/2014/main" id="{4912FB53-7C70-EA83-FFF4-BB9B9CD27C55}"/>
                </a:ext>
              </a:extLst>
            </p:cNvPr>
            <p:cNvSpPr/>
            <p:nvPr/>
          </p:nvSpPr>
          <p:spPr>
            <a:xfrm>
              <a:off x="5544105" y="4395867"/>
              <a:ext cx="114300" cy="85725"/>
            </a:xfrm>
            <a:custGeom>
              <a:avLst/>
              <a:gdLst/>
              <a:ahLst/>
              <a:cxnLst/>
              <a:rect l="l" t="t" r="r" b="b"/>
              <a:pathLst>
                <a:path w="80" h="60" extrusionOk="0">
                  <a:moveTo>
                    <a:pt x="20" y="58"/>
                  </a:moveTo>
                  <a:lnTo>
                    <a:pt x="26" y="56"/>
                  </a:lnTo>
                  <a:lnTo>
                    <a:pt x="36" y="56"/>
                  </a:lnTo>
                  <a:lnTo>
                    <a:pt x="48" y="56"/>
                  </a:lnTo>
                  <a:lnTo>
                    <a:pt x="56" y="56"/>
                  </a:lnTo>
                  <a:lnTo>
                    <a:pt x="58" y="58"/>
                  </a:lnTo>
                  <a:lnTo>
                    <a:pt x="64" y="60"/>
                  </a:lnTo>
                  <a:lnTo>
                    <a:pt x="72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8" y="56"/>
                  </a:lnTo>
                  <a:lnTo>
                    <a:pt x="78" y="54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46"/>
                  </a:lnTo>
                  <a:lnTo>
                    <a:pt x="72" y="46"/>
                  </a:lnTo>
                  <a:lnTo>
                    <a:pt x="70" y="40"/>
                  </a:lnTo>
                  <a:lnTo>
                    <a:pt x="68" y="32"/>
                  </a:lnTo>
                  <a:lnTo>
                    <a:pt x="68" y="26"/>
                  </a:lnTo>
                  <a:lnTo>
                    <a:pt x="60" y="20"/>
                  </a:lnTo>
                  <a:lnTo>
                    <a:pt x="56" y="14"/>
                  </a:lnTo>
                  <a:lnTo>
                    <a:pt x="50" y="6"/>
                  </a:lnTo>
                  <a:lnTo>
                    <a:pt x="46" y="6"/>
                  </a:lnTo>
                  <a:lnTo>
                    <a:pt x="42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2"/>
                  </a:lnTo>
                  <a:lnTo>
                    <a:pt x="12" y="4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10" y="36"/>
                  </a:lnTo>
                  <a:lnTo>
                    <a:pt x="8" y="42"/>
                  </a:lnTo>
                  <a:lnTo>
                    <a:pt x="20" y="42"/>
                  </a:lnTo>
                  <a:lnTo>
                    <a:pt x="24" y="42"/>
                  </a:lnTo>
                  <a:lnTo>
                    <a:pt x="26" y="40"/>
                  </a:lnTo>
                  <a:lnTo>
                    <a:pt x="36" y="40"/>
                  </a:lnTo>
                  <a:lnTo>
                    <a:pt x="42" y="42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6" y="46"/>
                  </a:lnTo>
                  <a:lnTo>
                    <a:pt x="30" y="44"/>
                  </a:lnTo>
                  <a:lnTo>
                    <a:pt x="22" y="4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50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60"/>
                  </a:lnTo>
                  <a:lnTo>
                    <a:pt x="16" y="58"/>
                  </a:lnTo>
                  <a:lnTo>
                    <a:pt x="20" y="5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" name="Google Shape;549;p35">
              <a:extLst>
                <a:ext uri="{FF2B5EF4-FFF2-40B4-BE49-F238E27FC236}">
                  <a16:creationId xmlns:a16="http://schemas.microsoft.com/office/drawing/2014/main" id="{694B02FC-1CB4-E5C4-7AA3-6EDDB1D3F8B5}"/>
                </a:ext>
              </a:extLst>
            </p:cNvPr>
            <p:cNvSpPr/>
            <p:nvPr/>
          </p:nvSpPr>
          <p:spPr>
            <a:xfrm>
              <a:off x="5546963" y="4164410"/>
              <a:ext cx="162877" cy="137160"/>
            </a:xfrm>
            <a:custGeom>
              <a:avLst/>
              <a:gdLst/>
              <a:ahLst/>
              <a:cxnLst/>
              <a:rect l="l" t="t" r="r" b="b"/>
              <a:pathLst>
                <a:path w="114" h="96" extrusionOk="0">
                  <a:moveTo>
                    <a:pt x="26" y="94"/>
                  </a:moveTo>
                  <a:lnTo>
                    <a:pt x="56" y="94"/>
                  </a:lnTo>
                  <a:lnTo>
                    <a:pt x="54" y="78"/>
                  </a:lnTo>
                  <a:lnTo>
                    <a:pt x="54" y="74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68" y="64"/>
                  </a:lnTo>
                  <a:lnTo>
                    <a:pt x="68" y="26"/>
                  </a:lnTo>
                  <a:lnTo>
                    <a:pt x="114" y="2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52" y="0"/>
                  </a:lnTo>
                  <a:lnTo>
                    <a:pt x="50" y="8"/>
                  </a:lnTo>
                  <a:lnTo>
                    <a:pt x="46" y="16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4" y="26"/>
                  </a:lnTo>
                  <a:lnTo>
                    <a:pt x="30" y="34"/>
                  </a:lnTo>
                  <a:lnTo>
                    <a:pt x="30" y="40"/>
                  </a:lnTo>
                  <a:lnTo>
                    <a:pt x="22" y="54"/>
                  </a:lnTo>
                  <a:lnTo>
                    <a:pt x="18" y="56"/>
                  </a:lnTo>
                  <a:lnTo>
                    <a:pt x="12" y="68"/>
                  </a:lnTo>
                  <a:lnTo>
                    <a:pt x="10" y="76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2" y="84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6" y="94"/>
                  </a:lnTo>
                  <a:lnTo>
                    <a:pt x="26" y="9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" name="Google Shape;550;p35">
              <a:extLst>
                <a:ext uri="{FF2B5EF4-FFF2-40B4-BE49-F238E27FC236}">
                  <a16:creationId xmlns:a16="http://schemas.microsoft.com/office/drawing/2014/main" id="{56AF5D8A-A8B3-5285-D6D1-07A115BD0FFC}"/>
                </a:ext>
              </a:extLst>
            </p:cNvPr>
            <p:cNvSpPr/>
            <p:nvPr/>
          </p:nvSpPr>
          <p:spPr>
            <a:xfrm>
              <a:off x="5546963" y="4172982"/>
              <a:ext cx="237172" cy="260032"/>
            </a:xfrm>
            <a:custGeom>
              <a:avLst/>
              <a:gdLst/>
              <a:ahLst/>
              <a:cxnLst/>
              <a:rect l="l" t="t" r="r" b="b"/>
              <a:pathLst>
                <a:path w="166" h="182" extrusionOk="0">
                  <a:moveTo>
                    <a:pt x="12" y="158"/>
                  </a:moveTo>
                  <a:lnTo>
                    <a:pt x="18" y="158"/>
                  </a:lnTo>
                  <a:lnTo>
                    <a:pt x="20" y="158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4" y="156"/>
                  </a:lnTo>
                  <a:lnTo>
                    <a:pt x="38" y="156"/>
                  </a:lnTo>
                  <a:lnTo>
                    <a:pt x="40" y="160"/>
                  </a:lnTo>
                  <a:lnTo>
                    <a:pt x="44" y="162"/>
                  </a:lnTo>
                  <a:lnTo>
                    <a:pt x="48" y="162"/>
                  </a:lnTo>
                  <a:lnTo>
                    <a:pt x="54" y="170"/>
                  </a:lnTo>
                  <a:lnTo>
                    <a:pt x="58" y="176"/>
                  </a:lnTo>
                  <a:lnTo>
                    <a:pt x="66" y="182"/>
                  </a:lnTo>
                  <a:lnTo>
                    <a:pt x="68" y="182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2" y="176"/>
                  </a:lnTo>
                  <a:lnTo>
                    <a:pt x="72" y="172"/>
                  </a:lnTo>
                  <a:lnTo>
                    <a:pt x="78" y="170"/>
                  </a:lnTo>
                  <a:lnTo>
                    <a:pt x="84" y="178"/>
                  </a:lnTo>
                  <a:lnTo>
                    <a:pt x="86" y="172"/>
                  </a:lnTo>
                  <a:lnTo>
                    <a:pt x="90" y="172"/>
                  </a:lnTo>
                  <a:lnTo>
                    <a:pt x="96" y="174"/>
                  </a:lnTo>
                  <a:lnTo>
                    <a:pt x="104" y="172"/>
                  </a:lnTo>
                  <a:lnTo>
                    <a:pt x="108" y="172"/>
                  </a:lnTo>
                  <a:lnTo>
                    <a:pt x="112" y="172"/>
                  </a:lnTo>
                  <a:lnTo>
                    <a:pt x="150" y="172"/>
                  </a:lnTo>
                  <a:lnTo>
                    <a:pt x="158" y="172"/>
                  </a:lnTo>
                  <a:lnTo>
                    <a:pt x="158" y="162"/>
                  </a:lnTo>
                  <a:lnTo>
                    <a:pt x="158" y="160"/>
                  </a:lnTo>
                  <a:lnTo>
                    <a:pt x="156" y="156"/>
                  </a:lnTo>
                  <a:lnTo>
                    <a:pt x="154" y="138"/>
                  </a:lnTo>
                  <a:lnTo>
                    <a:pt x="150" y="104"/>
                  </a:lnTo>
                  <a:lnTo>
                    <a:pt x="146" y="62"/>
                  </a:lnTo>
                  <a:lnTo>
                    <a:pt x="142" y="34"/>
                  </a:lnTo>
                  <a:lnTo>
                    <a:pt x="166" y="34"/>
                  </a:lnTo>
                  <a:lnTo>
                    <a:pt x="152" y="26"/>
                  </a:lnTo>
                  <a:lnTo>
                    <a:pt x="140" y="18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20"/>
                  </a:lnTo>
                  <a:lnTo>
                    <a:pt x="68" y="20"/>
                  </a:lnTo>
                  <a:lnTo>
                    <a:pt x="68" y="58"/>
                  </a:lnTo>
                  <a:lnTo>
                    <a:pt x="60" y="60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4" y="72"/>
                  </a:lnTo>
                  <a:lnTo>
                    <a:pt x="56" y="88"/>
                  </a:lnTo>
                  <a:lnTo>
                    <a:pt x="26" y="88"/>
                  </a:lnTo>
                  <a:lnTo>
                    <a:pt x="6" y="88"/>
                  </a:lnTo>
                  <a:lnTo>
                    <a:pt x="0" y="90"/>
                  </a:lnTo>
                  <a:lnTo>
                    <a:pt x="8" y="100"/>
                  </a:lnTo>
                  <a:lnTo>
                    <a:pt x="12" y="104"/>
                  </a:lnTo>
                  <a:lnTo>
                    <a:pt x="12" y="108"/>
                  </a:lnTo>
                  <a:lnTo>
                    <a:pt x="10" y="112"/>
                  </a:lnTo>
                  <a:lnTo>
                    <a:pt x="12" y="124"/>
                  </a:lnTo>
                  <a:lnTo>
                    <a:pt x="14" y="134"/>
                  </a:lnTo>
                  <a:lnTo>
                    <a:pt x="12" y="150"/>
                  </a:lnTo>
                  <a:lnTo>
                    <a:pt x="8" y="164"/>
                  </a:lnTo>
                  <a:lnTo>
                    <a:pt x="10" y="160"/>
                  </a:lnTo>
                  <a:lnTo>
                    <a:pt x="12" y="15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" name="Google Shape;551;p35">
              <a:extLst>
                <a:ext uri="{FF2B5EF4-FFF2-40B4-BE49-F238E27FC236}">
                  <a16:creationId xmlns:a16="http://schemas.microsoft.com/office/drawing/2014/main" id="{83860DC4-FE15-AFCE-BE73-25EAF5D69C20}"/>
                </a:ext>
              </a:extLst>
            </p:cNvPr>
            <p:cNvSpPr/>
            <p:nvPr/>
          </p:nvSpPr>
          <p:spPr>
            <a:xfrm>
              <a:off x="5415518" y="4404440"/>
              <a:ext cx="22860" cy="22860"/>
            </a:xfrm>
            <a:custGeom>
              <a:avLst/>
              <a:gdLst/>
              <a:ahLst/>
              <a:cxnLst/>
              <a:rect l="l" t="t" r="r" b="b"/>
              <a:pathLst>
                <a:path w="25400" h="25400" extrusionOk="0">
                  <a:moveTo>
                    <a:pt x="0" y="19050"/>
                  </a:moveTo>
                  <a:lnTo>
                    <a:pt x="6350" y="25400"/>
                  </a:lnTo>
                  <a:lnTo>
                    <a:pt x="3175" y="25400"/>
                  </a:lnTo>
                  <a:close/>
                  <a:moveTo>
                    <a:pt x="19050" y="0"/>
                  </a:moveTo>
                  <a:lnTo>
                    <a:pt x="22225" y="0"/>
                  </a:lnTo>
                  <a:lnTo>
                    <a:pt x="25400" y="3175"/>
                  </a:lnTo>
                  <a:lnTo>
                    <a:pt x="19050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" name="Google Shape;552;p35">
              <a:extLst>
                <a:ext uri="{FF2B5EF4-FFF2-40B4-BE49-F238E27FC236}">
                  <a16:creationId xmlns:a16="http://schemas.microsoft.com/office/drawing/2014/main" id="{3A10BF6F-A377-4FC4-6F55-CD530871EAEB}"/>
                </a:ext>
              </a:extLst>
            </p:cNvPr>
            <p:cNvSpPr/>
            <p:nvPr/>
          </p:nvSpPr>
          <p:spPr>
            <a:xfrm>
              <a:off x="5769848" y="4427300"/>
              <a:ext cx="154305" cy="111442"/>
            </a:xfrm>
            <a:custGeom>
              <a:avLst/>
              <a:gdLst/>
              <a:ahLst/>
              <a:cxnLst/>
              <a:rect l="l" t="t" r="r" b="b"/>
              <a:pathLst>
                <a:path w="108" h="78" extrusionOk="0">
                  <a:moveTo>
                    <a:pt x="94" y="32"/>
                  </a:moveTo>
                  <a:lnTo>
                    <a:pt x="90" y="28"/>
                  </a:lnTo>
                  <a:lnTo>
                    <a:pt x="90" y="24"/>
                  </a:lnTo>
                  <a:lnTo>
                    <a:pt x="94" y="24"/>
                  </a:lnTo>
                  <a:lnTo>
                    <a:pt x="86" y="20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78" y="8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0" y="2"/>
                  </a:lnTo>
                  <a:lnTo>
                    <a:pt x="56" y="4"/>
                  </a:lnTo>
                  <a:lnTo>
                    <a:pt x="42" y="10"/>
                  </a:lnTo>
                  <a:lnTo>
                    <a:pt x="38" y="14"/>
                  </a:lnTo>
                  <a:lnTo>
                    <a:pt x="32" y="20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4" y="24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18" y="32"/>
                  </a:lnTo>
                  <a:lnTo>
                    <a:pt x="12" y="42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2" y="60"/>
                  </a:lnTo>
                  <a:lnTo>
                    <a:pt x="0" y="64"/>
                  </a:lnTo>
                  <a:lnTo>
                    <a:pt x="8" y="70"/>
                  </a:lnTo>
                  <a:lnTo>
                    <a:pt x="14" y="74"/>
                  </a:lnTo>
                  <a:lnTo>
                    <a:pt x="18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32" y="72"/>
                  </a:lnTo>
                  <a:lnTo>
                    <a:pt x="36" y="76"/>
                  </a:lnTo>
                  <a:lnTo>
                    <a:pt x="40" y="78"/>
                  </a:lnTo>
                  <a:lnTo>
                    <a:pt x="38" y="76"/>
                  </a:lnTo>
                  <a:lnTo>
                    <a:pt x="38" y="72"/>
                  </a:lnTo>
                  <a:lnTo>
                    <a:pt x="38" y="66"/>
                  </a:lnTo>
                  <a:lnTo>
                    <a:pt x="36" y="62"/>
                  </a:lnTo>
                  <a:lnTo>
                    <a:pt x="38" y="56"/>
                  </a:lnTo>
                  <a:lnTo>
                    <a:pt x="66" y="56"/>
                  </a:lnTo>
                  <a:lnTo>
                    <a:pt x="68" y="58"/>
                  </a:lnTo>
                  <a:lnTo>
                    <a:pt x="72" y="56"/>
                  </a:lnTo>
                  <a:lnTo>
                    <a:pt x="74" y="54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4" y="50"/>
                  </a:lnTo>
                  <a:lnTo>
                    <a:pt x="102" y="50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4" y="38"/>
                  </a:lnTo>
                  <a:lnTo>
                    <a:pt x="94" y="3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" name="Google Shape;553;p35">
              <a:extLst>
                <a:ext uri="{FF2B5EF4-FFF2-40B4-BE49-F238E27FC236}">
                  <a16:creationId xmlns:a16="http://schemas.microsoft.com/office/drawing/2014/main" id="{795FB206-F3F0-7263-536A-C357B13FB755}"/>
                </a:ext>
              </a:extLst>
            </p:cNvPr>
            <p:cNvSpPr/>
            <p:nvPr/>
          </p:nvSpPr>
          <p:spPr>
            <a:xfrm>
              <a:off x="5892720" y="4481592"/>
              <a:ext cx="60007" cy="117157"/>
            </a:xfrm>
            <a:custGeom>
              <a:avLst/>
              <a:gdLst/>
              <a:ahLst/>
              <a:cxnLst/>
              <a:rect l="l" t="t" r="r" b="b"/>
              <a:pathLst>
                <a:path w="42" h="82" extrusionOk="0">
                  <a:moveTo>
                    <a:pt x="26" y="60"/>
                  </a:moveTo>
                  <a:lnTo>
                    <a:pt x="28" y="52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36" y="38"/>
                  </a:lnTo>
                  <a:lnTo>
                    <a:pt x="40" y="28"/>
                  </a:lnTo>
                  <a:lnTo>
                    <a:pt x="42" y="24"/>
                  </a:lnTo>
                  <a:lnTo>
                    <a:pt x="40" y="18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16" y="12"/>
                  </a:lnTo>
                  <a:lnTo>
                    <a:pt x="8" y="12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12" y="44"/>
                  </a:lnTo>
                  <a:lnTo>
                    <a:pt x="12" y="58"/>
                  </a:lnTo>
                  <a:lnTo>
                    <a:pt x="12" y="68"/>
                  </a:lnTo>
                  <a:lnTo>
                    <a:pt x="12" y="70"/>
                  </a:lnTo>
                  <a:lnTo>
                    <a:pt x="10" y="74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24" y="82"/>
                  </a:lnTo>
                  <a:lnTo>
                    <a:pt x="26" y="82"/>
                  </a:lnTo>
                  <a:lnTo>
                    <a:pt x="28" y="70"/>
                  </a:lnTo>
                  <a:lnTo>
                    <a:pt x="26" y="6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" name="Google Shape;554;p35">
              <a:extLst>
                <a:ext uri="{FF2B5EF4-FFF2-40B4-BE49-F238E27FC236}">
                  <a16:creationId xmlns:a16="http://schemas.microsoft.com/office/drawing/2014/main" id="{6A8A9EAA-1F41-FF48-2567-41FD8B7626F2}"/>
                </a:ext>
              </a:extLst>
            </p:cNvPr>
            <p:cNvSpPr/>
            <p:nvPr/>
          </p:nvSpPr>
          <p:spPr>
            <a:xfrm>
              <a:off x="5552678" y="4453017"/>
              <a:ext cx="57150" cy="14287"/>
            </a:xfrm>
            <a:custGeom>
              <a:avLst/>
              <a:gdLst/>
              <a:ahLst/>
              <a:cxnLst/>
              <a:rect l="l" t="t" r="r" b="b"/>
              <a:pathLst>
                <a:path w="40" h="10" extrusionOk="0">
                  <a:moveTo>
                    <a:pt x="12" y="8"/>
                  </a:moveTo>
                  <a:lnTo>
                    <a:pt x="16" y="6"/>
                  </a:lnTo>
                  <a:lnTo>
                    <a:pt x="24" y="4"/>
                  </a:lnTo>
                  <a:lnTo>
                    <a:pt x="30" y="6"/>
                  </a:lnTo>
                  <a:lnTo>
                    <a:pt x="34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6" y="8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" name="Google Shape;555;p35">
              <a:extLst>
                <a:ext uri="{FF2B5EF4-FFF2-40B4-BE49-F238E27FC236}">
                  <a16:creationId xmlns:a16="http://schemas.microsoft.com/office/drawing/2014/main" id="{2CC81048-C668-7BC9-1EB5-9B6BF661C4F4}"/>
                </a:ext>
              </a:extLst>
            </p:cNvPr>
            <p:cNvSpPr/>
            <p:nvPr/>
          </p:nvSpPr>
          <p:spPr>
            <a:xfrm>
              <a:off x="5552678" y="4475877"/>
              <a:ext cx="60007" cy="34290"/>
            </a:xfrm>
            <a:custGeom>
              <a:avLst/>
              <a:gdLst/>
              <a:ahLst/>
              <a:cxnLst/>
              <a:rect l="l" t="t" r="r" b="b"/>
              <a:pathLst>
                <a:path w="42" h="24" extrusionOk="0">
                  <a:moveTo>
                    <a:pt x="30" y="16"/>
                  </a:moveTo>
                  <a:lnTo>
                    <a:pt x="34" y="12"/>
                  </a:lnTo>
                  <a:lnTo>
                    <a:pt x="36" y="14"/>
                  </a:lnTo>
                  <a:lnTo>
                    <a:pt x="40" y="12"/>
                  </a:lnTo>
                  <a:lnTo>
                    <a:pt x="42" y="8"/>
                  </a:lnTo>
                  <a:lnTo>
                    <a:pt x="42" y="4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0" y="4"/>
                  </a:lnTo>
                  <a:lnTo>
                    <a:pt x="10" y="4"/>
                  </a:lnTo>
                  <a:lnTo>
                    <a:pt x="6" y="8"/>
                  </a:lnTo>
                  <a:lnTo>
                    <a:pt x="12" y="12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20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8" y="16"/>
                  </a:lnTo>
                  <a:lnTo>
                    <a:pt x="30" y="1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" name="Google Shape;556;p35">
              <a:extLst>
                <a:ext uri="{FF2B5EF4-FFF2-40B4-BE49-F238E27FC236}">
                  <a16:creationId xmlns:a16="http://schemas.microsoft.com/office/drawing/2014/main" id="{5368A0B2-3C16-0040-FF1D-9B9AA653D8C0}"/>
                </a:ext>
              </a:extLst>
            </p:cNvPr>
            <p:cNvSpPr/>
            <p:nvPr/>
          </p:nvSpPr>
          <p:spPr>
            <a:xfrm>
              <a:off x="5586968" y="4475877"/>
              <a:ext cx="142875" cy="105727"/>
            </a:xfrm>
            <a:custGeom>
              <a:avLst/>
              <a:gdLst/>
              <a:ahLst/>
              <a:cxnLst/>
              <a:rect l="l" t="t" r="r" b="b"/>
              <a:pathLst>
                <a:path w="100" h="74" extrusionOk="0">
                  <a:moveTo>
                    <a:pt x="34" y="38"/>
                  </a:moveTo>
                  <a:lnTo>
                    <a:pt x="38" y="36"/>
                  </a:lnTo>
                  <a:lnTo>
                    <a:pt x="42" y="36"/>
                  </a:lnTo>
                  <a:lnTo>
                    <a:pt x="52" y="36"/>
                  </a:lnTo>
                  <a:lnTo>
                    <a:pt x="56" y="42"/>
                  </a:lnTo>
                  <a:lnTo>
                    <a:pt x="60" y="48"/>
                  </a:lnTo>
                  <a:lnTo>
                    <a:pt x="58" y="60"/>
                  </a:lnTo>
                  <a:lnTo>
                    <a:pt x="64" y="56"/>
                  </a:lnTo>
                  <a:lnTo>
                    <a:pt x="72" y="56"/>
                  </a:lnTo>
                  <a:lnTo>
                    <a:pt x="74" y="58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4" y="72"/>
                  </a:lnTo>
                  <a:lnTo>
                    <a:pt x="78" y="72"/>
                  </a:lnTo>
                  <a:lnTo>
                    <a:pt x="80" y="74"/>
                  </a:lnTo>
                  <a:lnTo>
                    <a:pt x="86" y="68"/>
                  </a:lnTo>
                  <a:lnTo>
                    <a:pt x="88" y="70"/>
                  </a:lnTo>
                  <a:lnTo>
                    <a:pt x="94" y="68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2" y="60"/>
                  </a:lnTo>
                  <a:lnTo>
                    <a:pt x="92" y="58"/>
                  </a:lnTo>
                  <a:lnTo>
                    <a:pt x="100" y="58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6" y="34"/>
                  </a:lnTo>
                  <a:lnTo>
                    <a:pt x="94" y="30"/>
                  </a:lnTo>
                  <a:lnTo>
                    <a:pt x="92" y="26"/>
                  </a:lnTo>
                  <a:lnTo>
                    <a:pt x="90" y="22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4"/>
                  </a:lnTo>
                  <a:lnTo>
                    <a:pt x="84" y="8"/>
                  </a:lnTo>
                  <a:lnTo>
                    <a:pt x="82" y="6"/>
                  </a:lnTo>
                  <a:lnTo>
                    <a:pt x="78" y="2"/>
                  </a:lnTo>
                  <a:lnTo>
                    <a:pt x="76" y="4"/>
                  </a:lnTo>
                  <a:lnTo>
                    <a:pt x="72" y="6"/>
                  </a:lnTo>
                  <a:lnTo>
                    <a:pt x="64" y="6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50" y="2"/>
                  </a:lnTo>
                  <a:lnTo>
                    <a:pt x="42" y="2"/>
                  </a:lnTo>
                  <a:lnTo>
                    <a:pt x="34" y="4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2" y="14"/>
                  </a:lnTo>
                  <a:lnTo>
                    <a:pt x="10" y="12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10" y="34"/>
                  </a:lnTo>
                  <a:lnTo>
                    <a:pt x="14" y="34"/>
                  </a:lnTo>
                  <a:lnTo>
                    <a:pt x="18" y="36"/>
                  </a:lnTo>
                  <a:lnTo>
                    <a:pt x="18" y="38"/>
                  </a:lnTo>
                  <a:lnTo>
                    <a:pt x="24" y="50"/>
                  </a:lnTo>
                  <a:lnTo>
                    <a:pt x="28" y="46"/>
                  </a:lnTo>
                  <a:lnTo>
                    <a:pt x="34" y="3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" name="Google Shape;557;p35">
              <a:extLst>
                <a:ext uri="{FF2B5EF4-FFF2-40B4-BE49-F238E27FC236}">
                  <a16:creationId xmlns:a16="http://schemas.microsoft.com/office/drawing/2014/main" id="{1408B6DC-C5CB-C3F9-0911-5F1348B3FA73}"/>
                </a:ext>
              </a:extLst>
            </p:cNvPr>
            <p:cNvSpPr/>
            <p:nvPr/>
          </p:nvSpPr>
          <p:spPr>
            <a:xfrm>
              <a:off x="5621258" y="4527312"/>
              <a:ext cx="57150" cy="60007"/>
            </a:xfrm>
            <a:custGeom>
              <a:avLst/>
              <a:gdLst/>
              <a:ahLst/>
              <a:cxnLst/>
              <a:rect l="l" t="t" r="r" b="b"/>
              <a:pathLst>
                <a:path w="40" h="42" extrusionOk="0">
                  <a:moveTo>
                    <a:pt x="34" y="32"/>
                  </a:moveTo>
                  <a:lnTo>
                    <a:pt x="36" y="30"/>
                  </a:lnTo>
                  <a:lnTo>
                    <a:pt x="36" y="26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34" y="24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2"/>
                  </a:lnTo>
                  <a:lnTo>
                    <a:pt x="4" y="10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8" y="36"/>
                  </a:lnTo>
                  <a:lnTo>
                    <a:pt x="34" y="3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" name="Google Shape;558;p35">
              <a:extLst>
                <a:ext uri="{FF2B5EF4-FFF2-40B4-BE49-F238E27FC236}">
                  <a16:creationId xmlns:a16="http://schemas.microsoft.com/office/drawing/2014/main" id="{91FFC2DD-834C-6FE8-F6C7-2FCEFD8F0BFB}"/>
                </a:ext>
              </a:extLst>
            </p:cNvPr>
            <p:cNvSpPr/>
            <p:nvPr/>
          </p:nvSpPr>
          <p:spPr>
            <a:xfrm>
              <a:off x="5709840" y="4513025"/>
              <a:ext cx="120015" cy="122872"/>
            </a:xfrm>
            <a:custGeom>
              <a:avLst/>
              <a:gdLst/>
              <a:ahLst/>
              <a:cxnLst/>
              <a:rect l="l" t="t" r="r" b="b"/>
              <a:pathLst>
                <a:path w="84" h="86" extrusionOk="0">
                  <a:moveTo>
                    <a:pt x="80" y="70"/>
                  </a:moveTo>
                  <a:lnTo>
                    <a:pt x="78" y="70"/>
                  </a:lnTo>
                  <a:lnTo>
                    <a:pt x="76" y="64"/>
                  </a:lnTo>
                  <a:lnTo>
                    <a:pt x="74" y="60"/>
                  </a:lnTo>
                  <a:lnTo>
                    <a:pt x="74" y="54"/>
                  </a:lnTo>
                  <a:lnTo>
                    <a:pt x="76" y="48"/>
                  </a:lnTo>
                  <a:lnTo>
                    <a:pt x="80" y="38"/>
                  </a:lnTo>
                  <a:lnTo>
                    <a:pt x="84" y="34"/>
                  </a:lnTo>
                  <a:lnTo>
                    <a:pt x="84" y="32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0" y="24"/>
                  </a:lnTo>
                  <a:lnTo>
                    <a:pt x="82" y="18"/>
                  </a:lnTo>
                  <a:lnTo>
                    <a:pt x="78" y="16"/>
                  </a:lnTo>
                  <a:lnTo>
                    <a:pt x="74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0" y="16"/>
                  </a:lnTo>
                  <a:lnTo>
                    <a:pt x="56" y="14"/>
                  </a:lnTo>
                  <a:lnTo>
                    <a:pt x="50" y="10"/>
                  </a:lnTo>
                  <a:lnTo>
                    <a:pt x="42" y="4"/>
                  </a:lnTo>
                  <a:lnTo>
                    <a:pt x="38" y="6"/>
                  </a:lnTo>
                  <a:lnTo>
                    <a:pt x="36" y="8"/>
                  </a:lnTo>
                  <a:lnTo>
                    <a:pt x="34" y="6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6" y="6"/>
                  </a:lnTo>
                  <a:lnTo>
                    <a:pt x="20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0" y="22"/>
                  </a:lnTo>
                  <a:lnTo>
                    <a:pt x="10" y="26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42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4"/>
                  </a:lnTo>
                  <a:lnTo>
                    <a:pt x="0" y="58"/>
                  </a:lnTo>
                  <a:lnTo>
                    <a:pt x="4" y="58"/>
                  </a:lnTo>
                  <a:lnTo>
                    <a:pt x="10" y="62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8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4" y="78"/>
                  </a:lnTo>
                  <a:lnTo>
                    <a:pt x="16" y="78"/>
                  </a:lnTo>
                  <a:lnTo>
                    <a:pt x="14" y="80"/>
                  </a:lnTo>
                  <a:lnTo>
                    <a:pt x="14" y="84"/>
                  </a:lnTo>
                  <a:lnTo>
                    <a:pt x="16" y="86"/>
                  </a:lnTo>
                  <a:lnTo>
                    <a:pt x="26" y="82"/>
                  </a:lnTo>
                  <a:lnTo>
                    <a:pt x="36" y="78"/>
                  </a:lnTo>
                  <a:lnTo>
                    <a:pt x="46" y="76"/>
                  </a:lnTo>
                  <a:lnTo>
                    <a:pt x="78" y="76"/>
                  </a:lnTo>
                  <a:lnTo>
                    <a:pt x="80" y="74"/>
                  </a:lnTo>
                  <a:lnTo>
                    <a:pt x="80" y="7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" name="Google Shape;559;p35">
              <a:extLst>
                <a:ext uri="{FF2B5EF4-FFF2-40B4-BE49-F238E27FC236}">
                  <a16:creationId xmlns:a16="http://schemas.microsoft.com/office/drawing/2014/main" id="{B23D8A7A-EEB4-7335-C6AF-5417DC49701D}"/>
                </a:ext>
              </a:extLst>
            </p:cNvPr>
            <p:cNvSpPr/>
            <p:nvPr/>
          </p:nvSpPr>
          <p:spPr>
            <a:xfrm>
              <a:off x="5655548" y="4555887"/>
              <a:ext cx="80010" cy="80010"/>
            </a:xfrm>
            <a:custGeom>
              <a:avLst/>
              <a:gdLst/>
              <a:ahLst/>
              <a:cxnLst/>
              <a:rect l="l" t="t" r="r" b="b"/>
              <a:pathLst>
                <a:path w="56" h="56" extrusionOk="0">
                  <a:moveTo>
                    <a:pt x="52" y="50"/>
                  </a:moveTo>
                  <a:lnTo>
                    <a:pt x="54" y="48"/>
                  </a:lnTo>
                  <a:lnTo>
                    <a:pt x="52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6" y="44"/>
                  </a:lnTo>
                  <a:lnTo>
                    <a:pt x="56" y="42"/>
                  </a:lnTo>
                  <a:lnTo>
                    <a:pt x="54" y="38"/>
                  </a:lnTo>
                  <a:lnTo>
                    <a:pt x="54" y="36"/>
                  </a:lnTo>
                  <a:lnTo>
                    <a:pt x="52" y="36"/>
                  </a:lnTo>
                  <a:lnTo>
                    <a:pt x="48" y="32"/>
                  </a:lnTo>
                  <a:lnTo>
                    <a:pt x="42" y="28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4"/>
                  </a:lnTo>
                  <a:lnTo>
                    <a:pt x="40" y="14"/>
                  </a:lnTo>
                  <a:lnTo>
                    <a:pt x="38" y="12"/>
                  </a:lnTo>
                  <a:lnTo>
                    <a:pt x="32" y="18"/>
                  </a:lnTo>
                  <a:lnTo>
                    <a:pt x="30" y="16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6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4" y="1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2" y="32"/>
                  </a:lnTo>
                  <a:lnTo>
                    <a:pt x="18" y="36"/>
                  </a:lnTo>
                  <a:lnTo>
                    <a:pt x="26" y="42"/>
                  </a:lnTo>
                  <a:lnTo>
                    <a:pt x="38" y="52"/>
                  </a:lnTo>
                  <a:lnTo>
                    <a:pt x="54" y="56"/>
                  </a:lnTo>
                  <a:lnTo>
                    <a:pt x="52" y="54"/>
                  </a:lnTo>
                  <a:lnTo>
                    <a:pt x="52" y="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" name="Google Shape;560;p35">
              <a:extLst>
                <a:ext uri="{FF2B5EF4-FFF2-40B4-BE49-F238E27FC236}">
                  <a16:creationId xmlns:a16="http://schemas.microsoft.com/office/drawing/2014/main" id="{7C1CB34A-52C0-D1BA-DEF4-F5FF0A881C95}"/>
                </a:ext>
              </a:extLst>
            </p:cNvPr>
            <p:cNvSpPr/>
            <p:nvPr/>
          </p:nvSpPr>
          <p:spPr>
            <a:xfrm>
              <a:off x="5815568" y="4504452"/>
              <a:ext cx="85725" cy="125730"/>
            </a:xfrm>
            <a:custGeom>
              <a:avLst/>
              <a:gdLst/>
              <a:ahLst/>
              <a:cxnLst/>
              <a:rect l="l" t="t" r="r" b="b"/>
              <a:pathLst>
                <a:path w="60" h="88" extrusionOk="0">
                  <a:moveTo>
                    <a:pt x="50" y="60"/>
                  </a:moveTo>
                  <a:lnTo>
                    <a:pt x="50" y="36"/>
                  </a:lnTo>
                  <a:lnTo>
                    <a:pt x="48" y="32"/>
                  </a:lnTo>
                  <a:lnTo>
                    <a:pt x="50" y="28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6" y="2"/>
                  </a:lnTo>
                  <a:lnTo>
                    <a:pt x="4" y="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6" y="44"/>
                  </a:lnTo>
                  <a:lnTo>
                    <a:pt x="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2" y="70"/>
                  </a:lnTo>
                  <a:lnTo>
                    <a:pt x="4" y="76"/>
                  </a:lnTo>
                  <a:lnTo>
                    <a:pt x="6" y="76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12" y="86"/>
                  </a:lnTo>
                  <a:lnTo>
                    <a:pt x="18" y="88"/>
                  </a:lnTo>
                  <a:lnTo>
                    <a:pt x="22" y="84"/>
                  </a:lnTo>
                  <a:lnTo>
                    <a:pt x="44" y="76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4" y="74"/>
                  </a:lnTo>
                  <a:lnTo>
                    <a:pt x="56" y="74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54" y="62"/>
                  </a:lnTo>
                  <a:lnTo>
                    <a:pt x="50" y="6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Google Shape;561;p35">
              <a:extLst>
                <a:ext uri="{FF2B5EF4-FFF2-40B4-BE49-F238E27FC236}">
                  <a16:creationId xmlns:a16="http://schemas.microsoft.com/office/drawing/2014/main" id="{B04BBA23-4689-95AC-4DBA-E05209676A6F}"/>
                </a:ext>
              </a:extLst>
            </p:cNvPr>
            <p:cNvSpPr/>
            <p:nvPr/>
          </p:nvSpPr>
          <p:spPr>
            <a:xfrm>
              <a:off x="5641260" y="4221560"/>
              <a:ext cx="320040" cy="302895"/>
            </a:xfrm>
            <a:custGeom>
              <a:avLst/>
              <a:gdLst/>
              <a:ahLst/>
              <a:cxnLst/>
              <a:rect l="l" t="t" r="r" b="b"/>
              <a:pathLst>
                <a:path w="224" h="212" extrusionOk="0">
                  <a:moveTo>
                    <a:pt x="80" y="28"/>
                  </a:moveTo>
                  <a:lnTo>
                    <a:pt x="84" y="70"/>
                  </a:lnTo>
                  <a:lnTo>
                    <a:pt x="88" y="104"/>
                  </a:lnTo>
                  <a:lnTo>
                    <a:pt x="90" y="122"/>
                  </a:lnTo>
                  <a:lnTo>
                    <a:pt x="92" y="126"/>
                  </a:lnTo>
                  <a:lnTo>
                    <a:pt x="92" y="128"/>
                  </a:lnTo>
                  <a:lnTo>
                    <a:pt x="92" y="138"/>
                  </a:lnTo>
                  <a:lnTo>
                    <a:pt x="84" y="138"/>
                  </a:lnTo>
                  <a:lnTo>
                    <a:pt x="46" y="138"/>
                  </a:lnTo>
                  <a:lnTo>
                    <a:pt x="42" y="138"/>
                  </a:lnTo>
                  <a:lnTo>
                    <a:pt x="38" y="138"/>
                  </a:lnTo>
                  <a:lnTo>
                    <a:pt x="30" y="140"/>
                  </a:lnTo>
                  <a:lnTo>
                    <a:pt x="24" y="138"/>
                  </a:lnTo>
                  <a:lnTo>
                    <a:pt x="20" y="138"/>
                  </a:lnTo>
                  <a:lnTo>
                    <a:pt x="18" y="144"/>
                  </a:lnTo>
                  <a:lnTo>
                    <a:pt x="12" y="136"/>
                  </a:lnTo>
                  <a:lnTo>
                    <a:pt x="6" y="138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54"/>
                  </a:lnTo>
                  <a:lnTo>
                    <a:pt x="2" y="16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10" y="172"/>
                  </a:lnTo>
                  <a:lnTo>
                    <a:pt x="12" y="172"/>
                  </a:lnTo>
                  <a:lnTo>
                    <a:pt x="10" y="176"/>
                  </a:lnTo>
                  <a:lnTo>
                    <a:pt x="10" y="178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0" y="184"/>
                  </a:lnTo>
                  <a:lnTo>
                    <a:pt x="12" y="186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0" y="186"/>
                  </a:lnTo>
                  <a:lnTo>
                    <a:pt x="20" y="188"/>
                  </a:lnTo>
                  <a:lnTo>
                    <a:pt x="26" y="184"/>
                  </a:lnTo>
                  <a:lnTo>
                    <a:pt x="34" y="184"/>
                  </a:lnTo>
                  <a:lnTo>
                    <a:pt x="38" y="182"/>
                  </a:lnTo>
                  <a:lnTo>
                    <a:pt x="40" y="180"/>
                  </a:lnTo>
                  <a:lnTo>
                    <a:pt x="44" y="184"/>
                  </a:lnTo>
                  <a:lnTo>
                    <a:pt x="46" y="186"/>
                  </a:lnTo>
                  <a:lnTo>
                    <a:pt x="46" y="192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200"/>
                  </a:lnTo>
                  <a:lnTo>
                    <a:pt x="54" y="204"/>
                  </a:lnTo>
                  <a:lnTo>
                    <a:pt x="56" y="208"/>
                  </a:lnTo>
                  <a:lnTo>
                    <a:pt x="58" y="212"/>
                  </a:lnTo>
                  <a:lnTo>
                    <a:pt x="60" y="210"/>
                  </a:lnTo>
                  <a:lnTo>
                    <a:pt x="60" y="208"/>
                  </a:lnTo>
                  <a:lnTo>
                    <a:pt x="68" y="208"/>
                  </a:lnTo>
                  <a:lnTo>
                    <a:pt x="74" y="210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82" y="204"/>
                  </a:lnTo>
                  <a:lnTo>
                    <a:pt x="82" y="210"/>
                  </a:lnTo>
                  <a:lnTo>
                    <a:pt x="84" y="212"/>
                  </a:lnTo>
                  <a:lnTo>
                    <a:pt x="86" y="210"/>
                  </a:lnTo>
                  <a:lnTo>
                    <a:pt x="90" y="208"/>
                  </a:lnTo>
                  <a:lnTo>
                    <a:pt x="92" y="204"/>
                  </a:lnTo>
                  <a:lnTo>
                    <a:pt x="92" y="200"/>
                  </a:lnTo>
                  <a:lnTo>
                    <a:pt x="94" y="198"/>
                  </a:lnTo>
                  <a:lnTo>
                    <a:pt x="96" y="192"/>
                  </a:lnTo>
                  <a:lnTo>
                    <a:pt x="92" y="188"/>
                  </a:lnTo>
                  <a:lnTo>
                    <a:pt x="102" y="186"/>
                  </a:lnTo>
                  <a:lnTo>
                    <a:pt x="108" y="176"/>
                  </a:lnTo>
                  <a:lnTo>
                    <a:pt x="108" y="172"/>
                  </a:lnTo>
                  <a:lnTo>
                    <a:pt x="108" y="170"/>
                  </a:lnTo>
                  <a:lnTo>
                    <a:pt x="110" y="166"/>
                  </a:lnTo>
                  <a:lnTo>
                    <a:pt x="114" y="168"/>
                  </a:lnTo>
                  <a:lnTo>
                    <a:pt x="118" y="170"/>
                  </a:lnTo>
                  <a:lnTo>
                    <a:pt x="118" y="168"/>
                  </a:lnTo>
                  <a:lnTo>
                    <a:pt x="122" y="164"/>
                  </a:lnTo>
                  <a:lnTo>
                    <a:pt x="128" y="158"/>
                  </a:lnTo>
                  <a:lnTo>
                    <a:pt x="132" y="154"/>
                  </a:lnTo>
                  <a:lnTo>
                    <a:pt x="146" y="148"/>
                  </a:lnTo>
                  <a:lnTo>
                    <a:pt x="150" y="146"/>
                  </a:lnTo>
                  <a:lnTo>
                    <a:pt x="156" y="144"/>
                  </a:lnTo>
                  <a:lnTo>
                    <a:pt x="162" y="144"/>
                  </a:lnTo>
                  <a:lnTo>
                    <a:pt x="166" y="144"/>
                  </a:lnTo>
                  <a:lnTo>
                    <a:pt x="170" y="144"/>
                  </a:lnTo>
                  <a:lnTo>
                    <a:pt x="174" y="146"/>
                  </a:lnTo>
                  <a:lnTo>
                    <a:pt x="180" y="144"/>
                  </a:lnTo>
                  <a:lnTo>
                    <a:pt x="184" y="140"/>
                  </a:lnTo>
                  <a:lnTo>
                    <a:pt x="192" y="140"/>
                  </a:lnTo>
                  <a:lnTo>
                    <a:pt x="202" y="140"/>
                  </a:lnTo>
                  <a:lnTo>
                    <a:pt x="208" y="138"/>
                  </a:lnTo>
                  <a:lnTo>
                    <a:pt x="214" y="140"/>
                  </a:lnTo>
                  <a:lnTo>
                    <a:pt x="216" y="136"/>
                  </a:lnTo>
                  <a:lnTo>
                    <a:pt x="220" y="128"/>
                  </a:lnTo>
                  <a:lnTo>
                    <a:pt x="224" y="116"/>
                  </a:lnTo>
                  <a:lnTo>
                    <a:pt x="224" y="86"/>
                  </a:lnTo>
                  <a:lnTo>
                    <a:pt x="216" y="88"/>
                  </a:lnTo>
                  <a:lnTo>
                    <a:pt x="212" y="88"/>
                  </a:lnTo>
                  <a:lnTo>
                    <a:pt x="208" y="86"/>
                  </a:lnTo>
                  <a:lnTo>
                    <a:pt x="210" y="84"/>
                  </a:lnTo>
                  <a:lnTo>
                    <a:pt x="210" y="80"/>
                  </a:lnTo>
                  <a:lnTo>
                    <a:pt x="210" y="76"/>
                  </a:lnTo>
                  <a:lnTo>
                    <a:pt x="206" y="74"/>
                  </a:lnTo>
                  <a:lnTo>
                    <a:pt x="200" y="74"/>
                  </a:lnTo>
                  <a:lnTo>
                    <a:pt x="192" y="70"/>
                  </a:lnTo>
                  <a:lnTo>
                    <a:pt x="186" y="66"/>
                  </a:lnTo>
                  <a:lnTo>
                    <a:pt x="182" y="62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66" y="48"/>
                  </a:lnTo>
                  <a:lnTo>
                    <a:pt x="158" y="42"/>
                  </a:lnTo>
                  <a:lnTo>
                    <a:pt x="100" y="0"/>
                  </a:lnTo>
                  <a:lnTo>
                    <a:pt x="76" y="0"/>
                  </a:lnTo>
                  <a:lnTo>
                    <a:pt x="80" y="2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3" name="Google Shape;562;p35">
              <a:extLst>
                <a:ext uri="{FF2B5EF4-FFF2-40B4-BE49-F238E27FC236}">
                  <a16:creationId xmlns:a16="http://schemas.microsoft.com/office/drawing/2014/main" id="{DCD3E5A7-CF8F-1EB0-2BA6-777E4CBCF3A8}"/>
                </a:ext>
              </a:extLst>
            </p:cNvPr>
            <p:cNvSpPr/>
            <p:nvPr/>
          </p:nvSpPr>
          <p:spPr>
            <a:xfrm>
              <a:off x="6334205" y="4478195"/>
              <a:ext cx="240030" cy="174847"/>
            </a:xfrm>
            <a:custGeom>
              <a:avLst/>
              <a:gdLst/>
              <a:ahLst/>
              <a:cxnLst/>
              <a:rect l="l" t="t" r="r" b="b"/>
              <a:pathLst>
                <a:path w="240030" h="174847" extrusionOk="0">
                  <a:moveTo>
                    <a:pt x="182650" y="0"/>
                  </a:moveTo>
                  <a:lnTo>
                    <a:pt x="194668" y="859"/>
                  </a:lnTo>
                  <a:lnTo>
                    <a:pt x="191235" y="11589"/>
                  </a:lnTo>
                  <a:lnTo>
                    <a:pt x="193810" y="28328"/>
                  </a:lnTo>
                  <a:lnTo>
                    <a:pt x="207188" y="43327"/>
                  </a:lnTo>
                  <a:lnTo>
                    <a:pt x="205740" y="49117"/>
                  </a:lnTo>
                  <a:lnTo>
                    <a:pt x="205740" y="60547"/>
                  </a:lnTo>
                  <a:lnTo>
                    <a:pt x="205740" y="69120"/>
                  </a:lnTo>
                  <a:lnTo>
                    <a:pt x="205740" y="77692"/>
                  </a:lnTo>
                  <a:lnTo>
                    <a:pt x="197168" y="80550"/>
                  </a:lnTo>
                  <a:lnTo>
                    <a:pt x="188595" y="80550"/>
                  </a:lnTo>
                  <a:lnTo>
                    <a:pt x="188595" y="86265"/>
                  </a:lnTo>
                  <a:lnTo>
                    <a:pt x="182880" y="89122"/>
                  </a:lnTo>
                  <a:lnTo>
                    <a:pt x="191453" y="94837"/>
                  </a:lnTo>
                  <a:lnTo>
                    <a:pt x="197168" y="94837"/>
                  </a:lnTo>
                  <a:lnTo>
                    <a:pt x="202883" y="100552"/>
                  </a:lnTo>
                  <a:lnTo>
                    <a:pt x="202883" y="103410"/>
                  </a:lnTo>
                  <a:lnTo>
                    <a:pt x="208598" y="109125"/>
                  </a:lnTo>
                  <a:lnTo>
                    <a:pt x="211455" y="109125"/>
                  </a:lnTo>
                  <a:lnTo>
                    <a:pt x="217170" y="114840"/>
                  </a:lnTo>
                  <a:lnTo>
                    <a:pt x="222885" y="126270"/>
                  </a:lnTo>
                  <a:lnTo>
                    <a:pt x="222885" y="134842"/>
                  </a:lnTo>
                  <a:lnTo>
                    <a:pt x="228600" y="140557"/>
                  </a:lnTo>
                  <a:lnTo>
                    <a:pt x="231458" y="137700"/>
                  </a:lnTo>
                  <a:lnTo>
                    <a:pt x="237173" y="143415"/>
                  </a:lnTo>
                  <a:lnTo>
                    <a:pt x="237173" y="149130"/>
                  </a:lnTo>
                  <a:lnTo>
                    <a:pt x="240030" y="154845"/>
                  </a:lnTo>
                  <a:lnTo>
                    <a:pt x="237173" y="154845"/>
                  </a:lnTo>
                  <a:lnTo>
                    <a:pt x="234315" y="154845"/>
                  </a:lnTo>
                  <a:lnTo>
                    <a:pt x="231458" y="154845"/>
                  </a:lnTo>
                  <a:lnTo>
                    <a:pt x="211455" y="154845"/>
                  </a:lnTo>
                  <a:lnTo>
                    <a:pt x="202883" y="160560"/>
                  </a:lnTo>
                  <a:lnTo>
                    <a:pt x="194310" y="169132"/>
                  </a:lnTo>
                  <a:lnTo>
                    <a:pt x="191453" y="171990"/>
                  </a:lnTo>
                  <a:lnTo>
                    <a:pt x="188595" y="169132"/>
                  </a:lnTo>
                  <a:lnTo>
                    <a:pt x="177165" y="169132"/>
                  </a:lnTo>
                  <a:lnTo>
                    <a:pt x="171450" y="171990"/>
                  </a:lnTo>
                  <a:lnTo>
                    <a:pt x="168593" y="171990"/>
                  </a:lnTo>
                  <a:lnTo>
                    <a:pt x="168593" y="174847"/>
                  </a:lnTo>
                  <a:lnTo>
                    <a:pt x="162878" y="171990"/>
                  </a:lnTo>
                  <a:lnTo>
                    <a:pt x="160020" y="169132"/>
                  </a:lnTo>
                  <a:lnTo>
                    <a:pt x="154305" y="171990"/>
                  </a:lnTo>
                  <a:lnTo>
                    <a:pt x="148590" y="169132"/>
                  </a:lnTo>
                  <a:lnTo>
                    <a:pt x="142875" y="174847"/>
                  </a:lnTo>
                  <a:lnTo>
                    <a:pt x="140018" y="171990"/>
                  </a:lnTo>
                  <a:lnTo>
                    <a:pt x="134303" y="166275"/>
                  </a:lnTo>
                  <a:lnTo>
                    <a:pt x="128588" y="163417"/>
                  </a:lnTo>
                  <a:lnTo>
                    <a:pt x="122873" y="154845"/>
                  </a:lnTo>
                  <a:lnTo>
                    <a:pt x="114300" y="151987"/>
                  </a:lnTo>
                  <a:lnTo>
                    <a:pt x="102870" y="157702"/>
                  </a:lnTo>
                  <a:lnTo>
                    <a:pt x="91440" y="160560"/>
                  </a:lnTo>
                  <a:lnTo>
                    <a:pt x="88583" y="157702"/>
                  </a:lnTo>
                  <a:lnTo>
                    <a:pt x="85725" y="154845"/>
                  </a:lnTo>
                  <a:lnTo>
                    <a:pt x="82868" y="154845"/>
                  </a:lnTo>
                  <a:lnTo>
                    <a:pt x="82868" y="151987"/>
                  </a:lnTo>
                  <a:lnTo>
                    <a:pt x="80010" y="149130"/>
                  </a:lnTo>
                  <a:lnTo>
                    <a:pt x="77153" y="146272"/>
                  </a:lnTo>
                  <a:lnTo>
                    <a:pt x="71438" y="134842"/>
                  </a:lnTo>
                  <a:lnTo>
                    <a:pt x="65723" y="129127"/>
                  </a:lnTo>
                  <a:lnTo>
                    <a:pt x="57150" y="123412"/>
                  </a:lnTo>
                  <a:lnTo>
                    <a:pt x="54293" y="117697"/>
                  </a:lnTo>
                  <a:lnTo>
                    <a:pt x="51435" y="109125"/>
                  </a:lnTo>
                  <a:lnTo>
                    <a:pt x="42863" y="103410"/>
                  </a:lnTo>
                  <a:lnTo>
                    <a:pt x="34290" y="100552"/>
                  </a:lnTo>
                  <a:lnTo>
                    <a:pt x="31433" y="97695"/>
                  </a:lnTo>
                  <a:lnTo>
                    <a:pt x="34290" y="91980"/>
                  </a:lnTo>
                  <a:lnTo>
                    <a:pt x="25718" y="86265"/>
                  </a:lnTo>
                  <a:lnTo>
                    <a:pt x="17145" y="83407"/>
                  </a:lnTo>
                  <a:lnTo>
                    <a:pt x="14288" y="77692"/>
                  </a:lnTo>
                  <a:lnTo>
                    <a:pt x="11430" y="74835"/>
                  </a:lnTo>
                  <a:lnTo>
                    <a:pt x="0" y="74835"/>
                  </a:lnTo>
                  <a:lnTo>
                    <a:pt x="2858" y="63405"/>
                  </a:lnTo>
                  <a:lnTo>
                    <a:pt x="2858" y="53729"/>
                  </a:lnTo>
                  <a:lnTo>
                    <a:pt x="4957" y="53652"/>
                  </a:lnTo>
                  <a:lnTo>
                    <a:pt x="15259" y="50647"/>
                  </a:lnTo>
                  <a:lnTo>
                    <a:pt x="24272" y="51076"/>
                  </a:lnTo>
                  <a:lnTo>
                    <a:pt x="28135" y="48501"/>
                  </a:lnTo>
                  <a:lnTo>
                    <a:pt x="29852" y="39058"/>
                  </a:lnTo>
                  <a:lnTo>
                    <a:pt x="37148" y="38629"/>
                  </a:lnTo>
                  <a:lnTo>
                    <a:pt x="43586" y="38200"/>
                  </a:lnTo>
                  <a:lnTo>
                    <a:pt x="44874" y="38200"/>
                  </a:lnTo>
                  <a:lnTo>
                    <a:pt x="46162" y="45067"/>
                  </a:lnTo>
                  <a:lnTo>
                    <a:pt x="52600" y="48930"/>
                  </a:lnTo>
                  <a:lnTo>
                    <a:pt x="56033" y="55798"/>
                  </a:lnTo>
                  <a:lnTo>
                    <a:pt x="61184" y="56656"/>
                  </a:lnTo>
                  <a:lnTo>
                    <a:pt x="71914" y="53652"/>
                  </a:lnTo>
                  <a:lnTo>
                    <a:pt x="84790" y="55368"/>
                  </a:lnTo>
                  <a:lnTo>
                    <a:pt x="88653" y="60090"/>
                  </a:lnTo>
                  <a:lnTo>
                    <a:pt x="103247" y="60090"/>
                  </a:lnTo>
                  <a:lnTo>
                    <a:pt x="102388" y="56656"/>
                  </a:lnTo>
                  <a:lnTo>
                    <a:pt x="110114" y="51076"/>
                  </a:lnTo>
                  <a:lnTo>
                    <a:pt x="118698" y="51505"/>
                  </a:lnTo>
                  <a:lnTo>
                    <a:pt x="118269" y="44209"/>
                  </a:lnTo>
                  <a:lnTo>
                    <a:pt x="126853" y="39488"/>
                  </a:lnTo>
                  <a:lnTo>
                    <a:pt x="144880" y="52793"/>
                  </a:lnTo>
                  <a:lnTo>
                    <a:pt x="153893" y="50647"/>
                  </a:lnTo>
                  <a:lnTo>
                    <a:pt x="167199" y="35625"/>
                  </a:lnTo>
                  <a:lnTo>
                    <a:pt x="168486" y="32191"/>
                  </a:lnTo>
                  <a:lnTo>
                    <a:pt x="177929" y="24465"/>
                  </a:lnTo>
                  <a:lnTo>
                    <a:pt x="175354" y="23178"/>
                  </a:lnTo>
                  <a:lnTo>
                    <a:pt x="175354" y="11589"/>
                  </a:lnTo>
                  <a:lnTo>
                    <a:pt x="169774" y="6009"/>
                  </a:lnTo>
                  <a:lnTo>
                    <a:pt x="183080" y="558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Google Shape;563;p35">
              <a:extLst>
                <a:ext uri="{FF2B5EF4-FFF2-40B4-BE49-F238E27FC236}">
                  <a16:creationId xmlns:a16="http://schemas.microsoft.com/office/drawing/2014/main" id="{0D62AD0F-384C-2ED6-0EC8-2F68B28813BB}"/>
                </a:ext>
              </a:extLst>
            </p:cNvPr>
            <p:cNvSpPr/>
            <p:nvPr/>
          </p:nvSpPr>
          <p:spPr>
            <a:xfrm>
              <a:off x="6041310" y="4650184"/>
              <a:ext cx="55722" cy="51435"/>
            </a:xfrm>
            <a:custGeom>
              <a:avLst/>
              <a:gdLst/>
              <a:ahLst/>
              <a:cxnLst/>
              <a:rect l="l" t="t" r="r" b="b"/>
              <a:pathLst>
                <a:path w="61913" h="57150" extrusionOk="0">
                  <a:moveTo>
                    <a:pt x="31750" y="28575"/>
                  </a:moveTo>
                  <a:lnTo>
                    <a:pt x="34925" y="31750"/>
                  </a:lnTo>
                  <a:lnTo>
                    <a:pt x="61913" y="31750"/>
                  </a:lnTo>
                  <a:lnTo>
                    <a:pt x="61913" y="57150"/>
                  </a:lnTo>
                  <a:lnTo>
                    <a:pt x="31750" y="57150"/>
                  </a:lnTo>
                  <a:lnTo>
                    <a:pt x="22225" y="53975"/>
                  </a:lnTo>
                  <a:lnTo>
                    <a:pt x="22225" y="47625"/>
                  </a:lnTo>
                  <a:lnTo>
                    <a:pt x="28575" y="44450"/>
                  </a:lnTo>
                  <a:lnTo>
                    <a:pt x="28575" y="34925"/>
                  </a:lnTo>
                  <a:close/>
                  <a:moveTo>
                    <a:pt x="9525" y="0"/>
                  </a:moveTo>
                  <a:lnTo>
                    <a:pt x="9525" y="6350"/>
                  </a:lnTo>
                  <a:lnTo>
                    <a:pt x="6350" y="9525"/>
                  </a:lnTo>
                  <a:lnTo>
                    <a:pt x="0" y="9525"/>
                  </a:lnTo>
                  <a:lnTo>
                    <a:pt x="3175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" name="Google Shape;564;p35">
              <a:extLst>
                <a:ext uri="{FF2B5EF4-FFF2-40B4-BE49-F238E27FC236}">
                  <a16:creationId xmlns:a16="http://schemas.microsoft.com/office/drawing/2014/main" id="{BA2E6318-0FDC-EC1B-D574-30B77FC0686D}"/>
                </a:ext>
              </a:extLst>
            </p:cNvPr>
            <p:cNvSpPr/>
            <p:nvPr/>
          </p:nvSpPr>
          <p:spPr>
            <a:xfrm>
              <a:off x="5875575" y="4504452"/>
              <a:ext cx="37147" cy="100012"/>
            </a:xfrm>
            <a:custGeom>
              <a:avLst/>
              <a:gdLst/>
              <a:ahLst/>
              <a:cxnLst/>
              <a:rect l="l" t="t" r="r" b="b"/>
              <a:pathLst>
                <a:path w="26" h="70" extrusionOk="0">
                  <a:moveTo>
                    <a:pt x="24" y="54"/>
                  </a:moveTo>
                  <a:lnTo>
                    <a:pt x="24" y="52"/>
                  </a:lnTo>
                  <a:lnTo>
                    <a:pt x="24" y="42"/>
                  </a:lnTo>
                  <a:lnTo>
                    <a:pt x="24" y="2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2" y="8"/>
                  </a:lnTo>
                  <a:lnTo>
                    <a:pt x="14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6" y="32"/>
                  </a:lnTo>
                  <a:lnTo>
                    <a:pt x="8" y="36"/>
                  </a:lnTo>
                  <a:lnTo>
                    <a:pt x="8" y="60"/>
                  </a:lnTo>
                  <a:lnTo>
                    <a:pt x="12" y="62"/>
                  </a:lnTo>
                  <a:lnTo>
                    <a:pt x="18" y="70"/>
                  </a:lnTo>
                  <a:lnTo>
                    <a:pt x="26" y="66"/>
                  </a:lnTo>
                  <a:lnTo>
                    <a:pt x="22" y="58"/>
                  </a:lnTo>
                  <a:lnTo>
                    <a:pt x="24" y="5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" name="Google Shape;565;p35">
              <a:extLst>
                <a:ext uri="{FF2B5EF4-FFF2-40B4-BE49-F238E27FC236}">
                  <a16:creationId xmlns:a16="http://schemas.microsoft.com/office/drawing/2014/main" id="{20661E05-1F0A-2512-092C-0F8655515663}"/>
                </a:ext>
              </a:extLst>
            </p:cNvPr>
            <p:cNvSpPr/>
            <p:nvPr/>
          </p:nvSpPr>
          <p:spPr>
            <a:xfrm>
              <a:off x="6674247" y="4490165"/>
              <a:ext cx="197167" cy="262890"/>
            </a:xfrm>
            <a:custGeom>
              <a:avLst/>
              <a:gdLst/>
              <a:ahLst/>
              <a:cxnLst/>
              <a:rect l="l" t="t" r="r" b="b"/>
              <a:pathLst>
                <a:path w="138" h="184" extrusionOk="0">
                  <a:moveTo>
                    <a:pt x="22" y="18"/>
                  </a:moveTo>
                  <a:lnTo>
                    <a:pt x="28" y="26"/>
                  </a:lnTo>
                  <a:lnTo>
                    <a:pt x="32" y="34"/>
                  </a:lnTo>
                  <a:lnTo>
                    <a:pt x="36" y="36"/>
                  </a:lnTo>
                  <a:lnTo>
                    <a:pt x="40" y="40"/>
                  </a:lnTo>
                  <a:lnTo>
                    <a:pt x="80" y="54"/>
                  </a:lnTo>
                  <a:lnTo>
                    <a:pt x="94" y="54"/>
                  </a:lnTo>
                  <a:lnTo>
                    <a:pt x="54" y="96"/>
                  </a:lnTo>
                  <a:lnTo>
                    <a:pt x="40" y="94"/>
                  </a:lnTo>
                  <a:lnTo>
                    <a:pt x="30" y="98"/>
                  </a:lnTo>
                  <a:lnTo>
                    <a:pt x="26" y="100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0" y="124"/>
                  </a:lnTo>
                  <a:lnTo>
                    <a:pt x="0" y="160"/>
                  </a:lnTo>
                  <a:lnTo>
                    <a:pt x="0" y="172"/>
                  </a:lnTo>
                  <a:lnTo>
                    <a:pt x="4" y="178"/>
                  </a:lnTo>
                  <a:lnTo>
                    <a:pt x="6" y="184"/>
                  </a:lnTo>
                  <a:lnTo>
                    <a:pt x="12" y="174"/>
                  </a:lnTo>
                  <a:lnTo>
                    <a:pt x="22" y="164"/>
                  </a:lnTo>
                  <a:lnTo>
                    <a:pt x="26" y="162"/>
                  </a:lnTo>
                  <a:lnTo>
                    <a:pt x="34" y="152"/>
                  </a:lnTo>
                  <a:lnTo>
                    <a:pt x="44" y="144"/>
                  </a:lnTo>
                  <a:lnTo>
                    <a:pt x="70" y="126"/>
                  </a:lnTo>
                  <a:lnTo>
                    <a:pt x="88" y="108"/>
                  </a:lnTo>
                  <a:lnTo>
                    <a:pt x="106" y="84"/>
                  </a:lnTo>
                  <a:lnTo>
                    <a:pt x="108" y="78"/>
                  </a:lnTo>
                  <a:lnTo>
                    <a:pt x="110" y="74"/>
                  </a:lnTo>
                  <a:lnTo>
                    <a:pt x="116" y="62"/>
                  </a:lnTo>
                  <a:lnTo>
                    <a:pt x="124" y="50"/>
                  </a:lnTo>
                  <a:lnTo>
                    <a:pt x="130" y="38"/>
                  </a:lnTo>
                  <a:lnTo>
                    <a:pt x="132" y="32"/>
                  </a:lnTo>
                  <a:lnTo>
                    <a:pt x="134" y="26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6" y="14"/>
                  </a:lnTo>
                  <a:lnTo>
                    <a:pt x="136" y="1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0" y="0"/>
                  </a:lnTo>
                  <a:lnTo>
                    <a:pt x="128" y="2"/>
                  </a:lnTo>
                  <a:lnTo>
                    <a:pt x="122" y="6"/>
                  </a:lnTo>
                  <a:lnTo>
                    <a:pt x="106" y="10"/>
                  </a:lnTo>
                  <a:lnTo>
                    <a:pt x="100" y="8"/>
                  </a:lnTo>
                  <a:lnTo>
                    <a:pt x="98" y="10"/>
                  </a:lnTo>
                  <a:lnTo>
                    <a:pt x="92" y="10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6" y="16"/>
                  </a:lnTo>
                  <a:lnTo>
                    <a:pt x="70" y="16"/>
                  </a:lnTo>
                  <a:lnTo>
                    <a:pt x="62" y="16"/>
                  </a:lnTo>
                  <a:lnTo>
                    <a:pt x="54" y="20"/>
                  </a:lnTo>
                  <a:lnTo>
                    <a:pt x="46" y="20"/>
                  </a:lnTo>
                  <a:lnTo>
                    <a:pt x="38" y="16"/>
                  </a:lnTo>
                  <a:lnTo>
                    <a:pt x="34" y="10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26" y="12"/>
                  </a:lnTo>
                  <a:lnTo>
                    <a:pt x="22" y="1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" name="Google Shape;566;p35">
              <a:extLst>
                <a:ext uri="{FF2B5EF4-FFF2-40B4-BE49-F238E27FC236}">
                  <a16:creationId xmlns:a16="http://schemas.microsoft.com/office/drawing/2014/main" id="{55A40BBD-C4DD-959C-B84D-67458518663C}"/>
                </a:ext>
              </a:extLst>
            </p:cNvPr>
            <p:cNvSpPr/>
            <p:nvPr/>
          </p:nvSpPr>
          <p:spPr>
            <a:xfrm>
              <a:off x="6044168" y="4467305"/>
              <a:ext cx="147162" cy="222885"/>
            </a:xfrm>
            <a:custGeom>
              <a:avLst/>
              <a:gdLst/>
              <a:ahLst/>
              <a:cxnLst/>
              <a:rect l="l" t="t" r="r" b="b"/>
              <a:pathLst>
                <a:path w="103" h="156" extrusionOk="0">
                  <a:moveTo>
                    <a:pt x="20" y="148"/>
                  </a:moveTo>
                  <a:lnTo>
                    <a:pt x="37" y="148"/>
                  </a:lnTo>
                  <a:lnTo>
                    <a:pt x="37" y="146"/>
                  </a:lnTo>
                  <a:lnTo>
                    <a:pt x="45" y="146"/>
                  </a:lnTo>
                  <a:lnTo>
                    <a:pt x="51" y="146"/>
                  </a:lnTo>
                  <a:lnTo>
                    <a:pt x="53" y="146"/>
                  </a:lnTo>
                  <a:lnTo>
                    <a:pt x="57" y="148"/>
                  </a:lnTo>
                  <a:lnTo>
                    <a:pt x="63" y="148"/>
                  </a:lnTo>
                  <a:lnTo>
                    <a:pt x="81" y="148"/>
                  </a:lnTo>
                  <a:lnTo>
                    <a:pt x="89" y="150"/>
                  </a:lnTo>
                  <a:lnTo>
                    <a:pt x="101" y="156"/>
                  </a:lnTo>
                  <a:lnTo>
                    <a:pt x="101" y="152"/>
                  </a:lnTo>
                  <a:lnTo>
                    <a:pt x="103" y="148"/>
                  </a:lnTo>
                  <a:lnTo>
                    <a:pt x="103" y="142"/>
                  </a:lnTo>
                  <a:lnTo>
                    <a:pt x="99" y="136"/>
                  </a:lnTo>
                  <a:lnTo>
                    <a:pt x="97" y="134"/>
                  </a:lnTo>
                  <a:lnTo>
                    <a:pt x="91" y="130"/>
                  </a:lnTo>
                  <a:lnTo>
                    <a:pt x="87" y="124"/>
                  </a:lnTo>
                  <a:lnTo>
                    <a:pt x="87" y="118"/>
                  </a:lnTo>
                  <a:lnTo>
                    <a:pt x="85" y="116"/>
                  </a:lnTo>
                  <a:lnTo>
                    <a:pt x="83" y="114"/>
                  </a:lnTo>
                  <a:lnTo>
                    <a:pt x="83" y="108"/>
                  </a:lnTo>
                  <a:lnTo>
                    <a:pt x="81" y="106"/>
                  </a:lnTo>
                  <a:lnTo>
                    <a:pt x="81" y="98"/>
                  </a:lnTo>
                  <a:lnTo>
                    <a:pt x="79" y="96"/>
                  </a:lnTo>
                  <a:lnTo>
                    <a:pt x="79" y="96"/>
                  </a:lnTo>
                  <a:lnTo>
                    <a:pt x="85" y="92"/>
                  </a:lnTo>
                  <a:lnTo>
                    <a:pt x="87" y="86"/>
                  </a:lnTo>
                  <a:lnTo>
                    <a:pt x="89" y="80"/>
                  </a:lnTo>
                  <a:lnTo>
                    <a:pt x="93" y="76"/>
                  </a:lnTo>
                  <a:lnTo>
                    <a:pt x="95" y="72"/>
                  </a:lnTo>
                  <a:lnTo>
                    <a:pt x="93" y="72"/>
                  </a:lnTo>
                  <a:lnTo>
                    <a:pt x="87" y="60"/>
                  </a:lnTo>
                  <a:lnTo>
                    <a:pt x="77" y="52"/>
                  </a:lnTo>
                  <a:lnTo>
                    <a:pt x="73" y="48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95" y="42"/>
                  </a:lnTo>
                  <a:lnTo>
                    <a:pt x="91" y="36"/>
                  </a:lnTo>
                  <a:lnTo>
                    <a:pt x="87" y="28"/>
                  </a:lnTo>
                  <a:lnTo>
                    <a:pt x="89" y="22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1" y="4"/>
                  </a:lnTo>
                  <a:lnTo>
                    <a:pt x="75" y="0"/>
                  </a:lnTo>
                  <a:lnTo>
                    <a:pt x="75" y="8"/>
                  </a:lnTo>
                  <a:lnTo>
                    <a:pt x="77" y="10"/>
                  </a:lnTo>
                  <a:lnTo>
                    <a:pt x="83" y="12"/>
                  </a:lnTo>
                  <a:lnTo>
                    <a:pt x="81" y="18"/>
                  </a:lnTo>
                  <a:lnTo>
                    <a:pt x="79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3" y="26"/>
                  </a:lnTo>
                  <a:lnTo>
                    <a:pt x="71" y="28"/>
                  </a:lnTo>
                  <a:lnTo>
                    <a:pt x="63" y="40"/>
                  </a:lnTo>
                  <a:lnTo>
                    <a:pt x="63" y="44"/>
                  </a:lnTo>
                  <a:lnTo>
                    <a:pt x="63" y="48"/>
                  </a:lnTo>
                  <a:lnTo>
                    <a:pt x="57" y="50"/>
                  </a:lnTo>
                  <a:lnTo>
                    <a:pt x="57" y="56"/>
                  </a:lnTo>
                  <a:lnTo>
                    <a:pt x="53" y="62"/>
                  </a:lnTo>
                  <a:lnTo>
                    <a:pt x="51" y="62"/>
                  </a:lnTo>
                  <a:lnTo>
                    <a:pt x="49" y="64"/>
                  </a:lnTo>
                  <a:lnTo>
                    <a:pt x="47" y="72"/>
                  </a:lnTo>
                  <a:lnTo>
                    <a:pt x="45" y="80"/>
                  </a:lnTo>
                  <a:lnTo>
                    <a:pt x="41" y="88"/>
                  </a:lnTo>
                  <a:lnTo>
                    <a:pt x="35" y="90"/>
                  </a:lnTo>
                  <a:lnTo>
                    <a:pt x="34" y="90"/>
                  </a:lnTo>
                  <a:lnTo>
                    <a:pt x="34" y="86"/>
                  </a:lnTo>
                  <a:lnTo>
                    <a:pt x="28" y="82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2" y="82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4" y="108"/>
                  </a:lnTo>
                  <a:lnTo>
                    <a:pt x="0" y="112"/>
                  </a:lnTo>
                  <a:lnTo>
                    <a:pt x="2" y="114"/>
                  </a:lnTo>
                  <a:lnTo>
                    <a:pt x="6" y="120"/>
                  </a:lnTo>
                  <a:lnTo>
                    <a:pt x="10" y="124"/>
                  </a:lnTo>
                  <a:lnTo>
                    <a:pt x="14" y="126"/>
                  </a:lnTo>
                  <a:lnTo>
                    <a:pt x="14" y="128"/>
                  </a:lnTo>
                  <a:lnTo>
                    <a:pt x="18" y="128"/>
                  </a:lnTo>
                  <a:lnTo>
                    <a:pt x="18" y="134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20" y="14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8" name="Google Shape;567;p35">
              <a:extLst>
                <a:ext uri="{FF2B5EF4-FFF2-40B4-BE49-F238E27FC236}">
                  <a16:creationId xmlns:a16="http://schemas.microsoft.com/office/drawing/2014/main" id="{464F081D-AB50-14C0-2BCC-CFC0C0E76216}"/>
                </a:ext>
              </a:extLst>
            </p:cNvPr>
            <p:cNvSpPr/>
            <p:nvPr/>
          </p:nvSpPr>
          <p:spPr>
            <a:xfrm>
              <a:off x="5929868" y="4450160"/>
              <a:ext cx="232887" cy="185737"/>
            </a:xfrm>
            <a:custGeom>
              <a:avLst/>
              <a:gdLst/>
              <a:ahLst/>
              <a:cxnLst/>
              <a:rect l="l" t="t" r="r" b="b"/>
              <a:pathLst>
                <a:path w="163" h="130" extrusionOk="0">
                  <a:moveTo>
                    <a:pt x="84" y="110"/>
                  </a:moveTo>
                  <a:lnTo>
                    <a:pt x="86" y="110"/>
                  </a:lnTo>
                  <a:lnTo>
                    <a:pt x="102" y="94"/>
                  </a:lnTo>
                  <a:lnTo>
                    <a:pt x="104" y="96"/>
                  </a:lnTo>
                  <a:lnTo>
                    <a:pt x="106" y="96"/>
                  </a:lnTo>
                  <a:lnTo>
                    <a:pt x="108" y="94"/>
                  </a:lnTo>
                  <a:lnTo>
                    <a:pt x="114" y="98"/>
                  </a:lnTo>
                  <a:lnTo>
                    <a:pt x="114" y="102"/>
                  </a:lnTo>
                  <a:lnTo>
                    <a:pt x="115" y="102"/>
                  </a:lnTo>
                  <a:lnTo>
                    <a:pt x="121" y="100"/>
                  </a:lnTo>
                  <a:lnTo>
                    <a:pt x="125" y="92"/>
                  </a:lnTo>
                  <a:lnTo>
                    <a:pt x="127" y="84"/>
                  </a:lnTo>
                  <a:lnTo>
                    <a:pt x="129" y="76"/>
                  </a:lnTo>
                  <a:lnTo>
                    <a:pt x="131" y="74"/>
                  </a:lnTo>
                  <a:lnTo>
                    <a:pt x="133" y="74"/>
                  </a:lnTo>
                  <a:lnTo>
                    <a:pt x="137" y="68"/>
                  </a:lnTo>
                  <a:lnTo>
                    <a:pt x="137" y="62"/>
                  </a:lnTo>
                  <a:lnTo>
                    <a:pt x="143" y="60"/>
                  </a:lnTo>
                  <a:lnTo>
                    <a:pt x="143" y="56"/>
                  </a:lnTo>
                  <a:lnTo>
                    <a:pt x="143" y="52"/>
                  </a:lnTo>
                  <a:lnTo>
                    <a:pt x="151" y="40"/>
                  </a:lnTo>
                  <a:lnTo>
                    <a:pt x="153" y="38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61" y="30"/>
                  </a:lnTo>
                  <a:lnTo>
                    <a:pt x="163" y="24"/>
                  </a:lnTo>
                  <a:lnTo>
                    <a:pt x="157" y="22"/>
                  </a:lnTo>
                  <a:lnTo>
                    <a:pt x="155" y="20"/>
                  </a:lnTo>
                  <a:lnTo>
                    <a:pt x="155" y="12"/>
                  </a:lnTo>
                  <a:lnTo>
                    <a:pt x="149" y="2"/>
                  </a:lnTo>
                  <a:lnTo>
                    <a:pt x="143" y="4"/>
                  </a:lnTo>
                  <a:lnTo>
                    <a:pt x="137" y="8"/>
                  </a:lnTo>
                  <a:lnTo>
                    <a:pt x="133" y="12"/>
                  </a:lnTo>
                  <a:lnTo>
                    <a:pt x="127" y="12"/>
                  </a:lnTo>
                  <a:lnTo>
                    <a:pt x="115" y="8"/>
                  </a:lnTo>
                  <a:lnTo>
                    <a:pt x="110" y="8"/>
                  </a:lnTo>
                  <a:lnTo>
                    <a:pt x="102" y="8"/>
                  </a:lnTo>
                  <a:lnTo>
                    <a:pt x="98" y="12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84" y="14"/>
                  </a:lnTo>
                  <a:lnTo>
                    <a:pt x="78" y="12"/>
                  </a:lnTo>
                  <a:lnTo>
                    <a:pt x="68" y="8"/>
                  </a:lnTo>
                  <a:lnTo>
                    <a:pt x="58" y="12"/>
                  </a:lnTo>
                  <a:lnTo>
                    <a:pt x="54" y="8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34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2" y="4"/>
                  </a:lnTo>
                  <a:lnTo>
                    <a:pt x="20" y="6"/>
                  </a:lnTo>
                  <a:lnTo>
                    <a:pt x="20" y="8"/>
                  </a:lnTo>
                  <a:lnTo>
                    <a:pt x="14" y="18"/>
                  </a:lnTo>
                  <a:lnTo>
                    <a:pt x="14" y="24"/>
                  </a:lnTo>
                  <a:lnTo>
                    <a:pt x="12" y="30"/>
                  </a:lnTo>
                  <a:lnTo>
                    <a:pt x="12" y="34"/>
                  </a:lnTo>
                  <a:lnTo>
                    <a:pt x="14" y="40"/>
                  </a:lnTo>
                  <a:lnTo>
                    <a:pt x="16" y="46"/>
                  </a:lnTo>
                  <a:lnTo>
                    <a:pt x="14" y="50"/>
                  </a:lnTo>
                  <a:lnTo>
                    <a:pt x="10" y="60"/>
                  </a:lnTo>
                  <a:lnTo>
                    <a:pt x="6" y="66"/>
                  </a:lnTo>
                  <a:lnTo>
                    <a:pt x="2" y="66"/>
                  </a:lnTo>
                  <a:lnTo>
                    <a:pt x="2" y="74"/>
                  </a:lnTo>
                  <a:lnTo>
                    <a:pt x="0" y="82"/>
                  </a:lnTo>
                  <a:lnTo>
                    <a:pt x="2" y="92"/>
                  </a:lnTo>
                  <a:lnTo>
                    <a:pt x="0" y="104"/>
                  </a:lnTo>
                  <a:lnTo>
                    <a:pt x="6" y="104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24" y="104"/>
                  </a:lnTo>
                  <a:lnTo>
                    <a:pt x="28" y="108"/>
                  </a:lnTo>
                  <a:lnTo>
                    <a:pt x="34" y="110"/>
                  </a:lnTo>
                  <a:lnTo>
                    <a:pt x="38" y="120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40" y="126"/>
                  </a:lnTo>
                  <a:lnTo>
                    <a:pt x="42" y="130"/>
                  </a:lnTo>
                  <a:lnTo>
                    <a:pt x="46" y="130"/>
                  </a:lnTo>
                  <a:lnTo>
                    <a:pt x="48" y="130"/>
                  </a:lnTo>
                  <a:lnTo>
                    <a:pt x="66" y="126"/>
                  </a:lnTo>
                  <a:lnTo>
                    <a:pt x="70" y="128"/>
                  </a:lnTo>
                  <a:lnTo>
                    <a:pt x="72" y="128"/>
                  </a:lnTo>
                  <a:lnTo>
                    <a:pt x="76" y="128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80" y="124"/>
                  </a:lnTo>
                  <a:lnTo>
                    <a:pt x="84" y="120"/>
                  </a:lnTo>
                  <a:lnTo>
                    <a:pt x="84" y="11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" name="Google Shape;568;p35">
              <a:extLst>
                <a:ext uri="{FF2B5EF4-FFF2-40B4-BE49-F238E27FC236}">
                  <a16:creationId xmlns:a16="http://schemas.microsoft.com/office/drawing/2014/main" id="{7641F839-DCB5-406F-F768-0C099FA6AA7A}"/>
                </a:ext>
              </a:extLst>
            </p:cNvPr>
            <p:cNvSpPr/>
            <p:nvPr/>
          </p:nvSpPr>
          <p:spPr>
            <a:xfrm>
              <a:off x="5881290" y="4252992"/>
              <a:ext cx="307182" cy="240030"/>
            </a:xfrm>
            <a:custGeom>
              <a:avLst/>
              <a:gdLst/>
              <a:ahLst/>
              <a:cxnLst/>
              <a:rect l="l" t="t" r="r" b="b"/>
              <a:pathLst>
                <a:path w="215" h="168" extrusionOk="0">
                  <a:moveTo>
                    <a:pt x="52" y="106"/>
                  </a:moveTo>
                  <a:lnTo>
                    <a:pt x="48" y="114"/>
                  </a:lnTo>
                  <a:lnTo>
                    <a:pt x="46" y="118"/>
                  </a:lnTo>
                  <a:lnTo>
                    <a:pt x="40" y="116"/>
                  </a:lnTo>
                  <a:lnTo>
                    <a:pt x="34" y="118"/>
                  </a:lnTo>
                  <a:lnTo>
                    <a:pt x="24" y="118"/>
                  </a:lnTo>
                  <a:lnTo>
                    <a:pt x="16" y="118"/>
                  </a:lnTo>
                  <a:lnTo>
                    <a:pt x="12" y="122"/>
                  </a:lnTo>
                  <a:lnTo>
                    <a:pt x="6" y="124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0" y="130"/>
                  </a:lnTo>
                  <a:lnTo>
                    <a:pt x="4" y="138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6" y="146"/>
                  </a:lnTo>
                  <a:lnTo>
                    <a:pt x="12" y="146"/>
                  </a:lnTo>
                  <a:lnTo>
                    <a:pt x="12" y="150"/>
                  </a:lnTo>
                  <a:lnTo>
                    <a:pt x="16" y="154"/>
                  </a:lnTo>
                  <a:lnTo>
                    <a:pt x="26" y="160"/>
                  </a:lnTo>
                  <a:lnTo>
                    <a:pt x="30" y="166"/>
                  </a:lnTo>
                  <a:lnTo>
                    <a:pt x="30" y="160"/>
                  </a:lnTo>
                  <a:lnTo>
                    <a:pt x="34" y="160"/>
                  </a:lnTo>
                  <a:lnTo>
                    <a:pt x="36" y="160"/>
                  </a:lnTo>
                  <a:lnTo>
                    <a:pt x="46" y="168"/>
                  </a:lnTo>
                  <a:lnTo>
                    <a:pt x="46" y="168"/>
                  </a:lnTo>
                  <a:lnTo>
                    <a:pt x="48" y="162"/>
                  </a:lnTo>
                  <a:lnTo>
                    <a:pt x="48" y="156"/>
                  </a:lnTo>
                  <a:lnTo>
                    <a:pt x="54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8" y="140"/>
                  </a:lnTo>
                  <a:lnTo>
                    <a:pt x="74" y="138"/>
                  </a:lnTo>
                  <a:lnTo>
                    <a:pt x="78" y="140"/>
                  </a:lnTo>
                  <a:lnTo>
                    <a:pt x="82" y="142"/>
                  </a:lnTo>
                  <a:lnTo>
                    <a:pt x="84" y="142"/>
                  </a:lnTo>
                  <a:lnTo>
                    <a:pt x="88" y="146"/>
                  </a:lnTo>
                  <a:lnTo>
                    <a:pt x="92" y="150"/>
                  </a:lnTo>
                  <a:lnTo>
                    <a:pt x="102" y="146"/>
                  </a:lnTo>
                  <a:lnTo>
                    <a:pt x="112" y="150"/>
                  </a:lnTo>
                  <a:lnTo>
                    <a:pt x="118" y="152"/>
                  </a:lnTo>
                  <a:lnTo>
                    <a:pt x="126" y="154"/>
                  </a:lnTo>
                  <a:lnTo>
                    <a:pt x="128" y="154"/>
                  </a:lnTo>
                  <a:lnTo>
                    <a:pt x="132" y="150"/>
                  </a:lnTo>
                  <a:lnTo>
                    <a:pt x="136" y="146"/>
                  </a:lnTo>
                  <a:lnTo>
                    <a:pt x="144" y="146"/>
                  </a:lnTo>
                  <a:lnTo>
                    <a:pt x="149" y="146"/>
                  </a:lnTo>
                  <a:lnTo>
                    <a:pt x="161" y="150"/>
                  </a:lnTo>
                  <a:lnTo>
                    <a:pt x="167" y="150"/>
                  </a:lnTo>
                  <a:lnTo>
                    <a:pt x="171" y="146"/>
                  </a:lnTo>
                  <a:lnTo>
                    <a:pt x="177" y="142"/>
                  </a:lnTo>
                  <a:lnTo>
                    <a:pt x="183" y="140"/>
                  </a:lnTo>
                  <a:lnTo>
                    <a:pt x="181" y="134"/>
                  </a:lnTo>
                  <a:lnTo>
                    <a:pt x="181" y="128"/>
                  </a:lnTo>
                  <a:lnTo>
                    <a:pt x="191" y="116"/>
                  </a:lnTo>
                  <a:lnTo>
                    <a:pt x="207" y="96"/>
                  </a:lnTo>
                  <a:lnTo>
                    <a:pt x="207" y="90"/>
                  </a:lnTo>
                  <a:lnTo>
                    <a:pt x="209" y="76"/>
                  </a:lnTo>
                  <a:lnTo>
                    <a:pt x="211" y="58"/>
                  </a:lnTo>
                  <a:lnTo>
                    <a:pt x="213" y="50"/>
                  </a:lnTo>
                  <a:lnTo>
                    <a:pt x="215" y="46"/>
                  </a:lnTo>
                  <a:lnTo>
                    <a:pt x="213" y="44"/>
                  </a:lnTo>
                  <a:lnTo>
                    <a:pt x="207" y="36"/>
                  </a:lnTo>
                  <a:lnTo>
                    <a:pt x="205" y="32"/>
                  </a:lnTo>
                  <a:lnTo>
                    <a:pt x="203" y="26"/>
                  </a:lnTo>
                  <a:lnTo>
                    <a:pt x="203" y="22"/>
                  </a:lnTo>
                  <a:lnTo>
                    <a:pt x="203" y="16"/>
                  </a:lnTo>
                  <a:lnTo>
                    <a:pt x="201" y="8"/>
                  </a:lnTo>
                  <a:lnTo>
                    <a:pt x="195" y="10"/>
                  </a:lnTo>
                  <a:lnTo>
                    <a:pt x="191" y="14"/>
                  </a:lnTo>
                  <a:lnTo>
                    <a:pt x="187" y="10"/>
                  </a:lnTo>
                  <a:lnTo>
                    <a:pt x="181" y="6"/>
                  </a:lnTo>
                  <a:lnTo>
                    <a:pt x="173" y="4"/>
                  </a:lnTo>
                  <a:lnTo>
                    <a:pt x="159" y="0"/>
                  </a:lnTo>
                  <a:lnTo>
                    <a:pt x="159" y="2"/>
                  </a:lnTo>
                  <a:lnTo>
                    <a:pt x="100" y="40"/>
                  </a:lnTo>
                  <a:lnTo>
                    <a:pt x="80" y="58"/>
                  </a:lnTo>
                  <a:lnTo>
                    <a:pt x="74" y="60"/>
                  </a:lnTo>
                  <a:lnTo>
                    <a:pt x="68" y="62"/>
                  </a:lnTo>
                  <a:lnTo>
                    <a:pt x="56" y="64"/>
                  </a:lnTo>
                  <a:lnTo>
                    <a:pt x="56" y="94"/>
                  </a:lnTo>
                  <a:lnTo>
                    <a:pt x="52" y="10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0" name="Google Shape;569;p35">
              <a:extLst>
                <a:ext uri="{FF2B5EF4-FFF2-40B4-BE49-F238E27FC236}">
                  <a16:creationId xmlns:a16="http://schemas.microsoft.com/office/drawing/2014/main" id="{E1753025-9DF0-92CA-72BB-C0511203ABD3}"/>
                </a:ext>
              </a:extLst>
            </p:cNvPr>
            <p:cNvSpPr/>
            <p:nvPr/>
          </p:nvSpPr>
          <p:spPr>
            <a:xfrm>
              <a:off x="6139895" y="4252992"/>
              <a:ext cx="202882" cy="322897"/>
            </a:xfrm>
            <a:custGeom>
              <a:avLst/>
              <a:gdLst/>
              <a:ahLst/>
              <a:cxnLst/>
              <a:rect l="l" t="t" r="r" b="b"/>
              <a:pathLst>
                <a:path w="142" h="226" extrusionOk="0">
                  <a:moveTo>
                    <a:pt x="22" y="22"/>
                  </a:moveTo>
                  <a:lnTo>
                    <a:pt x="22" y="26"/>
                  </a:lnTo>
                  <a:lnTo>
                    <a:pt x="24" y="32"/>
                  </a:lnTo>
                  <a:lnTo>
                    <a:pt x="26" y="36"/>
                  </a:lnTo>
                  <a:lnTo>
                    <a:pt x="32" y="44"/>
                  </a:lnTo>
                  <a:lnTo>
                    <a:pt x="34" y="46"/>
                  </a:lnTo>
                  <a:lnTo>
                    <a:pt x="32" y="50"/>
                  </a:lnTo>
                  <a:lnTo>
                    <a:pt x="30" y="58"/>
                  </a:lnTo>
                  <a:lnTo>
                    <a:pt x="28" y="76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10" y="116"/>
                  </a:lnTo>
                  <a:lnTo>
                    <a:pt x="0" y="128"/>
                  </a:lnTo>
                  <a:lnTo>
                    <a:pt x="0" y="134"/>
                  </a:lnTo>
                  <a:lnTo>
                    <a:pt x="2" y="140"/>
                  </a:lnTo>
                  <a:lnTo>
                    <a:pt x="8" y="150"/>
                  </a:lnTo>
                  <a:lnTo>
                    <a:pt x="14" y="154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2" y="172"/>
                  </a:lnTo>
                  <a:lnTo>
                    <a:pt x="20" y="178"/>
                  </a:lnTo>
                  <a:lnTo>
                    <a:pt x="24" y="186"/>
                  </a:lnTo>
                  <a:lnTo>
                    <a:pt x="28" y="192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8" y="194"/>
                  </a:lnTo>
                  <a:lnTo>
                    <a:pt x="6" y="198"/>
                  </a:lnTo>
                  <a:lnTo>
                    <a:pt x="10" y="202"/>
                  </a:lnTo>
                  <a:lnTo>
                    <a:pt x="20" y="210"/>
                  </a:lnTo>
                  <a:lnTo>
                    <a:pt x="26" y="222"/>
                  </a:lnTo>
                  <a:lnTo>
                    <a:pt x="28" y="222"/>
                  </a:lnTo>
                  <a:lnTo>
                    <a:pt x="26" y="226"/>
                  </a:lnTo>
                  <a:lnTo>
                    <a:pt x="34" y="226"/>
                  </a:lnTo>
                  <a:lnTo>
                    <a:pt x="44" y="226"/>
                  </a:lnTo>
                  <a:lnTo>
                    <a:pt x="50" y="222"/>
                  </a:lnTo>
                  <a:lnTo>
                    <a:pt x="56" y="220"/>
                  </a:lnTo>
                  <a:lnTo>
                    <a:pt x="68" y="218"/>
                  </a:lnTo>
                  <a:lnTo>
                    <a:pt x="70" y="216"/>
                  </a:lnTo>
                  <a:lnTo>
                    <a:pt x="76" y="212"/>
                  </a:lnTo>
                  <a:lnTo>
                    <a:pt x="72" y="208"/>
                  </a:lnTo>
                  <a:lnTo>
                    <a:pt x="76" y="206"/>
                  </a:lnTo>
                  <a:lnTo>
                    <a:pt x="82" y="206"/>
                  </a:lnTo>
                  <a:lnTo>
                    <a:pt x="88" y="204"/>
                  </a:lnTo>
                  <a:lnTo>
                    <a:pt x="94" y="202"/>
                  </a:lnTo>
                  <a:lnTo>
                    <a:pt x="102" y="196"/>
                  </a:lnTo>
                  <a:lnTo>
                    <a:pt x="106" y="192"/>
                  </a:lnTo>
                  <a:lnTo>
                    <a:pt x="106" y="192"/>
                  </a:lnTo>
                  <a:lnTo>
                    <a:pt x="108" y="190"/>
                  </a:lnTo>
                  <a:lnTo>
                    <a:pt x="110" y="188"/>
                  </a:lnTo>
                  <a:lnTo>
                    <a:pt x="112" y="184"/>
                  </a:lnTo>
                  <a:lnTo>
                    <a:pt x="118" y="180"/>
                  </a:lnTo>
                  <a:lnTo>
                    <a:pt x="122" y="178"/>
                  </a:lnTo>
                  <a:lnTo>
                    <a:pt x="126" y="180"/>
                  </a:lnTo>
                  <a:lnTo>
                    <a:pt x="126" y="180"/>
                  </a:lnTo>
                  <a:lnTo>
                    <a:pt x="126" y="172"/>
                  </a:lnTo>
                  <a:lnTo>
                    <a:pt x="122" y="168"/>
                  </a:lnTo>
                  <a:lnTo>
                    <a:pt x="122" y="162"/>
                  </a:lnTo>
                  <a:lnTo>
                    <a:pt x="120" y="158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4"/>
                  </a:lnTo>
                  <a:lnTo>
                    <a:pt x="116" y="148"/>
                  </a:lnTo>
                  <a:lnTo>
                    <a:pt x="118" y="144"/>
                  </a:lnTo>
                  <a:lnTo>
                    <a:pt x="118" y="136"/>
                  </a:lnTo>
                  <a:lnTo>
                    <a:pt x="120" y="128"/>
                  </a:lnTo>
                  <a:lnTo>
                    <a:pt x="124" y="124"/>
                  </a:lnTo>
                  <a:lnTo>
                    <a:pt x="126" y="122"/>
                  </a:lnTo>
                  <a:lnTo>
                    <a:pt x="128" y="116"/>
                  </a:lnTo>
                  <a:lnTo>
                    <a:pt x="128" y="114"/>
                  </a:lnTo>
                  <a:lnTo>
                    <a:pt x="130" y="112"/>
                  </a:lnTo>
                  <a:lnTo>
                    <a:pt x="136" y="112"/>
                  </a:lnTo>
                  <a:lnTo>
                    <a:pt x="142" y="114"/>
                  </a:lnTo>
                  <a:lnTo>
                    <a:pt x="142" y="58"/>
                  </a:lnTo>
                  <a:lnTo>
                    <a:pt x="80" y="24"/>
                  </a:lnTo>
                  <a:lnTo>
                    <a:pt x="74" y="22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22" y="16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1" name="Google Shape;570;p35">
              <a:extLst>
                <a:ext uri="{FF2B5EF4-FFF2-40B4-BE49-F238E27FC236}">
                  <a16:creationId xmlns:a16="http://schemas.microsoft.com/office/drawing/2014/main" id="{050B0619-636E-F4BE-3472-DBA21E238B57}"/>
                </a:ext>
              </a:extLst>
            </p:cNvPr>
            <p:cNvSpPr/>
            <p:nvPr/>
          </p:nvSpPr>
          <p:spPr>
            <a:xfrm>
              <a:off x="6517085" y="4433015"/>
              <a:ext cx="291465" cy="220027"/>
            </a:xfrm>
            <a:custGeom>
              <a:avLst/>
              <a:gdLst/>
              <a:ahLst/>
              <a:cxnLst/>
              <a:rect l="l" t="t" r="r" b="b"/>
              <a:pathLst>
                <a:path w="204" h="154" extrusionOk="0">
                  <a:moveTo>
                    <a:pt x="52" y="142"/>
                  </a:moveTo>
                  <a:lnTo>
                    <a:pt x="66" y="150"/>
                  </a:lnTo>
                  <a:lnTo>
                    <a:pt x="70" y="152"/>
                  </a:lnTo>
                  <a:lnTo>
                    <a:pt x="72" y="152"/>
                  </a:lnTo>
                  <a:lnTo>
                    <a:pt x="80" y="154"/>
                  </a:lnTo>
                  <a:lnTo>
                    <a:pt x="88" y="154"/>
                  </a:lnTo>
                  <a:lnTo>
                    <a:pt x="94" y="150"/>
                  </a:lnTo>
                  <a:lnTo>
                    <a:pt x="106" y="144"/>
                  </a:lnTo>
                  <a:lnTo>
                    <a:pt x="110" y="148"/>
                  </a:lnTo>
                  <a:lnTo>
                    <a:pt x="114" y="148"/>
                  </a:lnTo>
                  <a:lnTo>
                    <a:pt x="120" y="148"/>
                  </a:lnTo>
                  <a:lnTo>
                    <a:pt x="122" y="148"/>
                  </a:lnTo>
                  <a:lnTo>
                    <a:pt x="124" y="146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6" y="140"/>
                  </a:lnTo>
                  <a:lnTo>
                    <a:pt x="140" y="138"/>
                  </a:lnTo>
                  <a:lnTo>
                    <a:pt x="150" y="134"/>
                  </a:lnTo>
                  <a:lnTo>
                    <a:pt x="164" y="136"/>
                  </a:lnTo>
                  <a:lnTo>
                    <a:pt x="204" y="94"/>
                  </a:lnTo>
                  <a:lnTo>
                    <a:pt x="190" y="94"/>
                  </a:lnTo>
                  <a:lnTo>
                    <a:pt x="150" y="80"/>
                  </a:lnTo>
                  <a:lnTo>
                    <a:pt x="146" y="76"/>
                  </a:lnTo>
                  <a:lnTo>
                    <a:pt x="142" y="74"/>
                  </a:lnTo>
                  <a:lnTo>
                    <a:pt x="138" y="66"/>
                  </a:lnTo>
                  <a:lnTo>
                    <a:pt x="132" y="58"/>
                  </a:lnTo>
                  <a:lnTo>
                    <a:pt x="136" y="52"/>
                  </a:lnTo>
                  <a:lnTo>
                    <a:pt x="132" y="50"/>
                  </a:lnTo>
                  <a:lnTo>
                    <a:pt x="126" y="52"/>
                  </a:lnTo>
                  <a:lnTo>
                    <a:pt x="122" y="54"/>
                  </a:lnTo>
                  <a:lnTo>
                    <a:pt x="120" y="48"/>
                  </a:lnTo>
                  <a:lnTo>
                    <a:pt x="122" y="40"/>
                  </a:lnTo>
                  <a:lnTo>
                    <a:pt x="126" y="34"/>
                  </a:lnTo>
                  <a:lnTo>
                    <a:pt x="130" y="32"/>
                  </a:lnTo>
                  <a:lnTo>
                    <a:pt x="122" y="26"/>
                  </a:lnTo>
                  <a:lnTo>
                    <a:pt x="114" y="20"/>
                  </a:lnTo>
                  <a:lnTo>
                    <a:pt x="110" y="12"/>
                  </a:lnTo>
                  <a:lnTo>
                    <a:pt x="102" y="8"/>
                  </a:lnTo>
                  <a:lnTo>
                    <a:pt x="94" y="4"/>
                  </a:lnTo>
                  <a:lnTo>
                    <a:pt x="88" y="6"/>
                  </a:lnTo>
                  <a:lnTo>
                    <a:pt x="78" y="4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6"/>
                  </a:lnTo>
                  <a:lnTo>
                    <a:pt x="62" y="10"/>
                  </a:lnTo>
                  <a:lnTo>
                    <a:pt x="56" y="4"/>
                  </a:lnTo>
                  <a:lnTo>
                    <a:pt x="52" y="6"/>
                  </a:lnTo>
                  <a:lnTo>
                    <a:pt x="48" y="8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2" y="36"/>
                  </a:lnTo>
                  <a:lnTo>
                    <a:pt x="30" y="42"/>
                  </a:lnTo>
                  <a:lnTo>
                    <a:pt x="28" y="50"/>
                  </a:lnTo>
                  <a:lnTo>
                    <a:pt x="26" y="56"/>
                  </a:lnTo>
                  <a:lnTo>
                    <a:pt x="22" y="54"/>
                  </a:lnTo>
                  <a:lnTo>
                    <a:pt x="18" y="58"/>
                  </a:lnTo>
                  <a:lnTo>
                    <a:pt x="16" y="66"/>
                  </a:lnTo>
                  <a:lnTo>
                    <a:pt x="16" y="74"/>
                  </a:lnTo>
                  <a:lnTo>
                    <a:pt x="16" y="80"/>
                  </a:lnTo>
                  <a:lnTo>
                    <a:pt x="16" y="86"/>
                  </a:lnTo>
                  <a:lnTo>
                    <a:pt x="10" y="88"/>
                  </a:lnTo>
                  <a:lnTo>
                    <a:pt x="4" y="88"/>
                  </a:lnTo>
                  <a:lnTo>
                    <a:pt x="4" y="92"/>
                  </a:lnTo>
                  <a:lnTo>
                    <a:pt x="0" y="94"/>
                  </a:lnTo>
                  <a:lnTo>
                    <a:pt x="6" y="98"/>
                  </a:lnTo>
                  <a:lnTo>
                    <a:pt x="10" y="98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8" y="108"/>
                  </a:lnTo>
                  <a:lnTo>
                    <a:pt x="20" y="108"/>
                  </a:lnTo>
                  <a:lnTo>
                    <a:pt x="24" y="112"/>
                  </a:lnTo>
                  <a:lnTo>
                    <a:pt x="28" y="120"/>
                  </a:lnTo>
                  <a:lnTo>
                    <a:pt x="28" y="126"/>
                  </a:lnTo>
                  <a:lnTo>
                    <a:pt x="32" y="130"/>
                  </a:lnTo>
                  <a:lnTo>
                    <a:pt x="34" y="128"/>
                  </a:lnTo>
                  <a:lnTo>
                    <a:pt x="38" y="132"/>
                  </a:lnTo>
                  <a:lnTo>
                    <a:pt x="38" y="136"/>
                  </a:lnTo>
                  <a:lnTo>
                    <a:pt x="40" y="140"/>
                  </a:lnTo>
                  <a:lnTo>
                    <a:pt x="46" y="142"/>
                  </a:lnTo>
                  <a:lnTo>
                    <a:pt x="52" y="14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2" name="Google Shape;571;p35">
              <a:extLst>
                <a:ext uri="{FF2B5EF4-FFF2-40B4-BE49-F238E27FC236}">
                  <a16:creationId xmlns:a16="http://schemas.microsoft.com/office/drawing/2014/main" id="{A7FDB8DA-104D-E308-FBC6-6D51729C17E4}"/>
                </a:ext>
              </a:extLst>
            </p:cNvPr>
            <p:cNvSpPr/>
            <p:nvPr/>
          </p:nvSpPr>
          <p:spPr>
            <a:xfrm>
              <a:off x="6551374" y="4064397"/>
              <a:ext cx="405765" cy="337185"/>
            </a:xfrm>
            <a:custGeom>
              <a:avLst/>
              <a:gdLst/>
              <a:ahLst/>
              <a:cxnLst/>
              <a:rect l="l" t="t" r="r" b="b"/>
              <a:pathLst>
                <a:path w="450850" h="374650" extrusionOk="0">
                  <a:moveTo>
                    <a:pt x="152400" y="361950"/>
                  </a:moveTo>
                  <a:lnTo>
                    <a:pt x="155575" y="365125"/>
                  </a:lnTo>
                  <a:lnTo>
                    <a:pt x="158750" y="365125"/>
                  </a:lnTo>
                  <a:lnTo>
                    <a:pt x="161925" y="368300"/>
                  </a:lnTo>
                  <a:lnTo>
                    <a:pt x="155575" y="368300"/>
                  </a:lnTo>
                  <a:close/>
                  <a:moveTo>
                    <a:pt x="95250" y="0"/>
                  </a:moveTo>
                  <a:lnTo>
                    <a:pt x="114300" y="3175"/>
                  </a:lnTo>
                  <a:lnTo>
                    <a:pt x="127000" y="9525"/>
                  </a:lnTo>
                  <a:lnTo>
                    <a:pt x="142875" y="19050"/>
                  </a:lnTo>
                  <a:lnTo>
                    <a:pt x="158750" y="25400"/>
                  </a:lnTo>
                  <a:lnTo>
                    <a:pt x="168275" y="34925"/>
                  </a:lnTo>
                  <a:lnTo>
                    <a:pt x="180975" y="44450"/>
                  </a:lnTo>
                  <a:lnTo>
                    <a:pt x="206375" y="66675"/>
                  </a:lnTo>
                  <a:lnTo>
                    <a:pt x="215900" y="73025"/>
                  </a:lnTo>
                  <a:lnTo>
                    <a:pt x="225425" y="76200"/>
                  </a:lnTo>
                  <a:lnTo>
                    <a:pt x="244475" y="79375"/>
                  </a:lnTo>
                  <a:lnTo>
                    <a:pt x="250825" y="79375"/>
                  </a:lnTo>
                  <a:lnTo>
                    <a:pt x="254000" y="76200"/>
                  </a:lnTo>
                  <a:lnTo>
                    <a:pt x="269875" y="79375"/>
                  </a:lnTo>
                  <a:lnTo>
                    <a:pt x="276225" y="79375"/>
                  </a:lnTo>
                  <a:lnTo>
                    <a:pt x="276225" y="85725"/>
                  </a:lnTo>
                  <a:lnTo>
                    <a:pt x="282575" y="92075"/>
                  </a:lnTo>
                  <a:lnTo>
                    <a:pt x="295275" y="92075"/>
                  </a:lnTo>
                  <a:lnTo>
                    <a:pt x="298450" y="92075"/>
                  </a:lnTo>
                  <a:lnTo>
                    <a:pt x="298450" y="101600"/>
                  </a:lnTo>
                  <a:lnTo>
                    <a:pt x="304800" y="111125"/>
                  </a:lnTo>
                  <a:lnTo>
                    <a:pt x="311150" y="114300"/>
                  </a:lnTo>
                  <a:lnTo>
                    <a:pt x="317500" y="123825"/>
                  </a:lnTo>
                  <a:lnTo>
                    <a:pt x="330200" y="133350"/>
                  </a:lnTo>
                  <a:lnTo>
                    <a:pt x="333375" y="149225"/>
                  </a:lnTo>
                  <a:lnTo>
                    <a:pt x="330200" y="149225"/>
                  </a:lnTo>
                  <a:lnTo>
                    <a:pt x="333375" y="158750"/>
                  </a:lnTo>
                  <a:lnTo>
                    <a:pt x="342900" y="174625"/>
                  </a:lnTo>
                  <a:lnTo>
                    <a:pt x="346075" y="180975"/>
                  </a:lnTo>
                  <a:lnTo>
                    <a:pt x="352425" y="187325"/>
                  </a:lnTo>
                  <a:lnTo>
                    <a:pt x="361950" y="184150"/>
                  </a:lnTo>
                  <a:lnTo>
                    <a:pt x="361950" y="190500"/>
                  </a:lnTo>
                  <a:lnTo>
                    <a:pt x="368300" y="196850"/>
                  </a:lnTo>
                  <a:lnTo>
                    <a:pt x="368300" y="203200"/>
                  </a:lnTo>
                  <a:lnTo>
                    <a:pt x="377825" y="212725"/>
                  </a:lnTo>
                  <a:lnTo>
                    <a:pt x="384175" y="222250"/>
                  </a:lnTo>
                  <a:lnTo>
                    <a:pt x="390525" y="225425"/>
                  </a:lnTo>
                  <a:lnTo>
                    <a:pt x="425450" y="228600"/>
                  </a:lnTo>
                  <a:lnTo>
                    <a:pt x="431800" y="231775"/>
                  </a:lnTo>
                  <a:lnTo>
                    <a:pt x="441325" y="228600"/>
                  </a:lnTo>
                  <a:lnTo>
                    <a:pt x="450850" y="241300"/>
                  </a:lnTo>
                  <a:lnTo>
                    <a:pt x="450850" y="247650"/>
                  </a:lnTo>
                  <a:lnTo>
                    <a:pt x="450850" y="254000"/>
                  </a:lnTo>
                  <a:lnTo>
                    <a:pt x="441325" y="282575"/>
                  </a:lnTo>
                  <a:lnTo>
                    <a:pt x="434975" y="292100"/>
                  </a:lnTo>
                  <a:lnTo>
                    <a:pt x="422275" y="298450"/>
                  </a:lnTo>
                  <a:lnTo>
                    <a:pt x="393700" y="307975"/>
                  </a:lnTo>
                  <a:lnTo>
                    <a:pt x="371475" y="314325"/>
                  </a:lnTo>
                  <a:lnTo>
                    <a:pt x="327025" y="320675"/>
                  </a:lnTo>
                  <a:lnTo>
                    <a:pt x="304800" y="327025"/>
                  </a:lnTo>
                  <a:lnTo>
                    <a:pt x="292100" y="333375"/>
                  </a:lnTo>
                  <a:lnTo>
                    <a:pt x="282575" y="342900"/>
                  </a:lnTo>
                  <a:lnTo>
                    <a:pt x="276225" y="352425"/>
                  </a:lnTo>
                  <a:lnTo>
                    <a:pt x="269875" y="361950"/>
                  </a:lnTo>
                  <a:lnTo>
                    <a:pt x="260350" y="355600"/>
                  </a:lnTo>
                  <a:lnTo>
                    <a:pt x="250825" y="355600"/>
                  </a:lnTo>
                  <a:lnTo>
                    <a:pt x="234950" y="352425"/>
                  </a:lnTo>
                  <a:lnTo>
                    <a:pt x="228600" y="352425"/>
                  </a:lnTo>
                  <a:lnTo>
                    <a:pt x="222250" y="349250"/>
                  </a:lnTo>
                  <a:lnTo>
                    <a:pt x="193675" y="349250"/>
                  </a:lnTo>
                  <a:lnTo>
                    <a:pt x="187325" y="349250"/>
                  </a:lnTo>
                  <a:lnTo>
                    <a:pt x="180975" y="358775"/>
                  </a:lnTo>
                  <a:lnTo>
                    <a:pt x="180975" y="365125"/>
                  </a:lnTo>
                  <a:lnTo>
                    <a:pt x="184150" y="368300"/>
                  </a:lnTo>
                  <a:lnTo>
                    <a:pt x="177800" y="371475"/>
                  </a:lnTo>
                  <a:lnTo>
                    <a:pt x="174625" y="374650"/>
                  </a:lnTo>
                  <a:lnTo>
                    <a:pt x="171450" y="361950"/>
                  </a:lnTo>
                  <a:lnTo>
                    <a:pt x="161925" y="349250"/>
                  </a:lnTo>
                  <a:lnTo>
                    <a:pt x="152400" y="339725"/>
                  </a:lnTo>
                  <a:lnTo>
                    <a:pt x="142875" y="327025"/>
                  </a:lnTo>
                  <a:lnTo>
                    <a:pt x="139700" y="314325"/>
                  </a:lnTo>
                  <a:lnTo>
                    <a:pt x="123825" y="292100"/>
                  </a:lnTo>
                  <a:lnTo>
                    <a:pt x="114300" y="285750"/>
                  </a:lnTo>
                  <a:lnTo>
                    <a:pt x="104775" y="279400"/>
                  </a:lnTo>
                  <a:lnTo>
                    <a:pt x="98425" y="269875"/>
                  </a:lnTo>
                  <a:lnTo>
                    <a:pt x="95250" y="260350"/>
                  </a:lnTo>
                  <a:lnTo>
                    <a:pt x="95250" y="231775"/>
                  </a:lnTo>
                  <a:lnTo>
                    <a:pt x="92075" y="228600"/>
                  </a:lnTo>
                  <a:lnTo>
                    <a:pt x="88900" y="219075"/>
                  </a:lnTo>
                  <a:lnTo>
                    <a:pt x="82550" y="209550"/>
                  </a:lnTo>
                  <a:lnTo>
                    <a:pt x="76200" y="200025"/>
                  </a:lnTo>
                  <a:lnTo>
                    <a:pt x="66675" y="196850"/>
                  </a:lnTo>
                  <a:lnTo>
                    <a:pt x="57150" y="187325"/>
                  </a:lnTo>
                  <a:lnTo>
                    <a:pt x="53975" y="180975"/>
                  </a:lnTo>
                  <a:lnTo>
                    <a:pt x="53975" y="174625"/>
                  </a:lnTo>
                  <a:lnTo>
                    <a:pt x="38100" y="149225"/>
                  </a:lnTo>
                  <a:lnTo>
                    <a:pt x="22225" y="127000"/>
                  </a:lnTo>
                  <a:lnTo>
                    <a:pt x="19050" y="117475"/>
                  </a:lnTo>
                  <a:lnTo>
                    <a:pt x="15875" y="114300"/>
                  </a:lnTo>
                  <a:lnTo>
                    <a:pt x="9525" y="104775"/>
                  </a:lnTo>
                  <a:lnTo>
                    <a:pt x="3175" y="101600"/>
                  </a:lnTo>
                  <a:lnTo>
                    <a:pt x="0" y="101600"/>
                  </a:lnTo>
                  <a:lnTo>
                    <a:pt x="0" y="98425"/>
                  </a:lnTo>
                  <a:lnTo>
                    <a:pt x="3175" y="88900"/>
                  </a:lnTo>
                  <a:lnTo>
                    <a:pt x="6350" y="69850"/>
                  </a:lnTo>
                  <a:lnTo>
                    <a:pt x="25400" y="73025"/>
                  </a:lnTo>
                  <a:lnTo>
                    <a:pt x="31750" y="73025"/>
                  </a:lnTo>
                  <a:lnTo>
                    <a:pt x="41275" y="63500"/>
                  </a:lnTo>
                  <a:lnTo>
                    <a:pt x="44450" y="57150"/>
                  </a:lnTo>
                  <a:lnTo>
                    <a:pt x="47625" y="57150"/>
                  </a:lnTo>
                  <a:lnTo>
                    <a:pt x="57150" y="53975"/>
                  </a:lnTo>
                  <a:lnTo>
                    <a:pt x="60325" y="53975"/>
                  </a:lnTo>
                  <a:lnTo>
                    <a:pt x="63500" y="47625"/>
                  </a:lnTo>
                  <a:lnTo>
                    <a:pt x="69850" y="41275"/>
                  </a:lnTo>
                  <a:lnTo>
                    <a:pt x="53975" y="22225"/>
                  </a:lnTo>
                  <a:lnTo>
                    <a:pt x="47625" y="15875"/>
                  </a:lnTo>
                  <a:lnTo>
                    <a:pt x="73025" y="9525"/>
                  </a:lnTo>
                  <a:lnTo>
                    <a:pt x="85725" y="6350"/>
                  </a:lnTo>
                  <a:lnTo>
                    <a:pt x="92075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3" name="Google Shape;572;p35">
              <a:extLst>
                <a:ext uri="{FF2B5EF4-FFF2-40B4-BE49-F238E27FC236}">
                  <a16:creationId xmlns:a16="http://schemas.microsoft.com/office/drawing/2014/main" id="{B8EDDFCE-6E3E-6E7A-6D82-D28E5F093FE1}"/>
                </a:ext>
              </a:extLst>
            </p:cNvPr>
            <p:cNvSpPr/>
            <p:nvPr/>
          </p:nvSpPr>
          <p:spPr>
            <a:xfrm>
              <a:off x="6708537" y="4347290"/>
              <a:ext cx="228600" cy="134303"/>
            </a:xfrm>
            <a:custGeom>
              <a:avLst/>
              <a:gdLst/>
              <a:ahLst/>
              <a:cxnLst/>
              <a:rect l="l" t="t" r="r" b="b"/>
              <a:pathLst>
                <a:path w="254000" h="149225" extrusionOk="0">
                  <a:moveTo>
                    <a:pt x="231775" y="139700"/>
                  </a:moveTo>
                  <a:lnTo>
                    <a:pt x="241300" y="139700"/>
                  </a:lnTo>
                  <a:lnTo>
                    <a:pt x="254000" y="146050"/>
                  </a:lnTo>
                  <a:lnTo>
                    <a:pt x="238125" y="149225"/>
                  </a:lnTo>
                  <a:lnTo>
                    <a:pt x="225425" y="146050"/>
                  </a:lnTo>
                  <a:close/>
                  <a:moveTo>
                    <a:pt x="196850" y="0"/>
                  </a:moveTo>
                  <a:lnTo>
                    <a:pt x="222250" y="53975"/>
                  </a:lnTo>
                  <a:lnTo>
                    <a:pt x="209550" y="60325"/>
                  </a:lnTo>
                  <a:lnTo>
                    <a:pt x="203200" y="69850"/>
                  </a:lnTo>
                  <a:lnTo>
                    <a:pt x="203200" y="76200"/>
                  </a:lnTo>
                  <a:lnTo>
                    <a:pt x="200025" y="79375"/>
                  </a:lnTo>
                  <a:lnTo>
                    <a:pt x="193675" y="82550"/>
                  </a:lnTo>
                  <a:lnTo>
                    <a:pt x="174625" y="88900"/>
                  </a:lnTo>
                  <a:lnTo>
                    <a:pt x="158750" y="92075"/>
                  </a:lnTo>
                  <a:lnTo>
                    <a:pt x="155575" y="92075"/>
                  </a:lnTo>
                  <a:lnTo>
                    <a:pt x="152400" y="92075"/>
                  </a:lnTo>
                  <a:lnTo>
                    <a:pt x="136525" y="101600"/>
                  </a:lnTo>
                  <a:lnTo>
                    <a:pt x="133350" y="104775"/>
                  </a:lnTo>
                  <a:lnTo>
                    <a:pt x="127000" y="111125"/>
                  </a:lnTo>
                  <a:lnTo>
                    <a:pt x="117475" y="111125"/>
                  </a:lnTo>
                  <a:lnTo>
                    <a:pt x="111125" y="111125"/>
                  </a:lnTo>
                  <a:lnTo>
                    <a:pt x="101600" y="117475"/>
                  </a:lnTo>
                  <a:lnTo>
                    <a:pt x="98425" y="120650"/>
                  </a:lnTo>
                  <a:lnTo>
                    <a:pt x="92075" y="120650"/>
                  </a:lnTo>
                  <a:lnTo>
                    <a:pt x="79375" y="123825"/>
                  </a:lnTo>
                  <a:lnTo>
                    <a:pt x="73025" y="127000"/>
                  </a:lnTo>
                  <a:lnTo>
                    <a:pt x="60325" y="127000"/>
                  </a:lnTo>
                  <a:lnTo>
                    <a:pt x="57150" y="130175"/>
                  </a:lnTo>
                  <a:lnTo>
                    <a:pt x="53975" y="133350"/>
                  </a:lnTo>
                  <a:lnTo>
                    <a:pt x="41275" y="139700"/>
                  </a:lnTo>
                  <a:lnTo>
                    <a:pt x="28575" y="142875"/>
                  </a:lnTo>
                  <a:lnTo>
                    <a:pt x="15875" y="139700"/>
                  </a:lnTo>
                  <a:lnTo>
                    <a:pt x="9525" y="127000"/>
                  </a:lnTo>
                  <a:lnTo>
                    <a:pt x="9525" y="117475"/>
                  </a:lnTo>
                  <a:lnTo>
                    <a:pt x="6350" y="101600"/>
                  </a:lnTo>
                  <a:lnTo>
                    <a:pt x="3175" y="88900"/>
                  </a:lnTo>
                  <a:lnTo>
                    <a:pt x="0" y="69850"/>
                  </a:lnTo>
                  <a:lnTo>
                    <a:pt x="0" y="60325"/>
                  </a:lnTo>
                  <a:lnTo>
                    <a:pt x="3175" y="57150"/>
                  </a:lnTo>
                  <a:lnTo>
                    <a:pt x="9525" y="53975"/>
                  </a:lnTo>
                  <a:lnTo>
                    <a:pt x="6350" y="50800"/>
                  </a:lnTo>
                  <a:lnTo>
                    <a:pt x="6350" y="44450"/>
                  </a:lnTo>
                  <a:lnTo>
                    <a:pt x="12700" y="34925"/>
                  </a:lnTo>
                  <a:lnTo>
                    <a:pt x="19050" y="34925"/>
                  </a:lnTo>
                  <a:lnTo>
                    <a:pt x="47625" y="34925"/>
                  </a:lnTo>
                  <a:lnTo>
                    <a:pt x="53975" y="38100"/>
                  </a:lnTo>
                  <a:lnTo>
                    <a:pt x="60325" y="38100"/>
                  </a:lnTo>
                  <a:lnTo>
                    <a:pt x="76200" y="41275"/>
                  </a:lnTo>
                  <a:lnTo>
                    <a:pt x="85725" y="41275"/>
                  </a:lnTo>
                  <a:lnTo>
                    <a:pt x="95250" y="47625"/>
                  </a:lnTo>
                  <a:lnTo>
                    <a:pt x="101600" y="38100"/>
                  </a:lnTo>
                  <a:lnTo>
                    <a:pt x="107950" y="28575"/>
                  </a:lnTo>
                  <a:lnTo>
                    <a:pt x="117475" y="19050"/>
                  </a:lnTo>
                  <a:lnTo>
                    <a:pt x="130175" y="12700"/>
                  </a:lnTo>
                  <a:lnTo>
                    <a:pt x="15240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4" name="Google Shape;573;p35">
              <a:extLst>
                <a:ext uri="{FF2B5EF4-FFF2-40B4-BE49-F238E27FC236}">
                  <a16:creationId xmlns:a16="http://schemas.microsoft.com/office/drawing/2014/main" id="{3D809DDA-8F55-489C-E5BA-80F2AD94E9EE}"/>
                </a:ext>
              </a:extLst>
            </p:cNvPr>
            <p:cNvSpPr/>
            <p:nvPr/>
          </p:nvSpPr>
          <p:spPr>
            <a:xfrm>
              <a:off x="6585665" y="4367292"/>
              <a:ext cx="128588" cy="111443"/>
            </a:xfrm>
            <a:custGeom>
              <a:avLst/>
              <a:gdLst/>
              <a:ahLst/>
              <a:cxnLst/>
              <a:rect l="l" t="t" r="r" b="b"/>
              <a:pathLst>
                <a:path w="142875" h="123825" extrusionOk="0">
                  <a:moveTo>
                    <a:pt x="76200" y="47625"/>
                  </a:moveTo>
                  <a:lnTo>
                    <a:pt x="85725" y="53975"/>
                  </a:lnTo>
                  <a:lnTo>
                    <a:pt x="79375" y="53975"/>
                  </a:lnTo>
                  <a:lnTo>
                    <a:pt x="76200" y="53975"/>
                  </a:lnTo>
                  <a:close/>
                  <a:moveTo>
                    <a:pt x="44450" y="0"/>
                  </a:moveTo>
                  <a:lnTo>
                    <a:pt x="53975" y="15875"/>
                  </a:lnTo>
                  <a:lnTo>
                    <a:pt x="57150" y="31750"/>
                  </a:lnTo>
                  <a:lnTo>
                    <a:pt x="60325" y="47625"/>
                  </a:lnTo>
                  <a:lnTo>
                    <a:pt x="73025" y="63500"/>
                  </a:lnTo>
                  <a:lnTo>
                    <a:pt x="79375" y="69850"/>
                  </a:lnTo>
                  <a:lnTo>
                    <a:pt x="82550" y="69850"/>
                  </a:lnTo>
                  <a:lnTo>
                    <a:pt x="85725" y="69850"/>
                  </a:lnTo>
                  <a:lnTo>
                    <a:pt x="101600" y="79375"/>
                  </a:lnTo>
                  <a:lnTo>
                    <a:pt x="114300" y="92075"/>
                  </a:lnTo>
                  <a:lnTo>
                    <a:pt x="120650" y="98425"/>
                  </a:lnTo>
                  <a:lnTo>
                    <a:pt x="133350" y="111125"/>
                  </a:lnTo>
                  <a:lnTo>
                    <a:pt x="142875" y="117475"/>
                  </a:lnTo>
                  <a:lnTo>
                    <a:pt x="136525" y="123825"/>
                  </a:lnTo>
                  <a:lnTo>
                    <a:pt x="130175" y="123825"/>
                  </a:lnTo>
                  <a:lnTo>
                    <a:pt x="117475" y="114300"/>
                  </a:lnTo>
                  <a:lnTo>
                    <a:pt x="104775" y="104775"/>
                  </a:lnTo>
                  <a:lnTo>
                    <a:pt x="98425" y="92075"/>
                  </a:lnTo>
                  <a:lnTo>
                    <a:pt x="85725" y="85725"/>
                  </a:lnTo>
                  <a:lnTo>
                    <a:pt x="73025" y="79375"/>
                  </a:lnTo>
                  <a:lnTo>
                    <a:pt x="63500" y="82550"/>
                  </a:lnTo>
                  <a:lnTo>
                    <a:pt x="47625" y="79375"/>
                  </a:lnTo>
                  <a:lnTo>
                    <a:pt x="38100" y="76200"/>
                  </a:lnTo>
                  <a:lnTo>
                    <a:pt x="34925" y="73025"/>
                  </a:lnTo>
                  <a:lnTo>
                    <a:pt x="31750" y="76200"/>
                  </a:lnTo>
                  <a:lnTo>
                    <a:pt x="28575" y="82550"/>
                  </a:lnTo>
                  <a:lnTo>
                    <a:pt x="22225" y="88900"/>
                  </a:lnTo>
                  <a:lnTo>
                    <a:pt x="12700" y="79375"/>
                  </a:lnTo>
                  <a:lnTo>
                    <a:pt x="6350" y="82550"/>
                  </a:lnTo>
                  <a:lnTo>
                    <a:pt x="0" y="85725"/>
                  </a:lnTo>
                  <a:lnTo>
                    <a:pt x="0" y="63500"/>
                  </a:lnTo>
                  <a:lnTo>
                    <a:pt x="3175" y="53975"/>
                  </a:lnTo>
                  <a:lnTo>
                    <a:pt x="9525" y="41275"/>
                  </a:lnTo>
                  <a:lnTo>
                    <a:pt x="9525" y="34925"/>
                  </a:lnTo>
                  <a:lnTo>
                    <a:pt x="9525" y="25400"/>
                  </a:lnTo>
                  <a:lnTo>
                    <a:pt x="12700" y="22225"/>
                  </a:lnTo>
                  <a:lnTo>
                    <a:pt x="19050" y="22225"/>
                  </a:lnTo>
                  <a:lnTo>
                    <a:pt x="22225" y="15875"/>
                  </a:lnTo>
                  <a:lnTo>
                    <a:pt x="28575" y="12700"/>
                  </a:lnTo>
                  <a:lnTo>
                    <a:pt x="34925" y="1270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5" name="Google Shape;574;p35">
              <a:extLst>
                <a:ext uri="{FF2B5EF4-FFF2-40B4-BE49-F238E27FC236}">
                  <a16:creationId xmlns:a16="http://schemas.microsoft.com/office/drawing/2014/main" id="{4631EF74-8434-CF33-C7CB-D586DB9C53F0}"/>
                </a:ext>
              </a:extLst>
            </p:cNvPr>
            <p:cNvSpPr/>
            <p:nvPr/>
          </p:nvSpPr>
          <p:spPr>
            <a:xfrm>
              <a:off x="6688535" y="4473020"/>
              <a:ext cx="31432" cy="37147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10" y="4"/>
                  </a:move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6" y="24"/>
                  </a:lnTo>
                  <a:lnTo>
                    <a:pt x="12" y="22"/>
                  </a:lnTo>
                  <a:lnTo>
                    <a:pt x="16" y="24"/>
                  </a:lnTo>
                  <a:lnTo>
                    <a:pt x="20" y="18"/>
                  </a:lnTo>
                  <a:lnTo>
                    <a:pt x="12" y="16"/>
                  </a:lnTo>
                  <a:lnTo>
                    <a:pt x="12" y="14"/>
                  </a:lnTo>
                  <a:lnTo>
                    <a:pt x="18" y="12"/>
                  </a:lnTo>
                  <a:lnTo>
                    <a:pt x="22" y="10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6" name="Google Shape;575;p35">
              <a:extLst>
                <a:ext uri="{FF2B5EF4-FFF2-40B4-BE49-F238E27FC236}">
                  <a16:creationId xmlns:a16="http://schemas.microsoft.com/office/drawing/2014/main" id="{3A794B02-1A8D-80F6-FC6E-B4FBCE64EEEB}"/>
                </a:ext>
              </a:extLst>
            </p:cNvPr>
            <p:cNvSpPr/>
            <p:nvPr/>
          </p:nvSpPr>
          <p:spPr>
            <a:xfrm>
              <a:off x="6882845" y="4198700"/>
              <a:ext cx="88582" cy="74295"/>
            </a:xfrm>
            <a:custGeom>
              <a:avLst/>
              <a:gdLst/>
              <a:ahLst/>
              <a:cxnLst/>
              <a:rect l="l" t="t" r="r" b="b"/>
              <a:pathLst>
                <a:path w="62" h="52" extrusionOk="0">
                  <a:moveTo>
                    <a:pt x="6" y="40"/>
                  </a:moveTo>
                  <a:lnTo>
                    <a:pt x="10" y="46"/>
                  </a:lnTo>
                  <a:lnTo>
                    <a:pt x="14" y="48"/>
                  </a:lnTo>
                  <a:lnTo>
                    <a:pt x="36" y="50"/>
                  </a:lnTo>
                  <a:lnTo>
                    <a:pt x="40" y="52"/>
                  </a:lnTo>
                  <a:lnTo>
                    <a:pt x="46" y="50"/>
                  </a:lnTo>
                  <a:lnTo>
                    <a:pt x="48" y="42"/>
                  </a:lnTo>
                  <a:lnTo>
                    <a:pt x="52" y="30"/>
                  </a:lnTo>
                  <a:lnTo>
                    <a:pt x="54" y="26"/>
                  </a:lnTo>
                  <a:lnTo>
                    <a:pt x="54" y="20"/>
                  </a:lnTo>
                  <a:lnTo>
                    <a:pt x="58" y="18"/>
                  </a:lnTo>
                  <a:lnTo>
                    <a:pt x="58" y="20"/>
                  </a:lnTo>
                  <a:lnTo>
                    <a:pt x="62" y="18"/>
                  </a:lnTo>
                  <a:lnTo>
                    <a:pt x="62" y="14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58" y="0"/>
                  </a:lnTo>
                  <a:lnTo>
                    <a:pt x="54" y="8"/>
                  </a:lnTo>
                  <a:lnTo>
                    <a:pt x="48" y="12"/>
                  </a:lnTo>
                  <a:lnTo>
                    <a:pt x="40" y="20"/>
                  </a:lnTo>
                  <a:lnTo>
                    <a:pt x="38" y="22"/>
                  </a:lnTo>
                  <a:lnTo>
                    <a:pt x="36" y="26"/>
                  </a:lnTo>
                  <a:lnTo>
                    <a:pt x="24" y="30"/>
                  </a:lnTo>
                  <a:lnTo>
                    <a:pt x="16" y="30"/>
                  </a:lnTo>
                  <a:lnTo>
                    <a:pt x="12" y="30"/>
                  </a:lnTo>
                  <a:lnTo>
                    <a:pt x="8" y="32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6" y="40"/>
                  </a:lnTo>
                  <a:close/>
                </a:path>
              </a:pathLst>
            </a:custGeom>
            <a:solidFill>
              <a:srgbClr val="B68EE0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7" name="Google Shape;576;p35">
              <a:extLst>
                <a:ext uri="{FF2B5EF4-FFF2-40B4-BE49-F238E27FC236}">
                  <a16:creationId xmlns:a16="http://schemas.microsoft.com/office/drawing/2014/main" id="{2302C809-E35A-5A39-D55B-7DFE29979A07}"/>
                </a:ext>
              </a:extLst>
            </p:cNvPr>
            <p:cNvSpPr/>
            <p:nvPr/>
          </p:nvSpPr>
          <p:spPr>
            <a:xfrm>
              <a:off x="6885702" y="4224417"/>
              <a:ext cx="154305" cy="171450"/>
            </a:xfrm>
            <a:custGeom>
              <a:avLst/>
              <a:gdLst/>
              <a:ahLst/>
              <a:cxnLst/>
              <a:rect l="l" t="t" r="r" b="b"/>
              <a:pathLst>
                <a:path w="108" h="120" extrusionOk="0">
                  <a:moveTo>
                    <a:pt x="56" y="0"/>
                  </a:moveTo>
                  <a:lnTo>
                    <a:pt x="52" y="2"/>
                  </a:lnTo>
                  <a:lnTo>
                    <a:pt x="52" y="8"/>
                  </a:lnTo>
                  <a:lnTo>
                    <a:pt x="50" y="12"/>
                  </a:lnTo>
                  <a:lnTo>
                    <a:pt x="46" y="24"/>
                  </a:lnTo>
                  <a:lnTo>
                    <a:pt x="44" y="32"/>
                  </a:lnTo>
                  <a:lnTo>
                    <a:pt x="50" y="40"/>
                  </a:lnTo>
                  <a:lnTo>
                    <a:pt x="50" y="44"/>
                  </a:lnTo>
                  <a:lnTo>
                    <a:pt x="50" y="48"/>
                  </a:lnTo>
                  <a:lnTo>
                    <a:pt x="44" y="66"/>
                  </a:lnTo>
                  <a:lnTo>
                    <a:pt x="40" y="72"/>
                  </a:lnTo>
                  <a:lnTo>
                    <a:pt x="32" y="76"/>
                  </a:lnTo>
                  <a:lnTo>
                    <a:pt x="14" y="82"/>
                  </a:lnTo>
                  <a:lnTo>
                    <a:pt x="0" y="86"/>
                  </a:lnTo>
                  <a:lnTo>
                    <a:pt x="16" y="120"/>
                  </a:lnTo>
                  <a:lnTo>
                    <a:pt x="32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40" y="114"/>
                  </a:lnTo>
                  <a:lnTo>
                    <a:pt x="40" y="116"/>
                  </a:lnTo>
                  <a:lnTo>
                    <a:pt x="42" y="114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6" y="106"/>
                  </a:lnTo>
                  <a:lnTo>
                    <a:pt x="52" y="102"/>
                  </a:lnTo>
                  <a:lnTo>
                    <a:pt x="60" y="100"/>
                  </a:lnTo>
                  <a:lnTo>
                    <a:pt x="64" y="94"/>
                  </a:lnTo>
                  <a:lnTo>
                    <a:pt x="68" y="88"/>
                  </a:lnTo>
                  <a:lnTo>
                    <a:pt x="76" y="86"/>
                  </a:lnTo>
                  <a:lnTo>
                    <a:pt x="80" y="86"/>
                  </a:lnTo>
                  <a:lnTo>
                    <a:pt x="78" y="78"/>
                  </a:lnTo>
                  <a:lnTo>
                    <a:pt x="80" y="72"/>
                  </a:lnTo>
                  <a:lnTo>
                    <a:pt x="82" y="66"/>
                  </a:lnTo>
                  <a:lnTo>
                    <a:pt x="86" y="64"/>
                  </a:lnTo>
                  <a:lnTo>
                    <a:pt x="86" y="66"/>
                  </a:lnTo>
                  <a:lnTo>
                    <a:pt x="90" y="66"/>
                  </a:lnTo>
                  <a:lnTo>
                    <a:pt x="98" y="52"/>
                  </a:lnTo>
                  <a:lnTo>
                    <a:pt x="100" y="52"/>
                  </a:lnTo>
                  <a:lnTo>
                    <a:pt x="102" y="48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04" y="34"/>
                  </a:lnTo>
                  <a:lnTo>
                    <a:pt x="102" y="34"/>
                  </a:lnTo>
                  <a:lnTo>
                    <a:pt x="100" y="30"/>
                  </a:lnTo>
                  <a:lnTo>
                    <a:pt x="96" y="26"/>
                  </a:lnTo>
                  <a:lnTo>
                    <a:pt x="90" y="20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68" y="12"/>
                  </a:lnTo>
                  <a:lnTo>
                    <a:pt x="60" y="0"/>
                  </a:lnTo>
                  <a:lnTo>
                    <a:pt x="56" y="2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8" name="Google Shape;577;p35">
              <a:extLst>
                <a:ext uri="{FF2B5EF4-FFF2-40B4-BE49-F238E27FC236}">
                  <a16:creationId xmlns:a16="http://schemas.microsoft.com/office/drawing/2014/main" id="{1DF75AE4-4085-49AA-E447-0949E18E48E2}"/>
                </a:ext>
              </a:extLst>
            </p:cNvPr>
            <p:cNvSpPr/>
            <p:nvPr/>
          </p:nvSpPr>
          <p:spPr>
            <a:xfrm>
              <a:off x="6631385" y="3941525"/>
              <a:ext cx="188595" cy="194310"/>
            </a:xfrm>
            <a:custGeom>
              <a:avLst/>
              <a:gdLst/>
              <a:ahLst/>
              <a:cxnLst/>
              <a:rect l="l" t="t" r="r" b="b"/>
              <a:pathLst>
                <a:path w="132" h="136" extrusionOk="0">
                  <a:moveTo>
                    <a:pt x="126" y="114"/>
                  </a:moveTo>
                  <a:lnTo>
                    <a:pt x="124" y="104"/>
                  </a:lnTo>
                  <a:lnTo>
                    <a:pt x="122" y="104"/>
                  </a:lnTo>
                  <a:lnTo>
                    <a:pt x="120" y="100"/>
                  </a:lnTo>
                  <a:lnTo>
                    <a:pt x="122" y="92"/>
                  </a:lnTo>
                  <a:lnTo>
                    <a:pt x="118" y="84"/>
                  </a:lnTo>
                  <a:lnTo>
                    <a:pt x="116" y="82"/>
                  </a:lnTo>
                  <a:lnTo>
                    <a:pt x="114" y="80"/>
                  </a:lnTo>
                  <a:lnTo>
                    <a:pt x="106" y="76"/>
                  </a:lnTo>
                  <a:lnTo>
                    <a:pt x="102" y="74"/>
                  </a:lnTo>
                  <a:lnTo>
                    <a:pt x="100" y="70"/>
                  </a:lnTo>
                  <a:lnTo>
                    <a:pt x="96" y="62"/>
                  </a:lnTo>
                  <a:lnTo>
                    <a:pt x="94" y="64"/>
                  </a:lnTo>
                  <a:lnTo>
                    <a:pt x="92" y="60"/>
                  </a:lnTo>
                  <a:lnTo>
                    <a:pt x="90" y="58"/>
                  </a:lnTo>
                  <a:lnTo>
                    <a:pt x="90" y="54"/>
                  </a:lnTo>
                  <a:lnTo>
                    <a:pt x="96" y="42"/>
                  </a:lnTo>
                  <a:lnTo>
                    <a:pt x="96" y="38"/>
                  </a:lnTo>
                  <a:lnTo>
                    <a:pt x="100" y="38"/>
                  </a:lnTo>
                  <a:lnTo>
                    <a:pt x="98" y="34"/>
                  </a:lnTo>
                  <a:lnTo>
                    <a:pt x="98" y="28"/>
                  </a:lnTo>
                  <a:lnTo>
                    <a:pt x="90" y="22"/>
                  </a:lnTo>
                  <a:lnTo>
                    <a:pt x="88" y="24"/>
                  </a:lnTo>
                  <a:lnTo>
                    <a:pt x="88" y="18"/>
                  </a:lnTo>
                  <a:lnTo>
                    <a:pt x="84" y="16"/>
                  </a:lnTo>
                  <a:lnTo>
                    <a:pt x="82" y="10"/>
                  </a:lnTo>
                  <a:lnTo>
                    <a:pt x="80" y="4"/>
                  </a:lnTo>
                  <a:lnTo>
                    <a:pt x="78" y="4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2" y="2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0" y="14"/>
                  </a:lnTo>
                  <a:lnTo>
                    <a:pt x="34" y="16"/>
                  </a:lnTo>
                  <a:lnTo>
                    <a:pt x="32" y="22"/>
                  </a:lnTo>
                  <a:lnTo>
                    <a:pt x="30" y="50"/>
                  </a:lnTo>
                  <a:lnTo>
                    <a:pt x="0" y="66"/>
                  </a:lnTo>
                  <a:lnTo>
                    <a:pt x="2" y="78"/>
                  </a:lnTo>
                  <a:lnTo>
                    <a:pt x="4" y="82"/>
                  </a:lnTo>
                  <a:lnTo>
                    <a:pt x="6" y="84"/>
                  </a:lnTo>
                  <a:lnTo>
                    <a:pt x="4" y="86"/>
                  </a:lnTo>
                  <a:lnTo>
                    <a:pt x="16" y="88"/>
                  </a:lnTo>
                  <a:lnTo>
                    <a:pt x="24" y="92"/>
                  </a:lnTo>
                  <a:lnTo>
                    <a:pt x="34" y="98"/>
                  </a:lnTo>
                  <a:lnTo>
                    <a:pt x="44" y="102"/>
                  </a:lnTo>
                  <a:lnTo>
                    <a:pt x="50" y="108"/>
                  </a:lnTo>
                  <a:lnTo>
                    <a:pt x="58" y="114"/>
                  </a:lnTo>
                  <a:lnTo>
                    <a:pt x="74" y="128"/>
                  </a:lnTo>
                  <a:lnTo>
                    <a:pt x="80" y="132"/>
                  </a:lnTo>
                  <a:lnTo>
                    <a:pt x="86" y="134"/>
                  </a:lnTo>
                  <a:lnTo>
                    <a:pt x="98" y="136"/>
                  </a:lnTo>
                  <a:lnTo>
                    <a:pt x="102" y="136"/>
                  </a:lnTo>
                  <a:lnTo>
                    <a:pt x="104" y="134"/>
                  </a:lnTo>
                  <a:lnTo>
                    <a:pt x="112" y="122"/>
                  </a:lnTo>
                  <a:lnTo>
                    <a:pt x="116" y="120"/>
                  </a:lnTo>
                  <a:lnTo>
                    <a:pt x="124" y="120"/>
                  </a:lnTo>
                  <a:lnTo>
                    <a:pt x="132" y="122"/>
                  </a:lnTo>
                  <a:lnTo>
                    <a:pt x="126" y="114"/>
                  </a:lnTo>
                  <a:lnTo>
                    <a:pt x="126" y="11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9" name="Google Shape;578;p35">
              <a:extLst>
                <a:ext uri="{FF2B5EF4-FFF2-40B4-BE49-F238E27FC236}">
                  <a16:creationId xmlns:a16="http://schemas.microsoft.com/office/drawing/2014/main" id="{37CE9E4C-7438-6ABD-31D9-2F1B1517A80E}"/>
                </a:ext>
              </a:extLst>
            </p:cNvPr>
            <p:cNvSpPr/>
            <p:nvPr/>
          </p:nvSpPr>
          <p:spPr>
            <a:xfrm>
              <a:off x="6568520" y="3944382"/>
              <a:ext cx="131445" cy="117157"/>
            </a:xfrm>
            <a:custGeom>
              <a:avLst/>
              <a:gdLst/>
              <a:ahLst/>
              <a:cxnLst/>
              <a:rect l="l" t="t" r="r" b="b"/>
              <a:pathLst>
                <a:path w="92" h="82" extrusionOk="0">
                  <a:moveTo>
                    <a:pt x="12" y="44"/>
                  </a:moveTo>
                  <a:lnTo>
                    <a:pt x="10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10" y="80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44" y="64"/>
                  </a:lnTo>
                  <a:lnTo>
                    <a:pt x="74" y="48"/>
                  </a:lnTo>
                  <a:lnTo>
                    <a:pt x="76" y="20"/>
                  </a:lnTo>
                  <a:lnTo>
                    <a:pt x="78" y="14"/>
                  </a:lnTo>
                  <a:lnTo>
                    <a:pt x="84" y="12"/>
                  </a:lnTo>
                  <a:lnTo>
                    <a:pt x="92" y="4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0" y="4"/>
                  </a:lnTo>
                  <a:lnTo>
                    <a:pt x="72" y="2"/>
                  </a:lnTo>
                  <a:lnTo>
                    <a:pt x="62" y="6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2" y="10"/>
                  </a:lnTo>
                  <a:lnTo>
                    <a:pt x="40" y="8"/>
                  </a:lnTo>
                  <a:lnTo>
                    <a:pt x="36" y="6"/>
                  </a:lnTo>
                  <a:lnTo>
                    <a:pt x="26" y="8"/>
                  </a:lnTo>
                  <a:lnTo>
                    <a:pt x="14" y="8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4" y="22"/>
                  </a:lnTo>
                  <a:lnTo>
                    <a:pt x="2" y="28"/>
                  </a:lnTo>
                  <a:lnTo>
                    <a:pt x="4" y="3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10" y="44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0" name="Google Shape;579;p35">
              <a:extLst>
                <a:ext uri="{FF2B5EF4-FFF2-40B4-BE49-F238E27FC236}">
                  <a16:creationId xmlns:a16="http://schemas.microsoft.com/office/drawing/2014/main" id="{38993CCD-DB38-870D-DE99-8A5082D7ACDA}"/>
                </a:ext>
              </a:extLst>
            </p:cNvPr>
            <p:cNvSpPr/>
            <p:nvPr/>
          </p:nvSpPr>
          <p:spPr>
            <a:xfrm>
              <a:off x="6731397" y="3884374"/>
              <a:ext cx="374332" cy="440055"/>
            </a:xfrm>
            <a:custGeom>
              <a:avLst/>
              <a:gdLst/>
              <a:ahLst/>
              <a:cxnLst/>
              <a:rect l="l" t="t" r="r" b="b"/>
              <a:pathLst>
                <a:path w="415925" h="488950" extrusionOk="0">
                  <a:moveTo>
                    <a:pt x="320675" y="476250"/>
                  </a:moveTo>
                  <a:lnTo>
                    <a:pt x="320675" y="479425"/>
                  </a:lnTo>
                  <a:lnTo>
                    <a:pt x="320675" y="485775"/>
                  </a:lnTo>
                  <a:lnTo>
                    <a:pt x="317500" y="488950"/>
                  </a:lnTo>
                  <a:close/>
                  <a:moveTo>
                    <a:pt x="158750" y="349250"/>
                  </a:moveTo>
                  <a:lnTo>
                    <a:pt x="165100" y="355600"/>
                  </a:lnTo>
                  <a:lnTo>
                    <a:pt x="165100" y="371475"/>
                  </a:lnTo>
                  <a:lnTo>
                    <a:pt x="161925" y="381000"/>
                  </a:lnTo>
                  <a:lnTo>
                    <a:pt x="161925" y="384175"/>
                  </a:lnTo>
                  <a:lnTo>
                    <a:pt x="152400" y="387350"/>
                  </a:lnTo>
                  <a:lnTo>
                    <a:pt x="146050" y="381000"/>
                  </a:lnTo>
                  <a:lnTo>
                    <a:pt x="146050" y="374650"/>
                  </a:lnTo>
                  <a:lnTo>
                    <a:pt x="146050" y="365125"/>
                  </a:lnTo>
                  <a:lnTo>
                    <a:pt x="152400" y="355600"/>
                  </a:lnTo>
                  <a:close/>
                  <a:moveTo>
                    <a:pt x="269875" y="346075"/>
                  </a:moveTo>
                  <a:lnTo>
                    <a:pt x="263525" y="361950"/>
                  </a:lnTo>
                  <a:lnTo>
                    <a:pt x="263525" y="355600"/>
                  </a:lnTo>
                  <a:lnTo>
                    <a:pt x="260350" y="349250"/>
                  </a:lnTo>
                  <a:close/>
                  <a:moveTo>
                    <a:pt x="254000" y="330200"/>
                  </a:moveTo>
                  <a:lnTo>
                    <a:pt x="266700" y="330200"/>
                  </a:lnTo>
                  <a:lnTo>
                    <a:pt x="254000" y="336550"/>
                  </a:lnTo>
                  <a:lnTo>
                    <a:pt x="244475" y="339725"/>
                  </a:lnTo>
                  <a:lnTo>
                    <a:pt x="244475" y="336550"/>
                  </a:lnTo>
                  <a:close/>
                  <a:moveTo>
                    <a:pt x="73025" y="254000"/>
                  </a:moveTo>
                  <a:lnTo>
                    <a:pt x="85725" y="254000"/>
                  </a:lnTo>
                  <a:lnTo>
                    <a:pt x="85725" y="263525"/>
                  </a:lnTo>
                  <a:lnTo>
                    <a:pt x="85725" y="273050"/>
                  </a:lnTo>
                  <a:lnTo>
                    <a:pt x="95250" y="292100"/>
                  </a:lnTo>
                  <a:lnTo>
                    <a:pt x="82550" y="292100"/>
                  </a:lnTo>
                  <a:lnTo>
                    <a:pt x="76200" y="285750"/>
                  </a:lnTo>
                  <a:lnTo>
                    <a:pt x="76200" y="279400"/>
                  </a:lnTo>
                  <a:lnTo>
                    <a:pt x="69850" y="279400"/>
                  </a:lnTo>
                  <a:lnTo>
                    <a:pt x="53975" y="276225"/>
                  </a:lnTo>
                  <a:lnTo>
                    <a:pt x="66675" y="257175"/>
                  </a:lnTo>
                  <a:close/>
                  <a:moveTo>
                    <a:pt x="9525" y="0"/>
                  </a:moveTo>
                  <a:lnTo>
                    <a:pt x="12700" y="0"/>
                  </a:lnTo>
                  <a:lnTo>
                    <a:pt x="15875" y="3175"/>
                  </a:lnTo>
                  <a:lnTo>
                    <a:pt x="31750" y="19050"/>
                  </a:lnTo>
                  <a:lnTo>
                    <a:pt x="47625" y="22225"/>
                  </a:lnTo>
                  <a:lnTo>
                    <a:pt x="53975" y="22225"/>
                  </a:lnTo>
                  <a:lnTo>
                    <a:pt x="73025" y="6350"/>
                  </a:lnTo>
                  <a:lnTo>
                    <a:pt x="85725" y="0"/>
                  </a:lnTo>
                  <a:lnTo>
                    <a:pt x="95250" y="9525"/>
                  </a:lnTo>
                  <a:lnTo>
                    <a:pt x="92075" y="19050"/>
                  </a:lnTo>
                  <a:lnTo>
                    <a:pt x="85725" y="22225"/>
                  </a:lnTo>
                  <a:lnTo>
                    <a:pt x="92075" y="28575"/>
                  </a:lnTo>
                  <a:lnTo>
                    <a:pt x="98425" y="34925"/>
                  </a:lnTo>
                  <a:lnTo>
                    <a:pt x="104775" y="34925"/>
                  </a:lnTo>
                  <a:lnTo>
                    <a:pt x="120650" y="38100"/>
                  </a:lnTo>
                  <a:lnTo>
                    <a:pt x="133350" y="38100"/>
                  </a:lnTo>
                  <a:lnTo>
                    <a:pt x="158750" y="28575"/>
                  </a:lnTo>
                  <a:lnTo>
                    <a:pt x="168275" y="44450"/>
                  </a:lnTo>
                  <a:lnTo>
                    <a:pt x="174625" y="50800"/>
                  </a:lnTo>
                  <a:lnTo>
                    <a:pt x="184150" y="53975"/>
                  </a:lnTo>
                  <a:lnTo>
                    <a:pt x="196850" y="60325"/>
                  </a:lnTo>
                  <a:lnTo>
                    <a:pt x="206375" y="66675"/>
                  </a:lnTo>
                  <a:lnTo>
                    <a:pt x="212725" y="63500"/>
                  </a:lnTo>
                  <a:lnTo>
                    <a:pt x="231775" y="60325"/>
                  </a:lnTo>
                  <a:lnTo>
                    <a:pt x="244475" y="47625"/>
                  </a:lnTo>
                  <a:lnTo>
                    <a:pt x="257175" y="41275"/>
                  </a:lnTo>
                  <a:lnTo>
                    <a:pt x="269875" y="41275"/>
                  </a:lnTo>
                  <a:lnTo>
                    <a:pt x="285750" y="38100"/>
                  </a:lnTo>
                  <a:lnTo>
                    <a:pt x="285750" y="41275"/>
                  </a:lnTo>
                  <a:lnTo>
                    <a:pt x="292100" y="44450"/>
                  </a:lnTo>
                  <a:lnTo>
                    <a:pt x="307975" y="53975"/>
                  </a:lnTo>
                  <a:lnTo>
                    <a:pt x="311150" y="53975"/>
                  </a:lnTo>
                  <a:lnTo>
                    <a:pt x="320675" y="57150"/>
                  </a:lnTo>
                  <a:lnTo>
                    <a:pt x="342900" y="73025"/>
                  </a:lnTo>
                  <a:lnTo>
                    <a:pt x="349250" y="76200"/>
                  </a:lnTo>
                  <a:lnTo>
                    <a:pt x="352425" y="82550"/>
                  </a:lnTo>
                  <a:lnTo>
                    <a:pt x="371475" y="82550"/>
                  </a:lnTo>
                  <a:lnTo>
                    <a:pt x="368300" y="101600"/>
                  </a:lnTo>
                  <a:lnTo>
                    <a:pt x="371475" y="111125"/>
                  </a:lnTo>
                  <a:lnTo>
                    <a:pt x="371475" y="123825"/>
                  </a:lnTo>
                  <a:lnTo>
                    <a:pt x="368300" y="133350"/>
                  </a:lnTo>
                  <a:lnTo>
                    <a:pt x="365125" y="139700"/>
                  </a:lnTo>
                  <a:lnTo>
                    <a:pt x="358775" y="146050"/>
                  </a:lnTo>
                  <a:lnTo>
                    <a:pt x="355600" y="149225"/>
                  </a:lnTo>
                  <a:lnTo>
                    <a:pt x="355600" y="155575"/>
                  </a:lnTo>
                  <a:lnTo>
                    <a:pt x="358775" y="184150"/>
                  </a:lnTo>
                  <a:lnTo>
                    <a:pt x="365125" y="200025"/>
                  </a:lnTo>
                  <a:lnTo>
                    <a:pt x="361950" y="203200"/>
                  </a:lnTo>
                  <a:lnTo>
                    <a:pt x="361950" y="209550"/>
                  </a:lnTo>
                  <a:lnTo>
                    <a:pt x="361950" y="215900"/>
                  </a:lnTo>
                  <a:lnTo>
                    <a:pt x="368300" y="219075"/>
                  </a:lnTo>
                  <a:lnTo>
                    <a:pt x="374650" y="219075"/>
                  </a:lnTo>
                  <a:lnTo>
                    <a:pt x="384175" y="219075"/>
                  </a:lnTo>
                  <a:lnTo>
                    <a:pt x="384175" y="222250"/>
                  </a:lnTo>
                  <a:lnTo>
                    <a:pt x="384175" y="231775"/>
                  </a:lnTo>
                  <a:lnTo>
                    <a:pt x="384175" y="234950"/>
                  </a:lnTo>
                  <a:lnTo>
                    <a:pt x="365125" y="257175"/>
                  </a:lnTo>
                  <a:lnTo>
                    <a:pt x="374650" y="269875"/>
                  </a:lnTo>
                  <a:lnTo>
                    <a:pt x="377825" y="279400"/>
                  </a:lnTo>
                  <a:lnTo>
                    <a:pt x="387350" y="288925"/>
                  </a:lnTo>
                  <a:lnTo>
                    <a:pt x="396875" y="292100"/>
                  </a:lnTo>
                  <a:lnTo>
                    <a:pt x="403225" y="298450"/>
                  </a:lnTo>
                  <a:lnTo>
                    <a:pt x="406400" y="298450"/>
                  </a:lnTo>
                  <a:lnTo>
                    <a:pt x="406400" y="304800"/>
                  </a:lnTo>
                  <a:lnTo>
                    <a:pt x="406400" y="314325"/>
                  </a:lnTo>
                  <a:lnTo>
                    <a:pt x="409575" y="320675"/>
                  </a:lnTo>
                  <a:lnTo>
                    <a:pt x="412750" y="320675"/>
                  </a:lnTo>
                  <a:lnTo>
                    <a:pt x="415925" y="323850"/>
                  </a:lnTo>
                  <a:lnTo>
                    <a:pt x="412750" y="336550"/>
                  </a:lnTo>
                  <a:lnTo>
                    <a:pt x="406400" y="336550"/>
                  </a:lnTo>
                  <a:lnTo>
                    <a:pt x="396875" y="339725"/>
                  </a:lnTo>
                  <a:lnTo>
                    <a:pt x="393700" y="346075"/>
                  </a:lnTo>
                  <a:lnTo>
                    <a:pt x="387350" y="346075"/>
                  </a:lnTo>
                  <a:lnTo>
                    <a:pt x="384175" y="349250"/>
                  </a:lnTo>
                  <a:lnTo>
                    <a:pt x="381000" y="371475"/>
                  </a:lnTo>
                  <a:lnTo>
                    <a:pt x="374650" y="374650"/>
                  </a:lnTo>
                  <a:lnTo>
                    <a:pt x="368300" y="371475"/>
                  </a:lnTo>
                  <a:lnTo>
                    <a:pt x="361950" y="368300"/>
                  </a:lnTo>
                  <a:lnTo>
                    <a:pt x="355600" y="368300"/>
                  </a:lnTo>
                  <a:lnTo>
                    <a:pt x="339725" y="365125"/>
                  </a:lnTo>
                  <a:lnTo>
                    <a:pt x="327025" y="365125"/>
                  </a:lnTo>
                  <a:lnTo>
                    <a:pt x="317500" y="361950"/>
                  </a:lnTo>
                  <a:lnTo>
                    <a:pt x="301625" y="358775"/>
                  </a:lnTo>
                  <a:lnTo>
                    <a:pt x="288925" y="358775"/>
                  </a:lnTo>
                  <a:lnTo>
                    <a:pt x="285750" y="352425"/>
                  </a:lnTo>
                  <a:lnTo>
                    <a:pt x="282575" y="346075"/>
                  </a:lnTo>
                  <a:lnTo>
                    <a:pt x="282575" y="339725"/>
                  </a:lnTo>
                  <a:lnTo>
                    <a:pt x="282575" y="336550"/>
                  </a:lnTo>
                  <a:lnTo>
                    <a:pt x="276225" y="323850"/>
                  </a:lnTo>
                  <a:lnTo>
                    <a:pt x="266700" y="323850"/>
                  </a:lnTo>
                  <a:lnTo>
                    <a:pt x="260350" y="323850"/>
                  </a:lnTo>
                  <a:lnTo>
                    <a:pt x="250825" y="327025"/>
                  </a:lnTo>
                  <a:lnTo>
                    <a:pt x="244475" y="333375"/>
                  </a:lnTo>
                  <a:lnTo>
                    <a:pt x="231775" y="339725"/>
                  </a:lnTo>
                  <a:lnTo>
                    <a:pt x="215900" y="336550"/>
                  </a:lnTo>
                  <a:lnTo>
                    <a:pt x="193675" y="323850"/>
                  </a:lnTo>
                  <a:lnTo>
                    <a:pt x="187325" y="320675"/>
                  </a:lnTo>
                  <a:lnTo>
                    <a:pt x="184150" y="314325"/>
                  </a:lnTo>
                  <a:lnTo>
                    <a:pt x="174625" y="307975"/>
                  </a:lnTo>
                  <a:lnTo>
                    <a:pt x="165100" y="307975"/>
                  </a:lnTo>
                  <a:lnTo>
                    <a:pt x="158750" y="298450"/>
                  </a:lnTo>
                  <a:lnTo>
                    <a:pt x="152400" y="285750"/>
                  </a:lnTo>
                  <a:lnTo>
                    <a:pt x="142875" y="269875"/>
                  </a:lnTo>
                  <a:lnTo>
                    <a:pt x="136525" y="257175"/>
                  </a:lnTo>
                  <a:lnTo>
                    <a:pt x="123825" y="250825"/>
                  </a:lnTo>
                  <a:lnTo>
                    <a:pt x="120650" y="254000"/>
                  </a:lnTo>
                  <a:lnTo>
                    <a:pt x="114300" y="250825"/>
                  </a:lnTo>
                  <a:lnTo>
                    <a:pt x="107950" y="250825"/>
                  </a:lnTo>
                  <a:lnTo>
                    <a:pt x="104775" y="254000"/>
                  </a:lnTo>
                  <a:lnTo>
                    <a:pt x="98425" y="257175"/>
                  </a:lnTo>
                  <a:lnTo>
                    <a:pt x="88900" y="244475"/>
                  </a:lnTo>
                  <a:lnTo>
                    <a:pt x="85725" y="228600"/>
                  </a:lnTo>
                  <a:lnTo>
                    <a:pt x="82550" y="228600"/>
                  </a:lnTo>
                  <a:lnTo>
                    <a:pt x="79375" y="222250"/>
                  </a:lnTo>
                  <a:lnTo>
                    <a:pt x="82550" y="209550"/>
                  </a:lnTo>
                  <a:lnTo>
                    <a:pt x="76200" y="196850"/>
                  </a:lnTo>
                  <a:lnTo>
                    <a:pt x="73025" y="193675"/>
                  </a:lnTo>
                  <a:lnTo>
                    <a:pt x="69850" y="190500"/>
                  </a:lnTo>
                  <a:lnTo>
                    <a:pt x="57150" y="184150"/>
                  </a:lnTo>
                  <a:lnTo>
                    <a:pt x="50800" y="180975"/>
                  </a:lnTo>
                  <a:lnTo>
                    <a:pt x="47625" y="174625"/>
                  </a:lnTo>
                  <a:lnTo>
                    <a:pt x="41275" y="161925"/>
                  </a:lnTo>
                  <a:lnTo>
                    <a:pt x="38100" y="165100"/>
                  </a:lnTo>
                  <a:lnTo>
                    <a:pt x="34925" y="158750"/>
                  </a:lnTo>
                  <a:lnTo>
                    <a:pt x="31750" y="155575"/>
                  </a:lnTo>
                  <a:lnTo>
                    <a:pt x="31750" y="149225"/>
                  </a:lnTo>
                  <a:lnTo>
                    <a:pt x="41275" y="130175"/>
                  </a:lnTo>
                  <a:lnTo>
                    <a:pt x="41275" y="123825"/>
                  </a:lnTo>
                  <a:lnTo>
                    <a:pt x="47625" y="123825"/>
                  </a:lnTo>
                  <a:lnTo>
                    <a:pt x="44450" y="117475"/>
                  </a:lnTo>
                  <a:lnTo>
                    <a:pt x="44450" y="107950"/>
                  </a:lnTo>
                  <a:lnTo>
                    <a:pt x="31750" y="98425"/>
                  </a:lnTo>
                  <a:lnTo>
                    <a:pt x="28575" y="101600"/>
                  </a:lnTo>
                  <a:lnTo>
                    <a:pt x="28575" y="92075"/>
                  </a:lnTo>
                  <a:lnTo>
                    <a:pt x="22225" y="88900"/>
                  </a:lnTo>
                  <a:lnTo>
                    <a:pt x="19050" y="79375"/>
                  </a:lnTo>
                  <a:lnTo>
                    <a:pt x="15875" y="69850"/>
                  </a:lnTo>
                  <a:lnTo>
                    <a:pt x="12700" y="60325"/>
                  </a:lnTo>
                  <a:lnTo>
                    <a:pt x="6350" y="50800"/>
                  </a:lnTo>
                  <a:lnTo>
                    <a:pt x="6350" y="41275"/>
                  </a:lnTo>
                  <a:lnTo>
                    <a:pt x="6350" y="28575"/>
                  </a:lnTo>
                  <a:lnTo>
                    <a:pt x="6350" y="22225"/>
                  </a:lnTo>
                  <a:lnTo>
                    <a:pt x="3175" y="19050"/>
                  </a:lnTo>
                  <a:lnTo>
                    <a:pt x="0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1" name="Google Shape;580;p35">
              <a:extLst>
                <a:ext uri="{FF2B5EF4-FFF2-40B4-BE49-F238E27FC236}">
                  <a16:creationId xmlns:a16="http://schemas.microsoft.com/office/drawing/2014/main" id="{9A1CAD23-8193-97B8-8F1E-D9DB405149C5}"/>
                </a:ext>
              </a:extLst>
            </p:cNvPr>
            <p:cNvSpPr/>
            <p:nvPr/>
          </p:nvSpPr>
          <p:spPr>
            <a:xfrm>
              <a:off x="7051437" y="3915807"/>
              <a:ext cx="280035" cy="211455"/>
            </a:xfrm>
            <a:custGeom>
              <a:avLst/>
              <a:gdLst/>
              <a:ahLst/>
              <a:cxnLst/>
              <a:rect l="l" t="t" r="r" b="b"/>
              <a:pathLst>
                <a:path w="196" h="148" extrusionOk="0">
                  <a:moveTo>
                    <a:pt x="192" y="18"/>
                  </a:moveTo>
                  <a:lnTo>
                    <a:pt x="186" y="18"/>
                  </a:lnTo>
                  <a:lnTo>
                    <a:pt x="182" y="20"/>
                  </a:lnTo>
                  <a:lnTo>
                    <a:pt x="178" y="20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66" y="24"/>
                  </a:lnTo>
                  <a:lnTo>
                    <a:pt x="158" y="26"/>
                  </a:lnTo>
                  <a:lnTo>
                    <a:pt x="152" y="30"/>
                  </a:lnTo>
                  <a:lnTo>
                    <a:pt x="150" y="22"/>
                  </a:lnTo>
                  <a:lnTo>
                    <a:pt x="150" y="8"/>
                  </a:lnTo>
                  <a:lnTo>
                    <a:pt x="148" y="8"/>
                  </a:lnTo>
                  <a:lnTo>
                    <a:pt x="148" y="4"/>
                  </a:lnTo>
                  <a:lnTo>
                    <a:pt x="144" y="0"/>
                  </a:lnTo>
                  <a:lnTo>
                    <a:pt x="136" y="4"/>
                  </a:lnTo>
                  <a:lnTo>
                    <a:pt x="134" y="8"/>
                  </a:lnTo>
                  <a:lnTo>
                    <a:pt x="132" y="10"/>
                  </a:lnTo>
                  <a:lnTo>
                    <a:pt x="128" y="14"/>
                  </a:lnTo>
                  <a:lnTo>
                    <a:pt x="122" y="16"/>
                  </a:lnTo>
                  <a:lnTo>
                    <a:pt x="122" y="22"/>
                  </a:lnTo>
                  <a:lnTo>
                    <a:pt x="118" y="22"/>
                  </a:lnTo>
                  <a:lnTo>
                    <a:pt x="112" y="20"/>
                  </a:lnTo>
                  <a:lnTo>
                    <a:pt x="106" y="22"/>
                  </a:lnTo>
                  <a:lnTo>
                    <a:pt x="106" y="24"/>
                  </a:lnTo>
                  <a:lnTo>
                    <a:pt x="100" y="22"/>
                  </a:lnTo>
                  <a:lnTo>
                    <a:pt x="98" y="20"/>
                  </a:lnTo>
                  <a:lnTo>
                    <a:pt x="92" y="18"/>
                  </a:lnTo>
                  <a:lnTo>
                    <a:pt x="82" y="18"/>
                  </a:lnTo>
                  <a:lnTo>
                    <a:pt x="78" y="18"/>
                  </a:lnTo>
                  <a:lnTo>
                    <a:pt x="72" y="16"/>
                  </a:lnTo>
                  <a:lnTo>
                    <a:pt x="70" y="18"/>
                  </a:lnTo>
                  <a:lnTo>
                    <a:pt x="66" y="20"/>
                  </a:lnTo>
                  <a:lnTo>
                    <a:pt x="60" y="22"/>
                  </a:lnTo>
                  <a:lnTo>
                    <a:pt x="58" y="28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48" y="40"/>
                  </a:lnTo>
                  <a:lnTo>
                    <a:pt x="36" y="44"/>
                  </a:lnTo>
                  <a:lnTo>
                    <a:pt x="38" y="46"/>
                  </a:lnTo>
                  <a:lnTo>
                    <a:pt x="36" y="48"/>
                  </a:lnTo>
                  <a:lnTo>
                    <a:pt x="34" y="52"/>
                  </a:lnTo>
                  <a:lnTo>
                    <a:pt x="30" y="54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4" y="54"/>
                  </a:lnTo>
                  <a:lnTo>
                    <a:pt x="20" y="50"/>
                  </a:lnTo>
                  <a:lnTo>
                    <a:pt x="10" y="48"/>
                  </a:lnTo>
                  <a:lnTo>
                    <a:pt x="10" y="56"/>
                  </a:lnTo>
                  <a:lnTo>
                    <a:pt x="8" y="62"/>
                  </a:lnTo>
                  <a:lnTo>
                    <a:pt x="6" y="66"/>
                  </a:lnTo>
                  <a:lnTo>
                    <a:pt x="2" y="70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2" y="94"/>
                  </a:lnTo>
                  <a:lnTo>
                    <a:pt x="6" y="104"/>
                  </a:lnTo>
                  <a:lnTo>
                    <a:pt x="4" y="106"/>
                  </a:lnTo>
                  <a:lnTo>
                    <a:pt x="4" y="110"/>
                  </a:lnTo>
                  <a:lnTo>
                    <a:pt x="4" y="114"/>
                  </a:lnTo>
                  <a:lnTo>
                    <a:pt x="8" y="116"/>
                  </a:lnTo>
                  <a:lnTo>
                    <a:pt x="12" y="116"/>
                  </a:lnTo>
                  <a:lnTo>
                    <a:pt x="18" y="116"/>
                  </a:lnTo>
                  <a:lnTo>
                    <a:pt x="18" y="118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6"/>
                  </a:lnTo>
                  <a:lnTo>
                    <a:pt x="6" y="140"/>
                  </a:lnTo>
                  <a:lnTo>
                    <a:pt x="24" y="146"/>
                  </a:lnTo>
                  <a:lnTo>
                    <a:pt x="34" y="148"/>
                  </a:lnTo>
                  <a:lnTo>
                    <a:pt x="46" y="148"/>
                  </a:lnTo>
                  <a:lnTo>
                    <a:pt x="54" y="146"/>
                  </a:lnTo>
                  <a:lnTo>
                    <a:pt x="62" y="146"/>
                  </a:lnTo>
                  <a:lnTo>
                    <a:pt x="70" y="144"/>
                  </a:lnTo>
                  <a:lnTo>
                    <a:pt x="78" y="140"/>
                  </a:lnTo>
                  <a:lnTo>
                    <a:pt x="80" y="132"/>
                  </a:lnTo>
                  <a:lnTo>
                    <a:pt x="80" y="130"/>
                  </a:lnTo>
                  <a:lnTo>
                    <a:pt x="80" y="124"/>
                  </a:lnTo>
                  <a:lnTo>
                    <a:pt x="86" y="118"/>
                  </a:lnTo>
                  <a:lnTo>
                    <a:pt x="92" y="120"/>
                  </a:lnTo>
                  <a:lnTo>
                    <a:pt x="100" y="118"/>
                  </a:lnTo>
                  <a:lnTo>
                    <a:pt x="100" y="114"/>
                  </a:lnTo>
                  <a:lnTo>
                    <a:pt x="106" y="110"/>
                  </a:lnTo>
                  <a:lnTo>
                    <a:pt x="110" y="112"/>
                  </a:lnTo>
                  <a:lnTo>
                    <a:pt x="116" y="112"/>
                  </a:lnTo>
                  <a:lnTo>
                    <a:pt x="120" y="106"/>
                  </a:lnTo>
                  <a:lnTo>
                    <a:pt x="120" y="98"/>
                  </a:lnTo>
                  <a:lnTo>
                    <a:pt x="126" y="90"/>
                  </a:lnTo>
                  <a:lnTo>
                    <a:pt x="134" y="86"/>
                  </a:lnTo>
                  <a:lnTo>
                    <a:pt x="132" y="82"/>
                  </a:lnTo>
                  <a:lnTo>
                    <a:pt x="134" y="74"/>
                  </a:lnTo>
                  <a:lnTo>
                    <a:pt x="142" y="76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4" y="64"/>
                  </a:lnTo>
                  <a:lnTo>
                    <a:pt x="150" y="60"/>
                  </a:lnTo>
                  <a:lnTo>
                    <a:pt x="152" y="52"/>
                  </a:lnTo>
                  <a:lnTo>
                    <a:pt x="148" y="42"/>
                  </a:lnTo>
                  <a:lnTo>
                    <a:pt x="160" y="30"/>
                  </a:lnTo>
                  <a:lnTo>
                    <a:pt x="174" y="26"/>
                  </a:lnTo>
                  <a:lnTo>
                    <a:pt x="180" y="26"/>
                  </a:lnTo>
                  <a:lnTo>
                    <a:pt x="184" y="26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4" y="18"/>
                  </a:lnTo>
                  <a:lnTo>
                    <a:pt x="192" y="1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2" name="Google Shape;581;p35">
              <a:extLst>
                <a:ext uri="{FF2B5EF4-FFF2-40B4-BE49-F238E27FC236}">
                  <a16:creationId xmlns:a16="http://schemas.microsoft.com/office/drawing/2014/main" id="{2C3EA91B-081A-307B-51E3-01800BDA2A72}"/>
                </a:ext>
              </a:extLst>
            </p:cNvPr>
            <p:cNvSpPr/>
            <p:nvPr/>
          </p:nvSpPr>
          <p:spPr>
            <a:xfrm>
              <a:off x="7060010" y="3950097"/>
              <a:ext cx="328612" cy="297180"/>
            </a:xfrm>
            <a:custGeom>
              <a:avLst/>
              <a:gdLst/>
              <a:ahLst/>
              <a:cxnLst/>
              <a:rect l="l" t="t" r="r" b="b"/>
              <a:pathLst>
                <a:path w="230" h="208" extrusionOk="0">
                  <a:moveTo>
                    <a:pt x="106" y="206"/>
                  </a:moveTo>
                  <a:lnTo>
                    <a:pt x="106" y="204"/>
                  </a:lnTo>
                  <a:lnTo>
                    <a:pt x="108" y="200"/>
                  </a:lnTo>
                  <a:lnTo>
                    <a:pt x="114" y="202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32" y="200"/>
                  </a:lnTo>
                  <a:lnTo>
                    <a:pt x="134" y="202"/>
                  </a:lnTo>
                  <a:lnTo>
                    <a:pt x="138" y="200"/>
                  </a:lnTo>
                  <a:lnTo>
                    <a:pt x="136" y="198"/>
                  </a:lnTo>
                  <a:lnTo>
                    <a:pt x="138" y="196"/>
                  </a:lnTo>
                  <a:lnTo>
                    <a:pt x="134" y="188"/>
                  </a:lnTo>
                  <a:lnTo>
                    <a:pt x="130" y="182"/>
                  </a:lnTo>
                  <a:lnTo>
                    <a:pt x="126" y="174"/>
                  </a:lnTo>
                  <a:lnTo>
                    <a:pt x="122" y="168"/>
                  </a:lnTo>
                  <a:lnTo>
                    <a:pt x="120" y="166"/>
                  </a:lnTo>
                  <a:lnTo>
                    <a:pt x="118" y="164"/>
                  </a:lnTo>
                  <a:lnTo>
                    <a:pt x="118" y="158"/>
                  </a:lnTo>
                  <a:lnTo>
                    <a:pt x="122" y="154"/>
                  </a:lnTo>
                  <a:lnTo>
                    <a:pt x="124" y="150"/>
                  </a:lnTo>
                  <a:lnTo>
                    <a:pt x="130" y="144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6" y="150"/>
                  </a:lnTo>
                  <a:lnTo>
                    <a:pt x="146" y="148"/>
                  </a:lnTo>
                  <a:lnTo>
                    <a:pt x="152" y="140"/>
                  </a:lnTo>
                  <a:lnTo>
                    <a:pt x="156" y="134"/>
                  </a:lnTo>
                  <a:lnTo>
                    <a:pt x="162" y="130"/>
                  </a:lnTo>
                  <a:lnTo>
                    <a:pt x="164" y="130"/>
                  </a:lnTo>
                  <a:lnTo>
                    <a:pt x="168" y="120"/>
                  </a:lnTo>
                  <a:lnTo>
                    <a:pt x="170" y="116"/>
                  </a:lnTo>
                  <a:lnTo>
                    <a:pt x="172" y="114"/>
                  </a:lnTo>
                  <a:lnTo>
                    <a:pt x="176" y="112"/>
                  </a:lnTo>
                  <a:lnTo>
                    <a:pt x="176" y="108"/>
                  </a:lnTo>
                  <a:lnTo>
                    <a:pt x="182" y="102"/>
                  </a:lnTo>
                  <a:lnTo>
                    <a:pt x="188" y="98"/>
                  </a:lnTo>
                  <a:lnTo>
                    <a:pt x="186" y="90"/>
                  </a:lnTo>
                  <a:lnTo>
                    <a:pt x="184" y="86"/>
                  </a:lnTo>
                  <a:lnTo>
                    <a:pt x="190" y="82"/>
                  </a:lnTo>
                  <a:lnTo>
                    <a:pt x="196" y="80"/>
                  </a:lnTo>
                  <a:lnTo>
                    <a:pt x="196" y="78"/>
                  </a:lnTo>
                  <a:lnTo>
                    <a:pt x="192" y="76"/>
                  </a:lnTo>
                  <a:lnTo>
                    <a:pt x="188" y="76"/>
                  </a:lnTo>
                  <a:lnTo>
                    <a:pt x="184" y="70"/>
                  </a:lnTo>
                  <a:lnTo>
                    <a:pt x="180" y="64"/>
                  </a:lnTo>
                  <a:lnTo>
                    <a:pt x="180" y="56"/>
                  </a:lnTo>
                  <a:lnTo>
                    <a:pt x="180" y="54"/>
                  </a:lnTo>
                  <a:lnTo>
                    <a:pt x="182" y="52"/>
                  </a:lnTo>
                  <a:lnTo>
                    <a:pt x="180" y="48"/>
                  </a:lnTo>
                  <a:lnTo>
                    <a:pt x="178" y="46"/>
                  </a:lnTo>
                  <a:lnTo>
                    <a:pt x="174" y="46"/>
                  </a:lnTo>
                  <a:lnTo>
                    <a:pt x="178" y="40"/>
                  </a:lnTo>
                  <a:lnTo>
                    <a:pt x="186" y="38"/>
                  </a:lnTo>
                  <a:lnTo>
                    <a:pt x="194" y="40"/>
                  </a:lnTo>
                  <a:lnTo>
                    <a:pt x="200" y="42"/>
                  </a:lnTo>
                  <a:lnTo>
                    <a:pt x="218" y="38"/>
                  </a:lnTo>
                  <a:lnTo>
                    <a:pt x="224" y="32"/>
                  </a:lnTo>
                  <a:lnTo>
                    <a:pt x="230" y="26"/>
                  </a:lnTo>
                  <a:lnTo>
                    <a:pt x="218" y="24"/>
                  </a:lnTo>
                  <a:lnTo>
                    <a:pt x="208" y="20"/>
                  </a:lnTo>
                  <a:lnTo>
                    <a:pt x="206" y="14"/>
                  </a:lnTo>
                  <a:lnTo>
                    <a:pt x="204" y="8"/>
                  </a:lnTo>
                  <a:lnTo>
                    <a:pt x="198" y="2"/>
                  </a:lnTo>
                  <a:lnTo>
                    <a:pt x="192" y="0"/>
                  </a:lnTo>
                  <a:lnTo>
                    <a:pt x="186" y="0"/>
                  </a:lnTo>
                  <a:lnTo>
                    <a:pt x="178" y="2"/>
                  </a:lnTo>
                  <a:lnTo>
                    <a:pt x="174" y="2"/>
                  </a:lnTo>
                  <a:lnTo>
                    <a:pt x="168" y="2"/>
                  </a:lnTo>
                  <a:lnTo>
                    <a:pt x="154" y="6"/>
                  </a:lnTo>
                  <a:lnTo>
                    <a:pt x="142" y="18"/>
                  </a:lnTo>
                  <a:lnTo>
                    <a:pt x="146" y="28"/>
                  </a:lnTo>
                  <a:lnTo>
                    <a:pt x="144" y="36"/>
                  </a:lnTo>
                  <a:lnTo>
                    <a:pt x="138" y="40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6" y="52"/>
                  </a:lnTo>
                  <a:lnTo>
                    <a:pt x="128" y="50"/>
                  </a:lnTo>
                  <a:lnTo>
                    <a:pt x="126" y="58"/>
                  </a:lnTo>
                  <a:lnTo>
                    <a:pt x="128" y="62"/>
                  </a:lnTo>
                  <a:lnTo>
                    <a:pt x="120" y="66"/>
                  </a:lnTo>
                  <a:lnTo>
                    <a:pt x="114" y="74"/>
                  </a:lnTo>
                  <a:lnTo>
                    <a:pt x="114" y="82"/>
                  </a:lnTo>
                  <a:lnTo>
                    <a:pt x="110" y="88"/>
                  </a:lnTo>
                  <a:lnTo>
                    <a:pt x="104" y="88"/>
                  </a:lnTo>
                  <a:lnTo>
                    <a:pt x="100" y="86"/>
                  </a:lnTo>
                  <a:lnTo>
                    <a:pt x="94" y="90"/>
                  </a:lnTo>
                  <a:lnTo>
                    <a:pt x="94" y="94"/>
                  </a:lnTo>
                  <a:lnTo>
                    <a:pt x="86" y="96"/>
                  </a:lnTo>
                  <a:lnTo>
                    <a:pt x="80" y="94"/>
                  </a:lnTo>
                  <a:lnTo>
                    <a:pt x="74" y="100"/>
                  </a:lnTo>
                  <a:lnTo>
                    <a:pt x="74" y="106"/>
                  </a:lnTo>
                  <a:lnTo>
                    <a:pt x="74" y="108"/>
                  </a:lnTo>
                  <a:lnTo>
                    <a:pt x="72" y="116"/>
                  </a:lnTo>
                  <a:lnTo>
                    <a:pt x="64" y="120"/>
                  </a:lnTo>
                  <a:lnTo>
                    <a:pt x="56" y="122"/>
                  </a:lnTo>
                  <a:lnTo>
                    <a:pt x="48" y="122"/>
                  </a:lnTo>
                  <a:lnTo>
                    <a:pt x="40" y="124"/>
                  </a:lnTo>
                  <a:lnTo>
                    <a:pt x="28" y="124"/>
                  </a:lnTo>
                  <a:lnTo>
                    <a:pt x="18" y="122"/>
                  </a:lnTo>
                  <a:lnTo>
                    <a:pt x="0" y="116"/>
                  </a:lnTo>
                  <a:lnTo>
                    <a:pt x="6" y="124"/>
                  </a:lnTo>
                  <a:lnTo>
                    <a:pt x="8" y="130"/>
                  </a:lnTo>
                  <a:lnTo>
                    <a:pt x="14" y="136"/>
                  </a:lnTo>
                  <a:lnTo>
                    <a:pt x="20" y="138"/>
                  </a:lnTo>
                  <a:lnTo>
                    <a:pt x="24" y="142"/>
                  </a:lnTo>
                  <a:lnTo>
                    <a:pt x="26" y="142"/>
                  </a:lnTo>
                  <a:lnTo>
                    <a:pt x="26" y="146"/>
                  </a:lnTo>
                  <a:lnTo>
                    <a:pt x="26" y="152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8"/>
                  </a:lnTo>
                  <a:lnTo>
                    <a:pt x="30" y="166"/>
                  </a:lnTo>
                  <a:lnTo>
                    <a:pt x="26" y="166"/>
                  </a:lnTo>
                  <a:lnTo>
                    <a:pt x="20" y="168"/>
                  </a:lnTo>
                  <a:lnTo>
                    <a:pt x="18" y="172"/>
                  </a:lnTo>
                  <a:lnTo>
                    <a:pt x="14" y="172"/>
                  </a:lnTo>
                  <a:lnTo>
                    <a:pt x="12" y="174"/>
                  </a:lnTo>
                  <a:lnTo>
                    <a:pt x="10" y="188"/>
                  </a:lnTo>
                  <a:lnTo>
                    <a:pt x="16" y="188"/>
                  </a:lnTo>
                  <a:lnTo>
                    <a:pt x="28" y="186"/>
                  </a:lnTo>
                  <a:lnTo>
                    <a:pt x="36" y="186"/>
                  </a:lnTo>
                  <a:lnTo>
                    <a:pt x="42" y="186"/>
                  </a:lnTo>
                  <a:lnTo>
                    <a:pt x="50" y="188"/>
                  </a:lnTo>
                  <a:lnTo>
                    <a:pt x="52" y="186"/>
                  </a:lnTo>
                  <a:lnTo>
                    <a:pt x="56" y="186"/>
                  </a:lnTo>
                  <a:lnTo>
                    <a:pt x="68" y="184"/>
                  </a:lnTo>
                  <a:lnTo>
                    <a:pt x="70" y="184"/>
                  </a:lnTo>
                  <a:lnTo>
                    <a:pt x="72" y="182"/>
                  </a:lnTo>
                  <a:lnTo>
                    <a:pt x="74" y="182"/>
                  </a:lnTo>
                  <a:lnTo>
                    <a:pt x="76" y="182"/>
                  </a:lnTo>
                  <a:lnTo>
                    <a:pt x="84" y="196"/>
                  </a:lnTo>
                  <a:lnTo>
                    <a:pt x="86" y="202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6" y="206"/>
                  </a:lnTo>
                  <a:lnTo>
                    <a:pt x="100" y="208"/>
                  </a:lnTo>
                  <a:lnTo>
                    <a:pt x="102" y="206"/>
                  </a:lnTo>
                  <a:lnTo>
                    <a:pt x="106" y="20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3" name="Google Shape;582;p35">
              <a:extLst>
                <a:ext uri="{FF2B5EF4-FFF2-40B4-BE49-F238E27FC236}">
                  <a16:creationId xmlns:a16="http://schemas.microsoft.com/office/drawing/2014/main" id="{0F630728-6AF0-7FD3-300E-14B1A374624C}"/>
                </a:ext>
              </a:extLst>
            </p:cNvPr>
            <p:cNvSpPr/>
            <p:nvPr/>
          </p:nvSpPr>
          <p:spPr>
            <a:xfrm>
              <a:off x="6557090" y="4007247"/>
              <a:ext cx="31432" cy="37147"/>
            </a:xfrm>
            <a:custGeom>
              <a:avLst/>
              <a:gdLst/>
              <a:ahLst/>
              <a:cxnLst/>
              <a:rect l="l" t="t" r="r" b="b"/>
              <a:pathLst>
                <a:path w="22" h="26" extrusionOk="0">
                  <a:moveTo>
                    <a:pt x="8" y="22"/>
                  </a:moveTo>
                  <a:lnTo>
                    <a:pt x="12" y="20"/>
                  </a:lnTo>
                  <a:lnTo>
                    <a:pt x="14" y="18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8" y="6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26"/>
                  </a:lnTo>
                  <a:lnTo>
                    <a:pt x="6" y="26"/>
                  </a:lnTo>
                  <a:lnTo>
                    <a:pt x="8" y="2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" name="Google Shape;583;p35">
              <a:extLst>
                <a:ext uri="{FF2B5EF4-FFF2-40B4-BE49-F238E27FC236}">
                  <a16:creationId xmlns:a16="http://schemas.microsoft.com/office/drawing/2014/main" id="{885EFB88-E03C-00B2-6EE3-B8C4A7F1B966}"/>
                </a:ext>
              </a:extLst>
            </p:cNvPr>
            <p:cNvSpPr/>
            <p:nvPr/>
          </p:nvSpPr>
          <p:spPr>
            <a:xfrm>
              <a:off x="6265624" y="3832940"/>
              <a:ext cx="160020" cy="168593"/>
            </a:xfrm>
            <a:custGeom>
              <a:avLst/>
              <a:gdLst/>
              <a:ahLst/>
              <a:cxnLst/>
              <a:rect l="l" t="t" r="r" b="b"/>
              <a:pathLst>
                <a:path w="177800" h="187325" extrusionOk="0">
                  <a:moveTo>
                    <a:pt x="76200" y="168275"/>
                  </a:moveTo>
                  <a:lnTo>
                    <a:pt x="85725" y="171450"/>
                  </a:lnTo>
                  <a:lnTo>
                    <a:pt x="92075" y="174625"/>
                  </a:lnTo>
                  <a:lnTo>
                    <a:pt x="98425" y="174625"/>
                  </a:lnTo>
                  <a:lnTo>
                    <a:pt x="101600" y="174625"/>
                  </a:lnTo>
                  <a:lnTo>
                    <a:pt x="104775" y="174625"/>
                  </a:lnTo>
                  <a:lnTo>
                    <a:pt x="107950" y="174625"/>
                  </a:lnTo>
                  <a:lnTo>
                    <a:pt x="111125" y="174625"/>
                  </a:lnTo>
                  <a:lnTo>
                    <a:pt x="133350" y="177800"/>
                  </a:lnTo>
                  <a:lnTo>
                    <a:pt x="136525" y="177800"/>
                  </a:lnTo>
                  <a:lnTo>
                    <a:pt x="136525" y="180975"/>
                  </a:lnTo>
                  <a:lnTo>
                    <a:pt x="130175" y="184150"/>
                  </a:lnTo>
                  <a:lnTo>
                    <a:pt x="114300" y="184150"/>
                  </a:lnTo>
                  <a:lnTo>
                    <a:pt x="104775" y="187325"/>
                  </a:lnTo>
                  <a:lnTo>
                    <a:pt x="101600" y="187325"/>
                  </a:lnTo>
                  <a:lnTo>
                    <a:pt x="101600" y="184150"/>
                  </a:lnTo>
                  <a:lnTo>
                    <a:pt x="88900" y="180975"/>
                  </a:lnTo>
                  <a:lnTo>
                    <a:pt x="79375" y="177800"/>
                  </a:lnTo>
                  <a:lnTo>
                    <a:pt x="76200" y="174625"/>
                  </a:lnTo>
                  <a:lnTo>
                    <a:pt x="76200" y="171450"/>
                  </a:lnTo>
                  <a:close/>
                  <a:moveTo>
                    <a:pt x="155575" y="165100"/>
                  </a:moveTo>
                  <a:lnTo>
                    <a:pt x="155575" y="168275"/>
                  </a:lnTo>
                  <a:lnTo>
                    <a:pt x="155575" y="171450"/>
                  </a:lnTo>
                  <a:lnTo>
                    <a:pt x="152400" y="174625"/>
                  </a:lnTo>
                  <a:lnTo>
                    <a:pt x="152400" y="171450"/>
                  </a:lnTo>
                  <a:lnTo>
                    <a:pt x="152400" y="168275"/>
                  </a:lnTo>
                  <a:close/>
                  <a:moveTo>
                    <a:pt x="177800" y="146050"/>
                  </a:moveTo>
                  <a:lnTo>
                    <a:pt x="177800" y="149225"/>
                  </a:lnTo>
                  <a:lnTo>
                    <a:pt x="174625" y="155575"/>
                  </a:lnTo>
                  <a:lnTo>
                    <a:pt x="168275" y="161925"/>
                  </a:lnTo>
                  <a:lnTo>
                    <a:pt x="168275" y="152400"/>
                  </a:lnTo>
                  <a:close/>
                  <a:moveTo>
                    <a:pt x="152400" y="133350"/>
                  </a:moveTo>
                  <a:lnTo>
                    <a:pt x="158750" y="133350"/>
                  </a:lnTo>
                  <a:lnTo>
                    <a:pt x="149225" y="139700"/>
                  </a:lnTo>
                  <a:close/>
                  <a:moveTo>
                    <a:pt x="142875" y="111125"/>
                  </a:moveTo>
                  <a:lnTo>
                    <a:pt x="149225" y="111125"/>
                  </a:lnTo>
                  <a:lnTo>
                    <a:pt x="152400" y="111125"/>
                  </a:lnTo>
                  <a:lnTo>
                    <a:pt x="146050" y="114300"/>
                  </a:lnTo>
                  <a:close/>
                  <a:moveTo>
                    <a:pt x="12700" y="92075"/>
                  </a:moveTo>
                  <a:lnTo>
                    <a:pt x="15875" y="101600"/>
                  </a:lnTo>
                  <a:lnTo>
                    <a:pt x="9525" y="98425"/>
                  </a:lnTo>
                  <a:close/>
                  <a:moveTo>
                    <a:pt x="127000" y="88900"/>
                  </a:moveTo>
                  <a:lnTo>
                    <a:pt x="133350" y="88900"/>
                  </a:lnTo>
                  <a:lnTo>
                    <a:pt x="130175" y="98425"/>
                  </a:lnTo>
                  <a:lnTo>
                    <a:pt x="127000" y="95250"/>
                  </a:lnTo>
                  <a:close/>
                  <a:moveTo>
                    <a:pt x="139700" y="66675"/>
                  </a:moveTo>
                  <a:lnTo>
                    <a:pt x="139700" y="76200"/>
                  </a:lnTo>
                  <a:lnTo>
                    <a:pt x="130175" y="76200"/>
                  </a:lnTo>
                  <a:lnTo>
                    <a:pt x="127000" y="73025"/>
                  </a:lnTo>
                  <a:lnTo>
                    <a:pt x="127000" y="69850"/>
                  </a:lnTo>
                  <a:close/>
                  <a:moveTo>
                    <a:pt x="133350" y="0"/>
                  </a:moveTo>
                  <a:lnTo>
                    <a:pt x="136525" y="0"/>
                  </a:lnTo>
                  <a:lnTo>
                    <a:pt x="139700" y="0"/>
                  </a:lnTo>
                  <a:lnTo>
                    <a:pt x="142875" y="3175"/>
                  </a:lnTo>
                  <a:lnTo>
                    <a:pt x="142875" y="9525"/>
                  </a:lnTo>
                  <a:lnTo>
                    <a:pt x="139700" y="19050"/>
                  </a:lnTo>
                  <a:lnTo>
                    <a:pt x="130175" y="28575"/>
                  </a:lnTo>
                  <a:lnTo>
                    <a:pt x="114300" y="22225"/>
                  </a:lnTo>
                  <a:lnTo>
                    <a:pt x="101600" y="25400"/>
                  </a:lnTo>
                  <a:lnTo>
                    <a:pt x="88900" y="25400"/>
                  </a:lnTo>
                  <a:lnTo>
                    <a:pt x="82550" y="25400"/>
                  </a:lnTo>
                  <a:lnTo>
                    <a:pt x="79375" y="34925"/>
                  </a:lnTo>
                  <a:lnTo>
                    <a:pt x="79375" y="41275"/>
                  </a:lnTo>
                  <a:lnTo>
                    <a:pt x="73025" y="41275"/>
                  </a:lnTo>
                  <a:lnTo>
                    <a:pt x="63500" y="31750"/>
                  </a:lnTo>
                  <a:lnTo>
                    <a:pt x="57150" y="34925"/>
                  </a:lnTo>
                  <a:lnTo>
                    <a:pt x="53975" y="44450"/>
                  </a:lnTo>
                  <a:lnTo>
                    <a:pt x="57150" y="50800"/>
                  </a:lnTo>
                  <a:lnTo>
                    <a:pt x="69850" y="69850"/>
                  </a:lnTo>
                  <a:lnTo>
                    <a:pt x="69850" y="73025"/>
                  </a:lnTo>
                  <a:lnTo>
                    <a:pt x="66675" y="73025"/>
                  </a:lnTo>
                  <a:lnTo>
                    <a:pt x="63500" y="66675"/>
                  </a:lnTo>
                  <a:lnTo>
                    <a:pt x="60325" y="73025"/>
                  </a:lnTo>
                  <a:lnTo>
                    <a:pt x="63500" y="73025"/>
                  </a:lnTo>
                  <a:lnTo>
                    <a:pt x="60325" y="79375"/>
                  </a:lnTo>
                  <a:lnTo>
                    <a:pt x="53975" y="79375"/>
                  </a:lnTo>
                  <a:lnTo>
                    <a:pt x="57150" y="82550"/>
                  </a:lnTo>
                  <a:lnTo>
                    <a:pt x="60325" y="82550"/>
                  </a:lnTo>
                  <a:lnTo>
                    <a:pt x="69850" y="76200"/>
                  </a:lnTo>
                  <a:lnTo>
                    <a:pt x="79375" y="85725"/>
                  </a:lnTo>
                  <a:lnTo>
                    <a:pt x="85725" y="85725"/>
                  </a:lnTo>
                  <a:lnTo>
                    <a:pt x="88900" y="92075"/>
                  </a:lnTo>
                  <a:lnTo>
                    <a:pt x="92075" y="98425"/>
                  </a:lnTo>
                  <a:lnTo>
                    <a:pt x="98425" y="101600"/>
                  </a:lnTo>
                  <a:lnTo>
                    <a:pt x="95250" y="104775"/>
                  </a:lnTo>
                  <a:lnTo>
                    <a:pt x="92075" y="101600"/>
                  </a:lnTo>
                  <a:lnTo>
                    <a:pt x="85725" y="92075"/>
                  </a:lnTo>
                  <a:lnTo>
                    <a:pt x="76200" y="88900"/>
                  </a:lnTo>
                  <a:lnTo>
                    <a:pt x="66675" y="82550"/>
                  </a:lnTo>
                  <a:lnTo>
                    <a:pt x="63500" y="82550"/>
                  </a:lnTo>
                  <a:lnTo>
                    <a:pt x="66675" y="85725"/>
                  </a:lnTo>
                  <a:lnTo>
                    <a:pt x="82550" y="95250"/>
                  </a:lnTo>
                  <a:lnTo>
                    <a:pt x="85725" y="98425"/>
                  </a:lnTo>
                  <a:lnTo>
                    <a:pt x="88900" y="107950"/>
                  </a:lnTo>
                  <a:lnTo>
                    <a:pt x="85725" y="114300"/>
                  </a:lnTo>
                  <a:lnTo>
                    <a:pt x="79375" y="111125"/>
                  </a:lnTo>
                  <a:lnTo>
                    <a:pt x="73025" y="104775"/>
                  </a:lnTo>
                  <a:lnTo>
                    <a:pt x="66675" y="104775"/>
                  </a:lnTo>
                  <a:lnTo>
                    <a:pt x="63500" y="111125"/>
                  </a:lnTo>
                  <a:lnTo>
                    <a:pt x="60325" y="120650"/>
                  </a:lnTo>
                  <a:lnTo>
                    <a:pt x="63500" y="127000"/>
                  </a:lnTo>
                  <a:lnTo>
                    <a:pt x="66675" y="142875"/>
                  </a:lnTo>
                  <a:lnTo>
                    <a:pt x="66675" y="146050"/>
                  </a:lnTo>
                  <a:lnTo>
                    <a:pt x="60325" y="136525"/>
                  </a:lnTo>
                  <a:lnTo>
                    <a:pt x="53975" y="136525"/>
                  </a:lnTo>
                  <a:lnTo>
                    <a:pt x="53975" y="146050"/>
                  </a:lnTo>
                  <a:lnTo>
                    <a:pt x="50800" y="146050"/>
                  </a:lnTo>
                  <a:lnTo>
                    <a:pt x="50800" y="139700"/>
                  </a:lnTo>
                  <a:lnTo>
                    <a:pt x="47625" y="133350"/>
                  </a:lnTo>
                  <a:lnTo>
                    <a:pt x="41275" y="130175"/>
                  </a:lnTo>
                  <a:lnTo>
                    <a:pt x="41275" y="136525"/>
                  </a:lnTo>
                  <a:lnTo>
                    <a:pt x="34925" y="130175"/>
                  </a:lnTo>
                  <a:lnTo>
                    <a:pt x="34925" y="127000"/>
                  </a:lnTo>
                  <a:lnTo>
                    <a:pt x="34925" y="123825"/>
                  </a:lnTo>
                  <a:lnTo>
                    <a:pt x="28575" y="114300"/>
                  </a:lnTo>
                  <a:lnTo>
                    <a:pt x="25400" y="104775"/>
                  </a:lnTo>
                  <a:lnTo>
                    <a:pt x="28575" y="98425"/>
                  </a:lnTo>
                  <a:lnTo>
                    <a:pt x="38100" y="98425"/>
                  </a:lnTo>
                  <a:lnTo>
                    <a:pt x="47625" y="98425"/>
                  </a:lnTo>
                  <a:lnTo>
                    <a:pt x="57150" y="104775"/>
                  </a:lnTo>
                  <a:lnTo>
                    <a:pt x="66675" y="101600"/>
                  </a:lnTo>
                  <a:lnTo>
                    <a:pt x="66675" y="98425"/>
                  </a:lnTo>
                  <a:lnTo>
                    <a:pt x="50800" y="92075"/>
                  </a:lnTo>
                  <a:lnTo>
                    <a:pt x="38100" y="92075"/>
                  </a:lnTo>
                  <a:lnTo>
                    <a:pt x="25400" y="95250"/>
                  </a:lnTo>
                  <a:lnTo>
                    <a:pt x="19050" y="85725"/>
                  </a:lnTo>
                  <a:lnTo>
                    <a:pt x="15875" y="82550"/>
                  </a:lnTo>
                  <a:lnTo>
                    <a:pt x="12700" y="73025"/>
                  </a:lnTo>
                  <a:lnTo>
                    <a:pt x="9525" y="69850"/>
                  </a:lnTo>
                  <a:lnTo>
                    <a:pt x="6350" y="69850"/>
                  </a:lnTo>
                  <a:lnTo>
                    <a:pt x="3175" y="63500"/>
                  </a:lnTo>
                  <a:lnTo>
                    <a:pt x="0" y="57150"/>
                  </a:lnTo>
                  <a:lnTo>
                    <a:pt x="6350" y="53975"/>
                  </a:lnTo>
                  <a:lnTo>
                    <a:pt x="12700" y="47625"/>
                  </a:lnTo>
                  <a:lnTo>
                    <a:pt x="22225" y="34925"/>
                  </a:lnTo>
                  <a:lnTo>
                    <a:pt x="22225" y="25400"/>
                  </a:lnTo>
                  <a:lnTo>
                    <a:pt x="38100" y="22225"/>
                  </a:lnTo>
                  <a:lnTo>
                    <a:pt x="41275" y="19050"/>
                  </a:lnTo>
                  <a:lnTo>
                    <a:pt x="47625" y="15875"/>
                  </a:lnTo>
                  <a:lnTo>
                    <a:pt x="53975" y="15875"/>
                  </a:lnTo>
                  <a:lnTo>
                    <a:pt x="57150" y="15875"/>
                  </a:lnTo>
                  <a:lnTo>
                    <a:pt x="60325" y="12700"/>
                  </a:lnTo>
                  <a:lnTo>
                    <a:pt x="63500" y="9525"/>
                  </a:lnTo>
                  <a:lnTo>
                    <a:pt x="82550" y="6350"/>
                  </a:lnTo>
                  <a:lnTo>
                    <a:pt x="92075" y="3175"/>
                  </a:lnTo>
                  <a:lnTo>
                    <a:pt x="101600" y="6350"/>
                  </a:lnTo>
                  <a:lnTo>
                    <a:pt x="111125" y="12700"/>
                  </a:lnTo>
                  <a:lnTo>
                    <a:pt x="114300" y="12700"/>
                  </a:lnTo>
                  <a:lnTo>
                    <a:pt x="117475" y="12700"/>
                  </a:lnTo>
                  <a:lnTo>
                    <a:pt x="130175" y="1270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5" name="Google Shape;584;p35">
              <a:extLst>
                <a:ext uri="{FF2B5EF4-FFF2-40B4-BE49-F238E27FC236}">
                  <a16:creationId xmlns:a16="http://schemas.microsoft.com/office/drawing/2014/main" id="{7B9CA2B1-1957-7E7E-E63D-D3E0EE1C2283}"/>
                </a:ext>
              </a:extLst>
            </p:cNvPr>
            <p:cNvSpPr/>
            <p:nvPr/>
          </p:nvSpPr>
          <p:spPr>
            <a:xfrm>
              <a:off x="6505655" y="3990102"/>
              <a:ext cx="34290" cy="20002"/>
            </a:xfrm>
            <a:custGeom>
              <a:avLst/>
              <a:gdLst/>
              <a:ahLst/>
              <a:cxnLst/>
              <a:rect l="l" t="t" r="r" b="b"/>
              <a:pathLst>
                <a:path w="24" h="14" extrusionOk="0">
                  <a:moveTo>
                    <a:pt x="8" y="14"/>
                  </a:moveTo>
                  <a:lnTo>
                    <a:pt x="10" y="12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6" y="12"/>
                  </a:lnTo>
                  <a:lnTo>
                    <a:pt x="8" y="1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" name="Google Shape;585;p35">
              <a:extLst>
                <a:ext uri="{FF2B5EF4-FFF2-40B4-BE49-F238E27FC236}">
                  <a16:creationId xmlns:a16="http://schemas.microsoft.com/office/drawing/2014/main" id="{B73BD37A-28B4-619A-ADA1-CECC8CA76F4F}"/>
                </a:ext>
              </a:extLst>
            </p:cNvPr>
            <p:cNvSpPr/>
            <p:nvPr/>
          </p:nvSpPr>
          <p:spPr>
            <a:xfrm>
              <a:off x="6542802" y="4078685"/>
              <a:ext cx="2857" cy="8572"/>
            </a:xfrm>
            <a:custGeom>
              <a:avLst/>
              <a:gdLst/>
              <a:ahLst/>
              <a:cxnLst/>
              <a:rect l="l" t="t" r="r" b="b"/>
              <a:pathLst>
                <a:path w="2" h="6" extrusionOk="0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37" name="Google Shape;586;p35">
              <a:extLst>
                <a:ext uri="{FF2B5EF4-FFF2-40B4-BE49-F238E27FC236}">
                  <a16:creationId xmlns:a16="http://schemas.microsoft.com/office/drawing/2014/main" id="{25FDFF2A-8D97-9FAD-877D-D87556063A2F}"/>
                </a:ext>
              </a:extLst>
            </p:cNvPr>
            <p:cNvGrpSpPr/>
            <p:nvPr/>
          </p:nvGrpSpPr>
          <p:grpSpPr>
            <a:xfrm>
              <a:off x="6542802" y="4038680"/>
              <a:ext cx="25717" cy="85725"/>
              <a:chOff x="6542802" y="4038680"/>
              <a:chExt cx="25717" cy="85725"/>
            </a:xfrm>
          </p:grpSpPr>
          <p:sp>
            <p:nvSpPr>
              <p:cNvPr id="238" name="Google Shape;587;p35">
                <a:extLst>
                  <a:ext uri="{FF2B5EF4-FFF2-40B4-BE49-F238E27FC236}">
                    <a16:creationId xmlns:a16="http://schemas.microsoft.com/office/drawing/2014/main" id="{3F35395A-ACB5-CA25-8A05-5D621571800B}"/>
                  </a:ext>
                </a:extLst>
              </p:cNvPr>
              <p:cNvSpPr/>
              <p:nvPr/>
            </p:nvSpPr>
            <p:spPr>
              <a:xfrm>
                <a:off x="6542802" y="4038680"/>
                <a:ext cx="25717" cy="85725"/>
              </a:xfrm>
              <a:custGeom>
                <a:avLst/>
                <a:gdLst/>
                <a:ahLst/>
                <a:cxnLst/>
                <a:rect l="l" t="t" r="r" b="b"/>
                <a:pathLst>
                  <a:path w="18" h="60" extrusionOk="0">
                    <a:moveTo>
                      <a:pt x="8" y="60"/>
                    </a:moveTo>
                    <a:lnTo>
                      <a:pt x="10" y="60"/>
                    </a:lnTo>
                    <a:lnTo>
                      <a:pt x="10" y="52"/>
                    </a:lnTo>
                    <a:lnTo>
                      <a:pt x="12" y="46"/>
                    </a:lnTo>
                    <a:lnTo>
                      <a:pt x="14" y="38"/>
                    </a:lnTo>
                    <a:lnTo>
                      <a:pt x="16" y="28"/>
                    </a:lnTo>
                    <a:lnTo>
                      <a:pt x="12" y="30"/>
                    </a:lnTo>
                    <a:lnTo>
                      <a:pt x="8" y="32"/>
                    </a:lnTo>
                    <a:lnTo>
                      <a:pt x="12" y="24"/>
                    </a:lnTo>
                    <a:lnTo>
                      <a:pt x="10" y="20"/>
                    </a:lnTo>
                    <a:lnTo>
                      <a:pt x="10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6" y="4"/>
                    </a:lnTo>
                    <a:lnTo>
                      <a:pt x="10" y="4"/>
                    </a:lnTo>
                    <a:lnTo>
                      <a:pt x="8" y="1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8" y="60"/>
                    </a:lnTo>
                    <a:close/>
                  </a:path>
                </a:pathLst>
              </a:custGeom>
              <a:solidFill>
                <a:srgbClr val="E3E8EB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/>
              <a:p>
                <a:endParaRPr sz="18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9" name="Google Shape;588;p35">
                <a:extLst>
                  <a:ext uri="{FF2B5EF4-FFF2-40B4-BE49-F238E27FC236}">
                    <a16:creationId xmlns:a16="http://schemas.microsoft.com/office/drawing/2014/main" id="{AF546339-8BF4-3AE8-9B77-BE551B68B028}"/>
                  </a:ext>
                </a:extLst>
              </p:cNvPr>
              <p:cNvSpPr/>
              <p:nvPr/>
            </p:nvSpPr>
            <p:spPr>
              <a:xfrm>
                <a:off x="6554232" y="4058682"/>
                <a:ext cx="14287" cy="25717"/>
              </a:xfrm>
              <a:custGeom>
                <a:avLst/>
                <a:gdLst/>
                <a:ahLst/>
                <a:cxnLst/>
                <a:rect l="l" t="t" r="r" b="b"/>
                <a:pathLst>
                  <a:path w="10" h="18" extrusionOk="0">
                    <a:moveTo>
                      <a:pt x="10" y="4"/>
                    </a:moveTo>
                    <a:lnTo>
                      <a:pt x="10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4" y="16"/>
                    </a:lnTo>
                    <a:lnTo>
                      <a:pt x="8" y="14"/>
                    </a:lnTo>
                    <a:lnTo>
                      <a:pt x="8" y="6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E3E8EB"/>
              </a:solidFill>
              <a:ln w="9525" cap="flat" cmpd="sng">
                <a:solidFill>
                  <a:schemeClr val="dk1"/>
                </a:solidFill>
                <a:prstDash val="dash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/>
              <a:p>
                <a:endParaRPr sz="18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38" name="Google Shape;589;p35">
              <a:extLst>
                <a:ext uri="{FF2B5EF4-FFF2-40B4-BE49-F238E27FC236}">
                  <a16:creationId xmlns:a16="http://schemas.microsoft.com/office/drawing/2014/main" id="{4A76099C-14BA-0013-6FFB-7F5B7C2CC451}"/>
                </a:ext>
              </a:extLst>
            </p:cNvPr>
            <p:cNvSpPr/>
            <p:nvPr/>
          </p:nvSpPr>
          <p:spPr>
            <a:xfrm>
              <a:off x="6557090" y="4035822"/>
              <a:ext cx="82867" cy="94297"/>
            </a:xfrm>
            <a:custGeom>
              <a:avLst/>
              <a:gdLst/>
              <a:ahLst/>
              <a:cxnLst/>
              <a:rect l="l" t="t" r="r" b="b"/>
              <a:pathLst>
                <a:path w="58" h="66" extrusionOk="0">
                  <a:moveTo>
                    <a:pt x="16" y="66"/>
                  </a:moveTo>
                  <a:lnTo>
                    <a:pt x="22" y="60"/>
                  </a:lnTo>
                  <a:lnTo>
                    <a:pt x="24" y="56"/>
                  </a:lnTo>
                  <a:lnTo>
                    <a:pt x="26" y="56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6" y="50"/>
                  </a:lnTo>
                  <a:lnTo>
                    <a:pt x="40" y="46"/>
                  </a:lnTo>
                  <a:lnTo>
                    <a:pt x="30" y="34"/>
                  </a:lnTo>
                  <a:lnTo>
                    <a:pt x="26" y="30"/>
                  </a:lnTo>
                  <a:lnTo>
                    <a:pt x="42" y="26"/>
                  </a:lnTo>
                  <a:lnTo>
                    <a:pt x="50" y="24"/>
                  </a:lnTo>
                  <a:lnTo>
                    <a:pt x="54" y="22"/>
                  </a:lnTo>
                  <a:lnTo>
                    <a:pt x="56" y="20"/>
                  </a:lnTo>
                  <a:lnTo>
                    <a:pt x="58" y="18"/>
                  </a:lnTo>
                  <a:lnTo>
                    <a:pt x="56" y="16"/>
                  </a:lnTo>
                  <a:lnTo>
                    <a:pt x="54" y="12"/>
                  </a:lnTo>
                  <a:lnTo>
                    <a:pt x="52" y="0"/>
                  </a:lnTo>
                  <a:lnTo>
                    <a:pt x="32" y="12"/>
                  </a:lnTo>
                  <a:lnTo>
                    <a:pt x="28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8" y="16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6" y="22"/>
                  </a:lnTo>
                  <a:lnTo>
                    <a:pt x="6" y="30"/>
                  </a:lnTo>
                  <a:lnTo>
                    <a:pt x="4" y="40"/>
                  </a:lnTo>
                  <a:lnTo>
                    <a:pt x="2" y="48"/>
                  </a:lnTo>
                  <a:lnTo>
                    <a:pt x="0" y="54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12" y="66"/>
                  </a:lnTo>
                  <a:lnTo>
                    <a:pt x="16" y="6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" name="Google Shape;590;p35">
              <a:extLst>
                <a:ext uri="{FF2B5EF4-FFF2-40B4-BE49-F238E27FC236}">
                  <a16:creationId xmlns:a16="http://schemas.microsoft.com/office/drawing/2014/main" id="{4D2C5C89-2C07-4FB5-AFB1-5D9469B9C402}"/>
                </a:ext>
              </a:extLst>
            </p:cNvPr>
            <p:cNvSpPr/>
            <p:nvPr/>
          </p:nvSpPr>
          <p:spPr>
            <a:xfrm>
              <a:off x="6234192" y="3788648"/>
              <a:ext cx="37147" cy="41434"/>
            </a:xfrm>
            <a:custGeom>
              <a:avLst/>
              <a:gdLst/>
              <a:ahLst/>
              <a:cxnLst/>
              <a:rect l="l" t="t" r="r" b="b"/>
              <a:pathLst>
                <a:path w="26" h="29" extrusionOk="0">
                  <a:moveTo>
                    <a:pt x="12" y="23"/>
                  </a:moveTo>
                  <a:lnTo>
                    <a:pt x="16" y="18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4"/>
                  </a:lnTo>
                  <a:lnTo>
                    <a:pt x="6" y="2"/>
                  </a:lnTo>
                  <a:lnTo>
                    <a:pt x="2" y="8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6" y="23"/>
                  </a:lnTo>
                  <a:lnTo>
                    <a:pt x="14" y="29"/>
                  </a:lnTo>
                  <a:lnTo>
                    <a:pt x="14" y="25"/>
                  </a:lnTo>
                  <a:lnTo>
                    <a:pt x="12" y="23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" name="Google Shape;591;p35">
              <a:extLst>
                <a:ext uri="{FF2B5EF4-FFF2-40B4-BE49-F238E27FC236}">
                  <a16:creationId xmlns:a16="http://schemas.microsoft.com/office/drawing/2014/main" id="{84C9AD1D-08C7-0B28-40E9-007C1202E799}"/>
                </a:ext>
              </a:extLst>
            </p:cNvPr>
            <p:cNvSpPr/>
            <p:nvPr/>
          </p:nvSpPr>
          <p:spPr>
            <a:xfrm>
              <a:off x="6265625" y="3794363"/>
              <a:ext cx="34290" cy="32862"/>
            </a:xfrm>
            <a:custGeom>
              <a:avLst/>
              <a:gdLst/>
              <a:ahLst/>
              <a:cxnLst/>
              <a:rect l="l" t="t" r="r" b="b"/>
              <a:pathLst>
                <a:path w="24" h="23" extrusionOk="0">
                  <a:moveTo>
                    <a:pt x="20" y="18"/>
                  </a:moveTo>
                  <a:lnTo>
                    <a:pt x="22" y="18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8" y="23"/>
                  </a:lnTo>
                  <a:lnTo>
                    <a:pt x="14" y="19"/>
                  </a:lnTo>
                  <a:lnTo>
                    <a:pt x="20" y="1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" name="Google Shape;592;p35">
              <a:extLst>
                <a:ext uri="{FF2B5EF4-FFF2-40B4-BE49-F238E27FC236}">
                  <a16:creationId xmlns:a16="http://schemas.microsoft.com/office/drawing/2014/main" id="{31874A95-3985-2979-177F-E64B985B0FED}"/>
                </a:ext>
              </a:extLst>
            </p:cNvPr>
            <p:cNvSpPr/>
            <p:nvPr/>
          </p:nvSpPr>
          <p:spPr>
            <a:xfrm>
              <a:off x="6251337" y="3811508"/>
              <a:ext cx="34290" cy="72867"/>
            </a:xfrm>
            <a:custGeom>
              <a:avLst/>
              <a:gdLst/>
              <a:ahLst/>
              <a:cxnLst/>
              <a:rect l="l" t="t" r="r" b="b"/>
              <a:pathLst>
                <a:path w="24" h="51" extrusionOk="0">
                  <a:moveTo>
                    <a:pt x="18" y="45"/>
                  </a:moveTo>
                  <a:lnTo>
                    <a:pt x="24" y="37"/>
                  </a:lnTo>
                  <a:lnTo>
                    <a:pt x="24" y="31"/>
                  </a:lnTo>
                  <a:lnTo>
                    <a:pt x="18" y="27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8" y="11"/>
                  </a:lnTo>
                  <a:lnTo>
                    <a:pt x="16" y="6"/>
                  </a:ln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3"/>
                  </a:lnTo>
                  <a:lnTo>
                    <a:pt x="4" y="17"/>
                  </a:lnTo>
                  <a:lnTo>
                    <a:pt x="0" y="37"/>
                  </a:lnTo>
                  <a:lnTo>
                    <a:pt x="2" y="43"/>
                  </a:lnTo>
                  <a:lnTo>
                    <a:pt x="8" y="45"/>
                  </a:lnTo>
                  <a:lnTo>
                    <a:pt x="10" y="51"/>
                  </a:lnTo>
                  <a:lnTo>
                    <a:pt x="14" y="49"/>
                  </a:lnTo>
                  <a:lnTo>
                    <a:pt x="18" y="4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" name="Google Shape;593;p35">
              <a:extLst>
                <a:ext uri="{FF2B5EF4-FFF2-40B4-BE49-F238E27FC236}">
                  <a16:creationId xmlns:a16="http://schemas.microsoft.com/office/drawing/2014/main" id="{6D0E60AB-B0E0-B013-A2C0-109E49813C70}"/>
                </a:ext>
              </a:extLst>
            </p:cNvPr>
            <p:cNvSpPr/>
            <p:nvPr/>
          </p:nvSpPr>
          <p:spPr>
            <a:xfrm>
              <a:off x="6274197" y="3817223"/>
              <a:ext cx="48577" cy="38577"/>
            </a:xfrm>
            <a:custGeom>
              <a:avLst/>
              <a:gdLst/>
              <a:ahLst/>
              <a:cxnLst/>
              <a:rect l="l" t="t" r="r" b="b"/>
              <a:pathLst>
                <a:path w="34" h="27" extrusionOk="0">
                  <a:moveTo>
                    <a:pt x="14" y="2"/>
                  </a:moveTo>
                  <a:lnTo>
                    <a:pt x="8" y="3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23"/>
                  </a:lnTo>
                  <a:lnTo>
                    <a:pt x="8" y="27"/>
                  </a:lnTo>
                  <a:lnTo>
                    <a:pt x="18" y="2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4" y="21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2" y="19"/>
                  </a:lnTo>
                  <a:lnTo>
                    <a:pt x="34" y="17"/>
                  </a:lnTo>
                  <a:lnTo>
                    <a:pt x="34" y="13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2" y="5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" name="Google Shape;594;p35">
              <a:extLst>
                <a:ext uri="{FF2B5EF4-FFF2-40B4-BE49-F238E27FC236}">
                  <a16:creationId xmlns:a16="http://schemas.microsoft.com/office/drawing/2014/main" id="{B77E8815-57BA-B45F-C5E4-96AD11449357}"/>
                </a:ext>
              </a:extLst>
            </p:cNvPr>
            <p:cNvSpPr/>
            <p:nvPr/>
          </p:nvSpPr>
          <p:spPr>
            <a:xfrm>
              <a:off x="6311345" y="3768645"/>
              <a:ext cx="120015" cy="75724"/>
            </a:xfrm>
            <a:custGeom>
              <a:avLst/>
              <a:gdLst/>
              <a:ahLst/>
              <a:cxnLst/>
              <a:rect l="l" t="t" r="r" b="b"/>
              <a:pathLst>
                <a:path w="84" h="53" extrusionOk="0">
                  <a:moveTo>
                    <a:pt x="72" y="6"/>
                  </a:moveTo>
                  <a:lnTo>
                    <a:pt x="66" y="2"/>
                  </a:lnTo>
                  <a:lnTo>
                    <a:pt x="58" y="2"/>
                  </a:lnTo>
                  <a:lnTo>
                    <a:pt x="52" y="4"/>
                  </a:lnTo>
                  <a:lnTo>
                    <a:pt x="44" y="10"/>
                  </a:lnTo>
                  <a:lnTo>
                    <a:pt x="34" y="10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6"/>
                  </a:lnTo>
                  <a:lnTo>
                    <a:pt x="12" y="6"/>
                  </a:lnTo>
                  <a:lnTo>
                    <a:pt x="4" y="0"/>
                  </a:lnTo>
                  <a:lnTo>
                    <a:pt x="0" y="10"/>
                  </a:lnTo>
                  <a:lnTo>
                    <a:pt x="4" y="14"/>
                  </a:lnTo>
                  <a:lnTo>
                    <a:pt x="6" y="16"/>
                  </a:lnTo>
                  <a:lnTo>
                    <a:pt x="8" y="20"/>
                  </a:lnTo>
                  <a:lnTo>
                    <a:pt x="6" y="24"/>
                  </a:lnTo>
                  <a:lnTo>
                    <a:pt x="0" y="34"/>
                  </a:lnTo>
                  <a:lnTo>
                    <a:pt x="6" y="39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7"/>
                  </a:lnTo>
                  <a:lnTo>
                    <a:pt x="8" y="51"/>
                  </a:lnTo>
                  <a:lnTo>
                    <a:pt x="20" y="49"/>
                  </a:lnTo>
                  <a:lnTo>
                    <a:pt x="26" y="47"/>
                  </a:lnTo>
                  <a:lnTo>
                    <a:pt x="32" y="49"/>
                  </a:lnTo>
                  <a:lnTo>
                    <a:pt x="38" y="53"/>
                  </a:lnTo>
                  <a:lnTo>
                    <a:pt x="40" y="53"/>
                  </a:lnTo>
                  <a:lnTo>
                    <a:pt x="42" y="53"/>
                  </a:lnTo>
                  <a:lnTo>
                    <a:pt x="50" y="53"/>
                  </a:lnTo>
                  <a:lnTo>
                    <a:pt x="52" y="45"/>
                  </a:lnTo>
                  <a:lnTo>
                    <a:pt x="54" y="45"/>
                  </a:lnTo>
                  <a:lnTo>
                    <a:pt x="64" y="39"/>
                  </a:lnTo>
                  <a:lnTo>
                    <a:pt x="76" y="41"/>
                  </a:lnTo>
                  <a:lnTo>
                    <a:pt x="72" y="34"/>
                  </a:lnTo>
                  <a:lnTo>
                    <a:pt x="76" y="20"/>
                  </a:lnTo>
                  <a:lnTo>
                    <a:pt x="80" y="14"/>
                  </a:lnTo>
                  <a:lnTo>
                    <a:pt x="82" y="14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72" y="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" name="Google Shape;595;p35">
              <a:extLst>
                <a:ext uri="{FF2B5EF4-FFF2-40B4-BE49-F238E27FC236}">
                  <a16:creationId xmlns:a16="http://schemas.microsoft.com/office/drawing/2014/main" id="{DC4938D4-CD9B-2478-38A2-FE1C8E1D7138}"/>
                </a:ext>
              </a:extLst>
            </p:cNvPr>
            <p:cNvSpPr/>
            <p:nvPr/>
          </p:nvSpPr>
          <p:spPr>
            <a:xfrm>
              <a:off x="6654245" y="3785790"/>
              <a:ext cx="128587" cy="64294"/>
            </a:xfrm>
            <a:custGeom>
              <a:avLst/>
              <a:gdLst/>
              <a:ahLst/>
              <a:cxnLst/>
              <a:rect l="l" t="t" r="r" b="b"/>
              <a:pathLst>
                <a:path w="90" h="45" extrusionOk="0">
                  <a:moveTo>
                    <a:pt x="40" y="37"/>
                  </a:moveTo>
                  <a:lnTo>
                    <a:pt x="46" y="43"/>
                  </a:lnTo>
                  <a:lnTo>
                    <a:pt x="54" y="43"/>
                  </a:lnTo>
                  <a:lnTo>
                    <a:pt x="62" y="43"/>
                  </a:lnTo>
                  <a:lnTo>
                    <a:pt x="68" y="41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2" y="37"/>
                  </a:lnTo>
                  <a:lnTo>
                    <a:pt x="76" y="39"/>
                  </a:lnTo>
                  <a:lnTo>
                    <a:pt x="80" y="43"/>
                  </a:lnTo>
                  <a:lnTo>
                    <a:pt x="86" y="45"/>
                  </a:lnTo>
                  <a:lnTo>
                    <a:pt x="90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8" y="39"/>
                  </a:lnTo>
                  <a:lnTo>
                    <a:pt x="86" y="35"/>
                  </a:lnTo>
                  <a:lnTo>
                    <a:pt x="86" y="33"/>
                  </a:lnTo>
                  <a:lnTo>
                    <a:pt x="86" y="29"/>
                  </a:lnTo>
                  <a:lnTo>
                    <a:pt x="82" y="27"/>
                  </a:lnTo>
                  <a:lnTo>
                    <a:pt x="76" y="24"/>
                  </a:lnTo>
                  <a:lnTo>
                    <a:pt x="72" y="20"/>
                  </a:lnTo>
                  <a:lnTo>
                    <a:pt x="68" y="16"/>
                  </a:lnTo>
                  <a:lnTo>
                    <a:pt x="64" y="18"/>
                  </a:lnTo>
                  <a:lnTo>
                    <a:pt x="56" y="18"/>
                  </a:lnTo>
                  <a:lnTo>
                    <a:pt x="50" y="16"/>
                  </a:lnTo>
                  <a:lnTo>
                    <a:pt x="44" y="12"/>
                  </a:lnTo>
                  <a:lnTo>
                    <a:pt x="38" y="8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4"/>
                  </a:lnTo>
                  <a:lnTo>
                    <a:pt x="12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10" y="10"/>
                  </a:lnTo>
                  <a:lnTo>
                    <a:pt x="14" y="12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4" y="25"/>
                  </a:lnTo>
                  <a:lnTo>
                    <a:pt x="20" y="35"/>
                  </a:lnTo>
                  <a:lnTo>
                    <a:pt x="20" y="37"/>
                  </a:lnTo>
                  <a:lnTo>
                    <a:pt x="36" y="35"/>
                  </a:lnTo>
                  <a:lnTo>
                    <a:pt x="40" y="37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" name="Google Shape;596;p35">
              <a:extLst>
                <a:ext uri="{FF2B5EF4-FFF2-40B4-BE49-F238E27FC236}">
                  <a16:creationId xmlns:a16="http://schemas.microsoft.com/office/drawing/2014/main" id="{CA009128-2651-477A-3BC7-DE3DE51D85BD}"/>
                </a:ext>
              </a:extLst>
            </p:cNvPr>
            <p:cNvSpPr/>
            <p:nvPr/>
          </p:nvSpPr>
          <p:spPr>
            <a:xfrm>
              <a:off x="6965712" y="3731498"/>
              <a:ext cx="331470" cy="215742"/>
            </a:xfrm>
            <a:custGeom>
              <a:avLst/>
              <a:gdLst/>
              <a:ahLst/>
              <a:cxnLst/>
              <a:rect l="l" t="t" r="r" b="b"/>
              <a:pathLst>
                <a:path w="232" h="151" extrusionOk="0">
                  <a:moveTo>
                    <a:pt x="12" y="75"/>
                  </a:moveTo>
                  <a:lnTo>
                    <a:pt x="12" y="73"/>
                  </a:lnTo>
                  <a:lnTo>
                    <a:pt x="12" y="73"/>
                  </a:lnTo>
                  <a:lnTo>
                    <a:pt x="12" y="69"/>
                  </a:lnTo>
                  <a:lnTo>
                    <a:pt x="12" y="67"/>
                  </a:lnTo>
                  <a:lnTo>
                    <a:pt x="14" y="67"/>
                  </a:lnTo>
                  <a:lnTo>
                    <a:pt x="16" y="65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32" y="62"/>
                  </a:lnTo>
                  <a:lnTo>
                    <a:pt x="30" y="58"/>
                  </a:lnTo>
                  <a:lnTo>
                    <a:pt x="28" y="56"/>
                  </a:lnTo>
                  <a:lnTo>
                    <a:pt x="30" y="54"/>
                  </a:lnTo>
                  <a:lnTo>
                    <a:pt x="34" y="52"/>
                  </a:lnTo>
                  <a:lnTo>
                    <a:pt x="44" y="60"/>
                  </a:lnTo>
                  <a:lnTo>
                    <a:pt x="48" y="62"/>
                  </a:lnTo>
                  <a:lnTo>
                    <a:pt x="54" y="62"/>
                  </a:lnTo>
                  <a:lnTo>
                    <a:pt x="54" y="69"/>
                  </a:lnTo>
                  <a:lnTo>
                    <a:pt x="56" y="71"/>
                  </a:lnTo>
                  <a:lnTo>
                    <a:pt x="58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6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72" y="79"/>
                  </a:lnTo>
                  <a:lnTo>
                    <a:pt x="78" y="81"/>
                  </a:lnTo>
                  <a:lnTo>
                    <a:pt x="80" y="85"/>
                  </a:lnTo>
                  <a:lnTo>
                    <a:pt x="84" y="93"/>
                  </a:lnTo>
                  <a:lnTo>
                    <a:pt x="88" y="103"/>
                  </a:lnTo>
                  <a:lnTo>
                    <a:pt x="92" y="105"/>
                  </a:lnTo>
                  <a:lnTo>
                    <a:pt x="94" y="107"/>
                  </a:lnTo>
                  <a:lnTo>
                    <a:pt x="98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6" y="117"/>
                  </a:lnTo>
                  <a:lnTo>
                    <a:pt x="112" y="119"/>
                  </a:lnTo>
                  <a:lnTo>
                    <a:pt x="114" y="121"/>
                  </a:lnTo>
                  <a:lnTo>
                    <a:pt x="120" y="125"/>
                  </a:lnTo>
                  <a:lnTo>
                    <a:pt x="122" y="125"/>
                  </a:lnTo>
                  <a:lnTo>
                    <a:pt x="130" y="131"/>
                  </a:lnTo>
                  <a:lnTo>
                    <a:pt x="138" y="135"/>
                  </a:lnTo>
                  <a:lnTo>
                    <a:pt x="142" y="141"/>
                  </a:lnTo>
                  <a:lnTo>
                    <a:pt x="142" y="147"/>
                  </a:lnTo>
                  <a:lnTo>
                    <a:pt x="152" y="147"/>
                  </a:lnTo>
                  <a:lnTo>
                    <a:pt x="158" y="149"/>
                  </a:lnTo>
                  <a:lnTo>
                    <a:pt x="160" y="151"/>
                  </a:lnTo>
                  <a:lnTo>
                    <a:pt x="160" y="145"/>
                  </a:lnTo>
                  <a:lnTo>
                    <a:pt x="164" y="139"/>
                  </a:lnTo>
                  <a:lnTo>
                    <a:pt x="166" y="137"/>
                  </a:lnTo>
                  <a:lnTo>
                    <a:pt x="168" y="133"/>
                  </a:lnTo>
                  <a:lnTo>
                    <a:pt x="164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58" y="119"/>
                  </a:lnTo>
                  <a:lnTo>
                    <a:pt x="154" y="111"/>
                  </a:lnTo>
                  <a:lnTo>
                    <a:pt x="156" y="111"/>
                  </a:lnTo>
                  <a:lnTo>
                    <a:pt x="156" y="109"/>
                  </a:lnTo>
                  <a:lnTo>
                    <a:pt x="166" y="111"/>
                  </a:lnTo>
                  <a:lnTo>
                    <a:pt x="172" y="107"/>
                  </a:lnTo>
                  <a:lnTo>
                    <a:pt x="174" y="101"/>
                  </a:lnTo>
                  <a:lnTo>
                    <a:pt x="170" y="99"/>
                  </a:lnTo>
                  <a:lnTo>
                    <a:pt x="178" y="99"/>
                  </a:lnTo>
                  <a:lnTo>
                    <a:pt x="180" y="93"/>
                  </a:lnTo>
                  <a:lnTo>
                    <a:pt x="184" y="91"/>
                  </a:lnTo>
                  <a:lnTo>
                    <a:pt x="190" y="89"/>
                  </a:lnTo>
                  <a:lnTo>
                    <a:pt x="194" y="87"/>
                  </a:lnTo>
                  <a:lnTo>
                    <a:pt x="196" y="83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194" y="95"/>
                  </a:lnTo>
                  <a:lnTo>
                    <a:pt x="202" y="97"/>
                  </a:lnTo>
                  <a:lnTo>
                    <a:pt x="208" y="97"/>
                  </a:lnTo>
                  <a:lnTo>
                    <a:pt x="216" y="97"/>
                  </a:lnTo>
                  <a:lnTo>
                    <a:pt x="220" y="93"/>
                  </a:lnTo>
                  <a:lnTo>
                    <a:pt x="222" y="95"/>
                  </a:lnTo>
                  <a:lnTo>
                    <a:pt x="224" y="93"/>
                  </a:lnTo>
                  <a:lnTo>
                    <a:pt x="232" y="87"/>
                  </a:lnTo>
                  <a:lnTo>
                    <a:pt x="230" y="87"/>
                  </a:lnTo>
                  <a:lnTo>
                    <a:pt x="224" y="87"/>
                  </a:lnTo>
                  <a:lnTo>
                    <a:pt x="218" y="81"/>
                  </a:lnTo>
                  <a:lnTo>
                    <a:pt x="218" y="81"/>
                  </a:lnTo>
                  <a:lnTo>
                    <a:pt x="212" y="77"/>
                  </a:lnTo>
                  <a:lnTo>
                    <a:pt x="212" y="77"/>
                  </a:lnTo>
                  <a:lnTo>
                    <a:pt x="210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1"/>
                  </a:lnTo>
                  <a:lnTo>
                    <a:pt x="202" y="79"/>
                  </a:lnTo>
                  <a:lnTo>
                    <a:pt x="194" y="75"/>
                  </a:lnTo>
                  <a:lnTo>
                    <a:pt x="198" y="69"/>
                  </a:lnTo>
                  <a:lnTo>
                    <a:pt x="206" y="63"/>
                  </a:lnTo>
                  <a:lnTo>
                    <a:pt x="206" y="62"/>
                  </a:lnTo>
                  <a:lnTo>
                    <a:pt x="202" y="62"/>
                  </a:lnTo>
                  <a:lnTo>
                    <a:pt x="190" y="69"/>
                  </a:lnTo>
                  <a:lnTo>
                    <a:pt x="174" y="81"/>
                  </a:lnTo>
                  <a:lnTo>
                    <a:pt x="170" y="87"/>
                  </a:lnTo>
                  <a:lnTo>
                    <a:pt x="172" y="91"/>
                  </a:lnTo>
                  <a:lnTo>
                    <a:pt x="170" y="91"/>
                  </a:lnTo>
                  <a:lnTo>
                    <a:pt x="162" y="87"/>
                  </a:lnTo>
                  <a:lnTo>
                    <a:pt x="164" y="83"/>
                  </a:lnTo>
                  <a:lnTo>
                    <a:pt x="162" y="81"/>
                  </a:lnTo>
                  <a:lnTo>
                    <a:pt x="158" y="81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2" y="71"/>
                  </a:lnTo>
                  <a:lnTo>
                    <a:pt x="142" y="69"/>
                  </a:lnTo>
                  <a:lnTo>
                    <a:pt x="140" y="67"/>
                  </a:lnTo>
                  <a:lnTo>
                    <a:pt x="136" y="67"/>
                  </a:lnTo>
                  <a:lnTo>
                    <a:pt x="136" y="60"/>
                  </a:lnTo>
                  <a:lnTo>
                    <a:pt x="136" y="56"/>
                  </a:lnTo>
                  <a:lnTo>
                    <a:pt x="136" y="50"/>
                  </a:lnTo>
                  <a:lnTo>
                    <a:pt x="132" y="48"/>
                  </a:lnTo>
                  <a:lnTo>
                    <a:pt x="130" y="42"/>
                  </a:lnTo>
                  <a:lnTo>
                    <a:pt x="128" y="38"/>
                  </a:lnTo>
                  <a:lnTo>
                    <a:pt x="122" y="34"/>
                  </a:lnTo>
                  <a:lnTo>
                    <a:pt x="114" y="38"/>
                  </a:lnTo>
                  <a:lnTo>
                    <a:pt x="108" y="36"/>
                  </a:lnTo>
                  <a:lnTo>
                    <a:pt x="100" y="36"/>
                  </a:lnTo>
                  <a:lnTo>
                    <a:pt x="94" y="38"/>
                  </a:lnTo>
                  <a:lnTo>
                    <a:pt x="86" y="38"/>
                  </a:lnTo>
                  <a:lnTo>
                    <a:pt x="80" y="38"/>
                  </a:lnTo>
                  <a:lnTo>
                    <a:pt x="72" y="30"/>
                  </a:lnTo>
                  <a:lnTo>
                    <a:pt x="54" y="14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0" y="79"/>
                  </a:lnTo>
                  <a:lnTo>
                    <a:pt x="12" y="79"/>
                  </a:lnTo>
                  <a:lnTo>
                    <a:pt x="12" y="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" name="Google Shape;597;p35">
              <a:extLst>
                <a:ext uri="{FF2B5EF4-FFF2-40B4-BE49-F238E27FC236}">
                  <a16:creationId xmlns:a16="http://schemas.microsoft.com/office/drawing/2014/main" id="{5017B3BF-BF12-F5EF-3594-463AD54E13BA}"/>
                </a:ext>
              </a:extLst>
            </p:cNvPr>
            <p:cNvSpPr/>
            <p:nvPr/>
          </p:nvSpPr>
          <p:spPr>
            <a:xfrm>
              <a:off x="7185740" y="3850085"/>
              <a:ext cx="151447" cy="108585"/>
            </a:xfrm>
            <a:custGeom>
              <a:avLst/>
              <a:gdLst/>
              <a:ahLst/>
              <a:cxnLst/>
              <a:rect l="l" t="t" r="r" b="b"/>
              <a:pathLst>
                <a:path w="106" h="76" extrusionOk="0">
                  <a:moveTo>
                    <a:pt x="68" y="30"/>
                  </a:moveTo>
                  <a:lnTo>
                    <a:pt x="62" y="32"/>
                  </a:lnTo>
                  <a:lnTo>
                    <a:pt x="60" y="28"/>
                  </a:lnTo>
                  <a:lnTo>
                    <a:pt x="48" y="28"/>
                  </a:lnTo>
                  <a:lnTo>
                    <a:pt x="44" y="26"/>
                  </a:lnTo>
                  <a:lnTo>
                    <a:pt x="42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28" y="26"/>
                  </a:lnTo>
                  <a:lnTo>
                    <a:pt x="26" y="22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6" y="14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0" y="12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2" y="0"/>
                  </a:lnTo>
                  <a:lnTo>
                    <a:pt x="40" y="4"/>
                  </a:lnTo>
                  <a:lnTo>
                    <a:pt x="36" y="6"/>
                  </a:lnTo>
                  <a:lnTo>
                    <a:pt x="30" y="8"/>
                  </a:lnTo>
                  <a:lnTo>
                    <a:pt x="26" y="10"/>
                  </a:lnTo>
                  <a:lnTo>
                    <a:pt x="24" y="16"/>
                  </a:lnTo>
                  <a:lnTo>
                    <a:pt x="16" y="16"/>
                  </a:lnTo>
                  <a:lnTo>
                    <a:pt x="20" y="18"/>
                  </a:lnTo>
                  <a:lnTo>
                    <a:pt x="18" y="24"/>
                  </a:lnTo>
                  <a:lnTo>
                    <a:pt x="12" y="28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0" y="36"/>
                  </a:lnTo>
                  <a:lnTo>
                    <a:pt x="10" y="40"/>
                  </a:lnTo>
                  <a:lnTo>
                    <a:pt x="10" y="44"/>
                  </a:lnTo>
                  <a:lnTo>
                    <a:pt x="14" y="50"/>
                  </a:lnTo>
                  <a:lnTo>
                    <a:pt x="12" y="54"/>
                  </a:lnTo>
                  <a:lnTo>
                    <a:pt x="10" y="56"/>
                  </a:lnTo>
                  <a:lnTo>
                    <a:pt x="6" y="62"/>
                  </a:lnTo>
                  <a:lnTo>
                    <a:pt x="6" y="68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8" y="66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2"/>
                  </a:lnTo>
                  <a:lnTo>
                    <a:pt x="34" y="60"/>
                  </a:lnTo>
                  <a:lnTo>
                    <a:pt x="38" y="56"/>
                  </a:lnTo>
                  <a:lnTo>
                    <a:pt x="40" y="54"/>
                  </a:lnTo>
                  <a:lnTo>
                    <a:pt x="42" y="50"/>
                  </a:lnTo>
                  <a:lnTo>
                    <a:pt x="50" y="46"/>
                  </a:lnTo>
                  <a:lnTo>
                    <a:pt x="54" y="50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56" y="68"/>
                  </a:lnTo>
                  <a:lnTo>
                    <a:pt x="58" y="76"/>
                  </a:lnTo>
                  <a:lnTo>
                    <a:pt x="64" y="72"/>
                  </a:lnTo>
                  <a:lnTo>
                    <a:pt x="72" y="70"/>
                  </a:lnTo>
                  <a:lnTo>
                    <a:pt x="78" y="64"/>
                  </a:lnTo>
                  <a:lnTo>
                    <a:pt x="86" y="64"/>
                  </a:lnTo>
                  <a:lnTo>
                    <a:pt x="84" y="66"/>
                  </a:lnTo>
                  <a:lnTo>
                    <a:pt x="88" y="66"/>
                  </a:lnTo>
                  <a:lnTo>
                    <a:pt x="92" y="64"/>
                  </a:lnTo>
                  <a:lnTo>
                    <a:pt x="98" y="64"/>
                  </a:lnTo>
                  <a:lnTo>
                    <a:pt x="100" y="64"/>
                  </a:lnTo>
                  <a:lnTo>
                    <a:pt x="102" y="66"/>
                  </a:lnTo>
                  <a:lnTo>
                    <a:pt x="106" y="64"/>
                  </a:lnTo>
                  <a:lnTo>
                    <a:pt x="102" y="52"/>
                  </a:lnTo>
                  <a:lnTo>
                    <a:pt x="100" y="44"/>
                  </a:lnTo>
                  <a:lnTo>
                    <a:pt x="92" y="42"/>
                  </a:lnTo>
                  <a:lnTo>
                    <a:pt x="90" y="44"/>
                  </a:lnTo>
                  <a:lnTo>
                    <a:pt x="88" y="42"/>
                  </a:lnTo>
                  <a:lnTo>
                    <a:pt x="86" y="28"/>
                  </a:lnTo>
                  <a:lnTo>
                    <a:pt x="78" y="30"/>
                  </a:lnTo>
                  <a:lnTo>
                    <a:pt x="68" y="3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" name="Google Shape;598;p35">
              <a:extLst>
                <a:ext uri="{FF2B5EF4-FFF2-40B4-BE49-F238E27FC236}">
                  <a16:creationId xmlns:a16="http://schemas.microsoft.com/office/drawing/2014/main" id="{AF9786E0-920F-9BA7-1529-5B6FB84CB492}"/>
                </a:ext>
              </a:extLst>
            </p:cNvPr>
            <p:cNvSpPr/>
            <p:nvPr/>
          </p:nvSpPr>
          <p:spPr>
            <a:xfrm>
              <a:off x="6871415" y="3805793"/>
              <a:ext cx="297180" cy="190024"/>
            </a:xfrm>
            <a:custGeom>
              <a:avLst/>
              <a:gdLst/>
              <a:ahLst/>
              <a:cxnLst/>
              <a:rect l="l" t="t" r="r" b="b"/>
              <a:pathLst>
                <a:path w="208" h="133" extrusionOk="0">
                  <a:moveTo>
                    <a:pt x="150" y="131"/>
                  </a:moveTo>
                  <a:lnTo>
                    <a:pt x="152" y="133"/>
                  </a:lnTo>
                  <a:lnTo>
                    <a:pt x="154" y="131"/>
                  </a:lnTo>
                  <a:lnTo>
                    <a:pt x="154" y="131"/>
                  </a:lnTo>
                  <a:lnTo>
                    <a:pt x="156" y="131"/>
                  </a:lnTo>
                  <a:lnTo>
                    <a:pt x="160" y="129"/>
                  </a:lnTo>
                  <a:lnTo>
                    <a:pt x="162" y="125"/>
                  </a:lnTo>
                  <a:lnTo>
                    <a:pt x="164" y="123"/>
                  </a:lnTo>
                  <a:lnTo>
                    <a:pt x="162" y="121"/>
                  </a:lnTo>
                  <a:lnTo>
                    <a:pt x="174" y="117"/>
                  </a:lnTo>
                  <a:lnTo>
                    <a:pt x="182" y="111"/>
                  </a:lnTo>
                  <a:lnTo>
                    <a:pt x="182" y="109"/>
                  </a:lnTo>
                  <a:lnTo>
                    <a:pt x="184" y="105"/>
                  </a:lnTo>
                  <a:lnTo>
                    <a:pt x="186" y="99"/>
                  </a:lnTo>
                  <a:lnTo>
                    <a:pt x="192" y="97"/>
                  </a:lnTo>
                  <a:lnTo>
                    <a:pt x="196" y="95"/>
                  </a:lnTo>
                  <a:lnTo>
                    <a:pt x="198" y="93"/>
                  </a:lnTo>
                  <a:lnTo>
                    <a:pt x="204" y="95"/>
                  </a:lnTo>
                  <a:lnTo>
                    <a:pt x="208" y="95"/>
                  </a:lnTo>
                  <a:lnTo>
                    <a:pt x="208" y="89"/>
                  </a:lnTo>
                  <a:lnTo>
                    <a:pt x="204" y="83"/>
                  </a:lnTo>
                  <a:lnTo>
                    <a:pt x="196" y="79"/>
                  </a:lnTo>
                  <a:lnTo>
                    <a:pt x="188" y="73"/>
                  </a:lnTo>
                  <a:lnTo>
                    <a:pt x="186" y="73"/>
                  </a:lnTo>
                  <a:lnTo>
                    <a:pt x="180" y="69"/>
                  </a:lnTo>
                  <a:lnTo>
                    <a:pt x="178" y="67"/>
                  </a:lnTo>
                  <a:lnTo>
                    <a:pt x="172" y="65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64" y="59"/>
                  </a:lnTo>
                  <a:lnTo>
                    <a:pt x="160" y="55"/>
                  </a:lnTo>
                  <a:lnTo>
                    <a:pt x="158" y="53"/>
                  </a:lnTo>
                  <a:lnTo>
                    <a:pt x="154" y="51"/>
                  </a:lnTo>
                  <a:lnTo>
                    <a:pt x="150" y="41"/>
                  </a:lnTo>
                  <a:lnTo>
                    <a:pt x="146" y="33"/>
                  </a:lnTo>
                  <a:lnTo>
                    <a:pt x="144" y="29"/>
                  </a:lnTo>
                  <a:lnTo>
                    <a:pt x="138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4" y="27"/>
                  </a:lnTo>
                  <a:lnTo>
                    <a:pt x="122" y="19"/>
                  </a:lnTo>
                  <a:lnTo>
                    <a:pt x="120" y="17"/>
                  </a:lnTo>
                  <a:lnTo>
                    <a:pt x="120" y="10"/>
                  </a:lnTo>
                  <a:lnTo>
                    <a:pt x="114" y="10"/>
                  </a:lnTo>
                  <a:lnTo>
                    <a:pt x="110" y="8"/>
                  </a:lnTo>
                  <a:lnTo>
                    <a:pt x="100" y="0"/>
                  </a:lnTo>
                  <a:lnTo>
                    <a:pt x="96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8" y="10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0" y="11"/>
                  </a:lnTo>
                  <a:lnTo>
                    <a:pt x="86" y="11"/>
                  </a:lnTo>
                  <a:lnTo>
                    <a:pt x="82" y="13"/>
                  </a:lnTo>
                  <a:lnTo>
                    <a:pt x="80" y="15"/>
                  </a:lnTo>
                  <a:lnTo>
                    <a:pt x="78" y="15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3"/>
                  </a:lnTo>
                  <a:lnTo>
                    <a:pt x="78" y="27"/>
                  </a:lnTo>
                  <a:lnTo>
                    <a:pt x="66" y="27"/>
                  </a:lnTo>
                  <a:lnTo>
                    <a:pt x="56" y="27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3"/>
                  </a:lnTo>
                  <a:lnTo>
                    <a:pt x="38" y="8"/>
                  </a:lnTo>
                  <a:lnTo>
                    <a:pt x="24" y="11"/>
                  </a:lnTo>
                  <a:lnTo>
                    <a:pt x="20" y="15"/>
                  </a:lnTo>
                  <a:lnTo>
                    <a:pt x="16" y="19"/>
                  </a:lnTo>
                  <a:lnTo>
                    <a:pt x="0" y="27"/>
                  </a:lnTo>
                  <a:lnTo>
                    <a:pt x="6" y="37"/>
                  </a:lnTo>
                  <a:lnTo>
                    <a:pt x="6" y="51"/>
                  </a:lnTo>
                  <a:lnTo>
                    <a:pt x="6" y="61"/>
                  </a:lnTo>
                  <a:lnTo>
                    <a:pt x="2" y="67"/>
                  </a:lnTo>
                  <a:lnTo>
                    <a:pt x="2" y="73"/>
                  </a:lnTo>
                  <a:lnTo>
                    <a:pt x="8" y="83"/>
                  </a:lnTo>
                  <a:lnTo>
                    <a:pt x="12" y="87"/>
                  </a:lnTo>
                  <a:lnTo>
                    <a:pt x="18" y="89"/>
                  </a:lnTo>
                  <a:lnTo>
                    <a:pt x="26" y="93"/>
                  </a:lnTo>
                  <a:lnTo>
                    <a:pt x="32" y="97"/>
                  </a:lnTo>
                  <a:lnTo>
                    <a:pt x="36" y="95"/>
                  </a:lnTo>
                  <a:lnTo>
                    <a:pt x="48" y="93"/>
                  </a:lnTo>
                  <a:lnTo>
                    <a:pt x="56" y="85"/>
                  </a:lnTo>
                  <a:lnTo>
                    <a:pt x="64" y="81"/>
                  </a:lnTo>
                  <a:lnTo>
                    <a:pt x="72" y="81"/>
                  </a:lnTo>
                  <a:lnTo>
                    <a:pt x="82" y="79"/>
                  </a:lnTo>
                  <a:lnTo>
                    <a:pt x="82" y="81"/>
                  </a:lnTo>
                  <a:lnTo>
                    <a:pt x="86" y="83"/>
                  </a:lnTo>
                  <a:lnTo>
                    <a:pt x="96" y="89"/>
                  </a:lnTo>
                  <a:lnTo>
                    <a:pt x="98" y="89"/>
                  </a:lnTo>
                  <a:lnTo>
                    <a:pt x="104" y="91"/>
                  </a:lnTo>
                  <a:lnTo>
                    <a:pt x="118" y="101"/>
                  </a:lnTo>
                  <a:lnTo>
                    <a:pt x="122" y="103"/>
                  </a:lnTo>
                  <a:lnTo>
                    <a:pt x="124" y="107"/>
                  </a:lnTo>
                  <a:lnTo>
                    <a:pt x="136" y="107"/>
                  </a:lnTo>
                  <a:lnTo>
                    <a:pt x="134" y="119"/>
                  </a:lnTo>
                  <a:lnTo>
                    <a:pt x="136" y="125"/>
                  </a:lnTo>
                  <a:lnTo>
                    <a:pt x="146" y="127"/>
                  </a:lnTo>
                  <a:lnTo>
                    <a:pt x="150" y="131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" name="Google Shape;599;p35">
              <a:extLst>
                <a:ext uri="{FF2B5EF4-FFF2-40B4-BE49-F238E27FC236}">
                  <a16:creationId xmlns:a16="http://schemas.microsoft.com/office/drawing/2014/main" id="{AC50A4C0-F523-E174-4F4D-8810E37F3281}"/>
                </a:ext>
              </a:extLst>
            </p:cNvPr>
            <p:cNvSpPr/>
            <p:nvPr/>
          </p:nvSpPr>
          <p:spPr>
            <a:xfrm>
              <a:off x="6719967" y="3844370"/>
              <a:ext cx="60007" cy="60007"/>
            </a:xfrm>
            <a:custGeom>
              <a:avLst/>
              <a:gdLst/>
              <a:ahLst/>
              <a:cxnLst/>
              <a:rect l="l" t="t" r="r" b="b"/>
              <a:pathLst>
                <a:path w="42" h="42" extrusionOk="0">
                  <a:moveTo>
                    <a:pt x="28" y="30"/>
                  </a:moveTo>
                  <a:lnTo>
                    <a:pt x="32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8" y="42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36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28" y="1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8" y="2"/>
                  </a:lnTo>
                  <a:lnTo>
                    <a:pt x="0" y="2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20"/>
                  </a:lnTo>
                  <a:lnTo>
                    <a:pt x="18" y="28"/>
                  </a:lnTo>
                  <a:lnTo>
                    <a:pt x="22" y="28"/>
                  </a:lnTo>
                  <a:lnTo>
                    <a:pt x="28" y="3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" name="Google Shape;600;p35">
              <a:extLst>
                <a:ext uri="{FF2B5EF4-FFF2-40B4-BE49-F238E27FC236}">
                  <a16:creationId xmlns:a16="http://schemas.microsoft.com/office/drawing/2014/main" id="{206AC3BF-26BF-2CAE-8C50-AC2E1B0B5BF0}"/>
                </a:ext>
              </a:extLst>
            </p:cNvPr>
            <p:cNvSpPr/>
            <p:nvPr/>
          </p:nvSpPr>
          <p:spPr>
            <a:xfrm>
              <a:off x="7222887" y="3794363"/>
              <a:ext cx="211455" cy="101442"/>
            </a:xfrm>
            <a:custGeom>
              <a:avLst/>
              <a:gdLst/>
              <a:ahLst/>
              <a:cxnLst/>
              <a:rect l="l" t="t" r="r" b="b"/>
              <a:pathLst>
                <a:path w="148" h="71" extrusionOk="0">
                  <a:moveTo>
                    <a:pt x="136" y="12"/>
                  </a:moveTo>
                  <a:lnTo>
                    <a:pt x="134" y="10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04" y="4"/>
                  </a:lnTo>
                  <a:lnTo>
                    <a:pt x="92" y="6"/>
                  </a:lnTo>
                  <a:lnTo>
                    <a:pt x="88" y="8"/>
                  </a:lnTo>
                  <a:lnTo>
                    <a:pt x="76" y="6"/>
                  </a:lnTo>
                  <a:lnTo>
                    <a:pt x="68" y="0"/>
                  </a:lnTo>
                  <a:lnTo>
                    <a:pt x="56" y="6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2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28" y="8"/>
                  </a:lnTo>
                  <a:lnTo>
                    <a:pt x="26" y="8"/>
                  </a:lnTo>
                  <a:lnTo>
                    <a:pt x="22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18" y="25"/>
                  </a:lnTo>
                  <a:lnTo>
                    <a:pt x="14" y="31"/>
                  </a:lnTo>
                  <a:lnTo>
                    <a:pt x="22" y="35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8" y="37"/>
                  </a:lnTo>
                  <a:lnTo>
                    <a:pt x="30" y="35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44" y="43"/>
                  </a:lnTo>
                  <a:lnTo>
                    <a:pt x="50" y="43"/>
                  </a:lnTo>
                  <a:lnTo>
                    <a:pt x="52" y="43"/>
                  </a:lnTo>
                  <a:lnTo>
                    <a:pt x="44" y="49"/>
                  </a:lnTo>
                  <a:lnTo>
                    <a:pt x="42" y="51"/>
                  </a:lnTo>
                  <a:lnTo>
                    <a:pt x="40" y="49"/>
                  </a:lnTo>
                  <a:lnTo>
                    <a:pt x="36" y="53"/>
                  </a:lnTo>
                  <a:lnTo>
                    <a:pt x="28" y="53"/>
                  </a:lnTo>
                  <a:lnTo>
                    <a:pt x="22" y="53"/>
                  </a:lnTo>
                  <a:lnTo>
                    <a:pt x="22" y="55"/>
                  </a:lnTo>
                  <a:lnTo>
                    <a:pt x="18" y="57"/>
                  </a:lnTo>
                  <a:lnTo>
                    <a:pt x="16" y="57"/>
                  </a:lnTo>
                  <a:lnTo>
                    <a:pt x="10" y="53"/>
                  </a:lnTo>
                  <a:lnTo>
                    <a:pt x="4" y="57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2" y="65"/>
                  </a:lnTo>
                  <a:lnTo>
                    <a:pt x="8" y="65"/>
                  </a:lnTo>
                  <a:lnTo>
                    <a:pt x="10" y="65"/>
                  </a:lnTo>
                  <a:lnTo>
                    <a:pt x="16" y="65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34" y="67"/>
                  </a:lnTo>
                  <a:lnTo>
                    <a:pt x="36" y="71"/>
                  </a:lnTo>
                  <a:lnTo>
                    <a:pt x="42" y="69"/>
                  </a:lnTo>
                  <a:lnTo>
                    <a:pt x="52" y="69"/>
                  </a:lnTo>
                  <a:lnTo>
                    <a:pt x="60" y="67"/>
                  </a:lnTo>
                  <a:lnTo>
                    <a:pt x="62" y="67"/>
                  </a:lnTo>
                  <a:lnTo>
                    <a:pt x="64" y="65"/>
                  </a:lnTo>
                  <a:lnTo>
                    <a:pt x="62" y="63"/>
                  </a:lnTo>
                  <a:lnTo>
                    <a:pt x="68" y="55"/>
                  </a:lnTo>
                  <a:lnTo>
                    <a:pt x="74" y="51"/>
                  </a:lnTo>
                  <a:lnTo>
                    <a:pt x="76" y="49"/>
                  </a:lnTo>
                  <a:lnTo>
                    <a:pt x="86" y="49"/>
                  </a:lnTo>
                  <a:lnTo>
                    <a:pt x="86" y="53"/>
                  </a:lnTo>
                  <a:lnTo>
                    <a:pt x="90" y="53"/>
                  </a:lnTo>
                  <a:lnTo>
                    <a:pt x="98" y="51"/>
                  </a:lnTo>
                  <a:lnTo>
                    <a:pt x="100" y="47"/>
                  </a:lnTo>
                  <a:lnTo>
                    <a:pt x="102" y="43"/>
                  </a:lnTo>
                  <a:lnTo>
                    <a:pt x="106" y="39"/>
                  </a:lnTo>
                  <a:lnTo>
                    <a:pt x="110" y="41"/>
                  </a:lnTo>
                  <a:lnTo>
                    <a:pt x="116" y="39"/>
                  </a:lnTo>
                  <a:lnTo>
                    <a:pt x="122" y="37"/>
                  </a:lnTo>
                  <a:lnTo>
                    <a:pt x="124" y="33"/>
                  </a:lnTo>
                  <a:lnTo>
                    <a:pt x="128" y="31"/>
                  </a:lnTo>
                  <a:lnTo>
                    <a:pt x="140" y="25"/>
                  </a:lnTo>
                  <a:lnTo>
                    <a:pt x="144" y="23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6" y="16"/>
                  </a:lnTo>
                  <a:lnTo>
                    <a:pt x="136" y="1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" name="Google Shape;601;p35">
              <a:extLst>
                <a:ext uri="{FF2B5EF4-FFF2-40B4-BE49-F238E27FC236}">
                  <a16:creationId xmlns:a16="http://schemas.microsoft.com/office/drawing/2014/main" id="{08B18C1E-0676-E20A-04F9-3C3913643F14}"/>
                </a:ext>
              </a:extLst>
            </p:cNvPr>
            <p:cNvSpPr/>
            <p:nvPr/>
          </p:nvSpPr>
          <p:spPr>
            <a:xfrm>
              <a:off x="6745685" y="3808649"/>
              <a:ext cx="134302" cy="110014"/>
            </a:xfrm>
            <a:custGeom>
              <a:avLst/>
              <a:gdLst/>
              <a:ahLst/>
              <a:cxnLst/>
              <a:rect l="l" t="t" r="r" b="b"/>
              <a:pathLst>
                <a:path w="149225" h="122238" extrusionOk="0">
                  <a:moveTo>
                    <a:pt x="0" y="84138"/>
                  </a:moveTo>
                  <a:lnTo>
                    <a:pt x="6350" y="84138"/>
                  </a:lnTo>
                  <a:lnTo>
                    <a:pt x="15875" y="87313"/>
                  </a:lnTo>
                  <a:lnTo>
                    <a:pt x="22225" y="87313"/>
                  </a:lnTo>
                  <a:lnTo>
                    <a:pt x="28575" y="96838"/>
                  </a:lnTo>
                  <a:lnTo>
                    <a:pt x="28575" y="100013"/>
                  </a:lnTo>
                  <a:lnTo>
                    <a:pt x="31750" y="106363"/>
                  </a:lnTo>
                  <a:lnTo>
                    <a:pt x="15875" y="103188"/>
                  </a:lnTo>
                  <a:lnTo>
                    <a:pt x="0" y="87313"/>
                  </a:lnTo>
                  <a:close/>
                  <a:moveTo>
                    <a:pt x="107950" y="0"/>
                  </a:moveTo>
                  <a:lnTo>
                    <a:pt x="139700" y="39688"/>
                  </a:lnTo>
                  <a:lnTo>
                    <a:pt x="149225" y="55563"/>
                  </a:lnTo>
                  <a:lnTo>
                    <a:pt x="149225" y="77788"/>
                  </a:lnTo>
                  <a:lnTo>
                    <a:pt x="149225" y="93663"/>
                  </a:lnTo>
                  <a:lnTo>
                    <a:pt x="142875" y="103188"/>
                  </a:lnTo>
                  <a:lnTo>
                    <a:pt x="142875" y="112713"/>
                  </a:lnTo>
                  <a:lnTo>
                    <a:pt x="117475" y="122238"/>
                  </a:lnTo>
                  <a:lnTo>
                    <a:pt x="104775" y="122238"/>
                  </a:lnTo>
                  <a:lnTo>
                    <a:pt x="88900" y="119063"/>
                  </a:lnTo>
                  <a:lnTo>
                    <a:pt x="82550" y="119063"/>
                  </a:lnTo>
                  <a:lnTo>
                    <a:pt x="76200" y="112713"/>
                  </a:lnTo>
                  <a:lnTo>
                    <a:pt x="69850" y="106363"/>
                  </a:lnTo>
                  <a:lnTo>
                    <a:pt x="76200" y="103188"/>
                  </a:lnTo>
                  <a:lnTo>
                    <a:pt x="79375" y="93663"/>
                  </a:lnTo>
                  <a:lnTo>
                    <a:pt x="69850" y="84138"/>
                  </a:lnTo>
                  <a:lnTo>
                    <a:pt x="57150" y="90488"/>
                  </a:lnTo>
                  <a:lnTo>
                    <a:pt x="38100" y="106363"/>
                  </a:lnTo>
                  <a:lnTo>
                    <a:pt x="38100" y="100013"/>
                  </a:lnTo>
                  <a:lnTo>
                    <a:pt x="38100" y="96838"/>
                  </a:lnTo>
                  <a:lnTo>
                    <a:pt x="38100" y="87313"/>
                  </a:lnTo>
                  <a:lnTo>
                    <a:pt x="28575" y="80963"/>
                  </a:lnTo>
                  <a:lnTo>
                    <a:pt x="25400" y="74613"/>
                  </a:lnTo>
                  <a:lnTo>
                    <a:pt x="25400" y="68263"/>
                  </a:lnTo>
                  <a:lnTo>
                    <a:pt x="15875" y="58738"/>
                  </a:lnTo>
                  <a:lnTo>
                    <a:pt x="6350" y="39688"/>
                  </a:lnTo>
                  <a:lnTo>
                    <a:pt x="9525" y="36513"/>
                  </a:lnTo>
                  <a:lnTo>
                    <a:pt x="12700" y="33338"/>
                  </a:lnTo>
                  <a:lnTo>
                    <a:pt x="19050" y="36513"/>
                  </a:lnTo>
                  <a:lnTo>
                    <a:pt x="25400" y="42863"/>
                  </a:lnTo>
                  <a:lnTo>
                    <a:pt x="34925" y="46038"/>
                  </a:lnTo>
                  <a:lnTo>
                    <a:pt x="41275" y="46038"/>
                  </a:lnTo>
                  <a:lnTo>
                    <a:pt x="41275" y="42863"/>
                  </a:lnTo>
                  <a:lnTo>
                    <a:pt x="41275" y="39688"/>
                  </a:lnTo>
                  <a:lnTo>
                    <a:pt x="38100" y="36513"/>
                  </a:lnTo>
                  <a:lnTo>
                    <a:pt x="34925" y="30162"/>
                  </a:lnTo>
                  <a:lnTo>
                    <a:pt x="34925" y="26987"/>
                  </a:lnTo>
                  <a:lnTo>
                    <a:pt x="34925" y="20637"/>
                  </a:lnTo>
                  <a:lnTo>
                    <a:pt x="47625" y="26987"/>
                  </a:lnTo>
                  <a:lnTo>
                    <a:pt x="53975" y="36513"/>
                  </a:lnTo>
                  <a:lnTo>
                    <a:pt x="63500" y="39688"/>
                  </a:lnTo>
                  <a:lnTo>
                    <a:pt x="73025" y="33338"/>
                  </a:lnTo>
                  <a:lnTo>
                    <a:pt x="82550" y="20637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" name="Google Shape;602;p35">
              <a:extLst>
                <a:ext uri="{FF2B5EF4-FFF2-40B4-BE49-F238E27FC236}">
                  <a16:creationId xmlns:a16="http://schemas.microsoft.com/office/drawing/2014/main" id="{619DF024-5712-C330-FFA9-8FDE36DC6F14}"/>
                </a:ext>
              </a:extLst>
            </p:cNvPr>
            <p:cNvSpPr/>
            <p:nvPr/>
          </p:nvSpPr>
          <p:spPr>
            <a:xfrm>
              <a:off x="6779975" y="3428603"/>
              <a:ext cx="791527" cy="432912"/>
            </a:xfrm>
            <a:custGeom>
              <a:avLst/>
              <a:gdLst/>
              <a:ahLst/>
              <a:cxnLst/>
              <a:rect l="l" t="t" r="r" b="b"/>
              <a:pathLst>
                <a:path w="554" h="303" extrusionOk="0">
                  <a:moveTo>
                    <a:pt x="80" y="283"/>
                  </a:moveTo>
                  <a:lnTo>
                    <a:pt x="84" y="279"/>
                  </a:lnTo>
                  <a:lnTo>
                    <a:pt x="88" y="275"/>
                  </a:lnTo>
                  <a:lnTo>
                    <a:pt x="102" y="272"/>
                  </a:lnTo>
                  <a:lnTo>
                    <a:pt x="114" y="277"/>
                  </a:lnTo>
                  <a:lnTo>
                    <a:pt x="116" y="281"/>
                  </a:lnTo>
                  <a:lnTo>
                    <a:pt x="116" y="283"/>
                  </a:lnTo>
                  <a:lnTo>
                    <a:pt x="120" y="291"/>
                  </a:lnTo>
                  <a:lnTo>
                    <a:pt x="130" y="291"/>
                  </a:lnTo>
                  <a:lnTo>
                    <a:pt x="130" y="226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42" y="218"/>
                  </a:lnTo>
                  <a:lnTo>
                    <a:pt x="156" y="214"/>
                  </a:lnTo>
                  <a:lnTo>
                    <a:pt x="164" y="212"/>
                  </a:lnTo>
                  <a:lnTo>
                    <a:pt x="170" y="216"/>
                  </a:lnTo>
                  <a:lnTo>
                    <a:pt x="184" y="226"/>
                  </a:lnTo>
                  <a:lnTo>
                    <a:pt x="202" y="242"/>
                  </a:lnTo>
                  <a:lnTo>
                    <a:pt x="210" y="250"/>
                  </a:lnTo>
                  <a:lnTo>
                    <a:pt x="216" y="250"/>
                  </a:lnTo>
                  <a:lnTo>
                    <a:pt x="224" y="250"/>
                  </a:lnTo>
                  <a:lnTo>
                    <a:pt x="230" y="248"/>
                  </a:lnTo>
                  <a:lnTo>
                    <a:pt x="238" y="248"/>
                  </a:lnTo>
                  <a:lnTo>
                    <a:pt x="244" y="250"/>
                  </a:lnTo>
                  <a:lnTo>
                    <a:pt x="252" y="246"/>
                  </a:lnTo>
                  <a:lnTo>
                    <a:pt x="258" y="250"/>
                  </a:lnTo>
                  <a:lnTo>
                    <a:pt x="260" y="254"/>
                  </a:lnTo>
                  <a:lnTo>
                    <a:pt x="262" y="260"/>
                  </a:lnTo>
                  <a:lnTo>
                    <a:pt x="266" y="262"/>
                  </a:lnTo>
                  <a:lnTo>
                    <a:pt x="266" y="268"/>
                  </a:lnTo>
                  <a:lnTo>
                    <a:pt x="266" y="272"/>
                  </a:lnTo>
                  <a:lnTo>
                    <a:pt x="266" y="279"/>
                  </a:lnTo>
                  <a:lnTo>
                    <a:pt x="270" y="279"/>
                  </a:lnTo>
                  <a:lnTo>
                    <a:pt x="272" y="281"/>
                  </a:lnTo>
                  <a:lnTo>
                    <a:pt x="272" y="283"/>
                  </a:lnTo>
                  <a:lnTo>
                    <a:pt x="274" y="291"/>
                  </a:lnTo>
                  <a:lnTo>
                    <a:pt x="278" y="291"/>
                  </a:lnTo>
                  <a:lnTo>
                    <a:pt x="288" y="293"/>
                  </a:lnTo>
                  <a:lnTo>
                    <a:pt x="292" y="293"/>
                  </a:lnTo>
                  <a:lnTo>
                    <a:pt x="294" y="295"/>
                  </a:lnTo>
                  <a:lnTo>
                    <a:pt x="292" y="299"/>
                  </a:lnTo>
                  <a:lnTo>
                    <a:pt x="300" y="303"/>
                  </a:lnTo>
                  <a:lnTo>
                    <a:pt x="302" y="303"/>
                  </a:lnTo>
                  <a:lnTo>
                    <a:pt x="300" y="299"/>
                  </a:lnTo>
                  <a:lnTo>
                    <a:pt x="304" y="293"/>
                  </a:lnTo>
                  <a:lnTo>
                    <a:pt x="320" y="281"/>
                  </a:lnTo>
                  <a:lnTo>
                    <a:pt x="332" y="274"/>
                  </a:lnTo>
                  <a:lnTo>
                    <a:pt x="336" y="264"/>
                  </a:lnTo>
                  <a:lnTo>
                    <a:pt x="338" y="264"/>
                  </a:lnTo>
                  <a:lnTo>
                    <a:pt x="356" y="266"/>
                  </a:lnTo>
                  <a:lnTo>
                    <a:pt x="358" y="268"/>
                  </a:lnTo>
                  <a:lnTo>
                    <a:pt x="362" y="270"/>
                  </a:lnTo>
                  <a:lnTo>
                    <a:pt x="366" y="272"/>
                  </a:lnTo>
                  <a:lnTo>
                    <a:pt x="366" y="270"/>
                  </a:lnTo>
                  <a:lnTo>
                    <a:pt x="366" y="262"/>
                  </a:lnTo>
                  <a:lnTo>
                    <a:pt x="378" y="256"/>
                  </a:lnTo>
                  <a:lnTo>
                    <a:pt x="386" y="262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14" y="260"/>
                  </a:lnTo>
                  <a:lnTo>
                    <a:pt x="428" y="262"/>
                  </a:lnTo>
                  <a:lnTo>
                    <a:pt x="428" y="262"/>
                  </a:lnTo>
                  <a:lnTo>
                    <a:pt x="444" y="266"/>
                  </a:lnTo>
                  <a:lnTo>
                    <a:pt x="446" y="268"/>
                  </a:lnTo>
                  <a:lnTo>
                    <a:pt x="456" y="272"/>
                  </a:lnTo>
                  <a:lnTo>
                    <a:pt x="458" y="275"/>
                  </a:lnTo>
                  <a:lnTo>
                    <a:pt x="458" y="270"/>
                  </a:lnTo>
                  <a:lnTo>
                    <a:pt x="460" y="264"/>
                  </a:lnTo>
                  <a:lnTo>
                    <a:pt x="464" y="262"/>
                  </a:lnTo>
                  <a:lnTo>
                    <a:pt x="460" y="260"/>
                  </a:lnTo>
                  <a:lnTo>
                    <a:pt x="464" y="258"/>
                  </a:lnTo>
                  <a:lnTo>
                    <a:pt x="466" y="256"/>
                  </a:lnTo>
                  <a:lnTo>
                    <a:pt x="462" y="246"/>
                  </a:lnTo>
                  <a:lnTo>
                    <a:pt x="462" y="240"/>
                  </a:lnTo>
                  <a:lnTo>
                    <a:pt x="460" y="236"/>
                  </a:lnTo>
                  <a:lnTo>
                    <a:pt x="460" y="230"/>
                  </a:lnTo>
                  <a:lnTo>
                    <a:pt x="456" y="226"/>
                  </a:lnTo>
                  <a:lnTo>
                    <a:pt x="456" y="222"/>
                  </a:lnTo>
                  <a:lnTo>
                    <a:pt x="462" y="220"/>
                  </a:lnTo>
                  <a:lnTo>
                    <a:pt x="474" y="218"/>
                  </a:lnTo>
                  <a:lnTo>
                    <a:pt x="480" y="216"/>
                  </a:lnTo>
                  <a:lnTo>
                    <a:pt x="482" y="218"/>
                  </a:lnTo>
                  <a:lnTo>
                    <a:pt x="488" y="220"/>
                  </a:lnTo>
                  <a:lnTo>
                    <a:pt x="492" y="218"/>
                  </a:lnTo>
                  <a:lnTo>
                    <a:pt x="488" y="214"/>
                  </a:lnTo>
                  <a:lnTo>
                    <a:pt x="488" y="208"/>
                  </a:lnTo>
                  <a:lnTo>
                    <a:pt x="492" y="196"/>
                  </a:lnTo>
                  <a:lnTo>
                    <a:pt x="496" y="184"/>
                  </a:lnTo>
                  <a:lnTo>
                    <a:pt x="500" y="180"/>
                  </a:lnTo>
                  <a:lnTo>
                    <a:pt x="508" y="184"/>
                  </a:lnTo>
                  <a:lnTo>
                    <a:pt x="520" y="186"/>
                  </a:lnTo>
                  <a:lnTo>
                    <a:pt x="534" y="176"/>
                  </a:lnTo>
                  <a:lnTo>
                    <a:pt x="532" y="164"/>
                  </a:lnTo>
                  <a:lnTo>
                    <a:pt x="534" y="156"/>
                  </a:lnTo>
                  <a:lnTo>
                    <a:pt x="540" y="156"/>
                  </a:lnTo>
                  <a:lnTo>
                    <a:pt x="548" y="150"/>
                  </a:lnTo>
                  <a:lnTo>
                    <a:pt x="548" y="144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8" y="130"/>
                  </a:lnTo>
                  <a:lnTo>
                    <a:pt x="546" y="126"/>
                  </a:lnTo>
                  <a:lnTo>
                    <a:pt x="542" y="130"/>
                  </a:lnTo>
                  <a:lnTo>
                    <a:pt x="536" y="132"/>
                  </a:lnTo>
                  <a:lnTo>
                    <a:pt x="526" y="130"/>
                  </a:lnTo>
                  <a:lnTo>
                    <a:pt x="516" y="116"/>
                  </a:lnTo>
                  <a:lnTo>
                    <a:pt x="510" y="106"/>
                  </a:lnTo>
                  <a:lnTo>
                    <a:pt x="504" y="102"/>
                  </a:lnTo>
                  <a:lnTo>
                    <a:pt x="500" y="100"/>
                  </a:lnTo>
                  <a:lnTo>
                    <a:pt x="496" y="102"/>
                  </a:lnTo>
                  <a:lnTo>
                    <a:pt x="492" y="104"/>
                  </a:lnTo>
                  <a:lnTo>
                    <a:pt x="492" y="106"/>
                  </a:lnTo>
                  <a:lnTo>
                    <a:pt x="482" y="106"/>
                  </a:lnTo>
                  <a:lnTo>
                    <a:pt x="474" y="106"/>
                  </a:lnTo>
                  <a:lnTo>
                    <a:pt x="470" y="102"/>
                  </a:lnTo>
                  <a:lnTo>
                    <a:pt x="472" y="98"/>
                  </a:lnTo>
                  <a:lnTo>
                    <a:pt x="470" y="96"/>
                  </a:lnTo>
                  <a:lnTo>
                    <a:pt x="470" y="98"/>
                  </a:lnTo>
                  <a:lnTo>
                    <a:pt x="464" y="94"/>
                  </a:lnTo>
                  <a:lnTo>
                    <a:pt x="462" y="96"/>
                  </a:lnTo>
                  <a:lnTo>
                    <a:pt x="460" y="102"/>
                  </a:lnTo>
                  <a:lnTo>
                    <a:pt x="456" y="106"/>
                  </a:lnTo>
                  <a:lnTo>
                    <a:pt x="456" y="106"/>
                  </a:lnTo>
                  <a:lnTo>
                    <a:pt x="456" y="104"/>
                  </a:lnTo>
                  <a:lnTo>
                    <a:pt x="454" y="100"/>
                  </a:lnTo>
                  <a:lnTo>
                    <a:pt x="452" y="98"/>
                  </a:lnTo>
                  <a:lnTo>
                    <a:pt x="450" y="94"/>
                  </a:lnTo>
                  <a:lnTo>
                    <a:pt x="450" y="90"/>
                  </a:lnTo>
                  <a:lnTo>
                    <a:pt x="446" y="84"/>
                  </a:lnTo>
                  <a:lnTo>
                    <a:pt x="444" y="78"/>
                  </a:lnTo>
                  <a:lnTo>
                    <a:pt x="442" y="76"/>
                  </a:lnTo>
                  <a:lnTo>
                    <a:pt x="440" y="74"/>
                  </a:lnTo>
                  <a:lnTo>
                    <a:pt x="438" y="70"/>
                  </a:lnTo>
                  <a:lnTo>
                    <a:pt x="436" y="68"/>
                  </a:lnTo>
                  <a:lnTo>
                    <a:pt x="434" y="62"/>
                  </a:lnTo>
                  <a:lnTo>
                    <a:pt x="430" y="56"/>
                  </a:lnTo>
                  <a:lnTo>
                    <a:pt x="430" y="54"/>
                  </a:lnTo>
                  <a:lnTo>
                    <a:pt x="422" y="44"/>
                  </a:lnTo>
                  <a:lnTo>
                    <a:pt x="414" y="40"/>
                  </a:lnTo>
                  <a:lnTo>
                    <a:pt x="410" y="34"/>
                  </a:lnTo>
                  <a:lnTo>
                    <a:pt x="408" y="30"/>
                  </a:lnTo>
                  <a:lnTo>
                    <a:pt x="408" y="26"/>
                  </a:lnTo>
                  <a:lnTo>
                    <a:pt x="404" y="28"/>
                  </a:lnTo>
                  <a:lnTo>
                    <a:pt x="400" y="30"/>
                  </a:lnTo>
                  <a:lnTo>
                    <a:pt x="394" y="34"/>
                  </a:lnTo>
                  <a:lnTo>
                    <a:pt x="390" y="38"/>
                  </a:lnTo>
                  <a:lnTo>
                    <a:pt x="388" y="38"/>
                  </a:lnTo>
                  <a:lnTo>
                    <a:pt x="382" y="40"/>
                  </a:lnTo>
                  <a:lnTo>
                    <a:pt x="376" y="44"/>
                  </a:lnTo>
                  <a:lnTo>
                    <a:pt x="372" y="42"/>
                  </a:lnTo>
                  <a:lnTo>
                    <a:pt x="370" y="42"/>
                  </a:lnTo>
                  <a:lnTo>
                    <a:pt x="370" y="44"/>
                  </a:lnTo>
                  <a:lnTo>
                    <a:pt x="366" y="46"/>
                  </a:lnTo>
                  <a:lnTo>
                    <a:pt x="364" y="42"/>
                  </a:lnTo>
                  <a:lnTo>
                    <a:pt x="364" y="42"/>
                  </a:lnTo>
                  <a:lnTo>
                    <a:pt x="366" y="38"/>
                  </a:lnTo>
                  <a:lnTo>
                    <a:pt x="364" y="34"/>
                  </a:lnTo>
                  <a:lnTo>
                    <a:pt x="358" y="30"/>
                  </a:lnTo>
                  <a:lnTo>
                    <a:pt x="350" y="26"/>
                  </a:lnTo>
                  <a:lnTo>
                    <a:pt x="346" y="30"/>
                  </a:lnTo>
                  <a:lnTo>
                    <a:pt x="338" y="32"/>
                  </a:lnTo>
                  <a:lnTo>
                    <a:pt x="336" y="32"/>
                  </a:lnTo>
                  <a:lnTo>
                    <a:pt x="334" y="28"/>
                  </a:lnTo>
                  <a:lnTo>
                    <a:pt x="336" y="24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4" y="10"/>
                  </a:lnTo>
                  <a:lnTo>
                    <a:pt x="332" y="6"/>
                  </a:lnTo>
                  <a:lnTo>
                    <a:pt x="328" y="4"/>
                  </a:lnTo>
                  <a:lnTo>
                    <a:pt x="326" y="4"/>
                  </a:lnTo>
                  <a:lnTo>
                    <a:pt x="320" y="6"/>
                  </a:lnTo>
                  <a:lnTo>
                    <a:pt x="306" y="0"/>
                  </a:lnTo>
                  <a:lnTo>
                    <a:pt x="302" y="2"/>
                  </a:lnTo>
                  <a:lnTo>
                    <a:pt x="300" y="6"/>
                  </a:lnTo>
                  <a:lnTo>
                    <a:pt x="296" y="6"/>
                  </a:lnTo>
                  <a:lnTo>
                    <a:pt x="296" y="10"/>
                  </a:lnTo>
                  <a:lnTo>
                    <a:pt x="290" y="14"/>
                  </a:lnTo>
                  <a:lnTo>
                    <a:pt x="286" y="14"/>
                  </a:lnTo>
                  <a:lnTo>
                    <a:pt x="272" y="18"/>
                  </a:lnTo>
                  <a:lnTo>
                    <a:pt x="262" y="18"/>
                  </a:lnTo>
                  <a:lnTo>
                    <a:pt x="258" y="20"/>
                  </a:lnTo>
                  <a:lnTo>
                    <a:pt x="254" y="22"/>
                  </a:lnTo>
                  <a:lnTo>
                    <a:pt x="254" y="24"/>
                  </a:lnTo>
                  <a:lnTo>
                    <a:pt x="254" y="26"/>
                  </a:lnTo>
                  <a:lnTo>
                    <a:pt x="252" y="24"/>
                  </a:lnTo>
                  <a:lnTo>
                    <a:pt x="248" y="24"/>
                  </a:lnTo>
                  <a:lnTo>
                    <a:pt x="238" y="28"/>
                  </a:lnTo>
                  <a:lnTo>
                    <a:pt x="232" y="30"/>
                  </a:lnTo>
                  <a:lnTo>
                    <a:pt x="226" y="30"/>
                  </a:lnTo>
                  <a:lnTo>
                    <a:pt x="224" y="32"/>
                  </a:lnTo>
                  <a:lnTo>
                    <a:pt x="222" y="32"/>
                  </a:lnTo>
                  <a:lnTo>
                    <a:pt x="220" y="34"/>
                  </a:lnTo>
                  <a:lnTo>
                    <a:pt x="218" y="34"/>
                  </a:lnTo>
                  <a:lnTo>
                    <a:pt x="216" y="32"/>
                  </a:lnTo>
                  <a:lnTo>
                    <a:pt x="214" y="34"/>
                  </a:lnTo>
                  <a:lnTo>
                    <a:pt x="212" y="32"/>
                  </a:lnTo>
                  <a:lnTo>
                    <a:pt x="210" y="34"/>
                  </a:lnTo>
                  <a:lnTo>
                    <a:pt x="208" y="34"/>
                  </a:lnTo>
                  <a:lnTo>
                    <a:pt x="206" y="34"/>
                  </a:lnTo>
                  <a:lnTo>
                    <a:pt x="204" y="32"/>
                  </a:lnTo>
                  <a:lnTo>
                    <a:pt x="200" y="32"/>
                  </a:lnTo>
                  <a:lnTo>
                    <a:pt x="200" y="44"/>
                  </a:lnTo>
                  <a:lnTo>
                    <a:pt x="202" y="44"/>
                  </a:lnTo>
                  <a:lnTo>
                    <a:pt x="202" y="46"/>
                  </a:lnTo>
                  <a:lnTo>
                    <a:pt x="206" y="52"/>
                  </a:lnTo>
                  <a:lnTo>
                    <a:pt x="212" y="54"/>
                  </a:lnTo>
                  <a:lnTo>
                    <a:pt x="210" y="56"/>
                  </a:lnTo>
                  <a:lnTo>
                    <a:pt x="208" y="56"/>
                  </a:lnTo>
                  <a:lnTo>
                    <a:pt x="206" y="56"/>
                  </a:lnTo>
                  <a:lnTo>
                    <a:pt x="200" y="56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72"/>
                  </a:lnTo>
                  <a:lnTo>
                    <a:pt x="192" y="76"/>
                  </a:lnTo>
                  <a:lnTo>
                    <a:pt x="188" y="78"/>
                  </a:lnTo>
                  <a:lnTo>
                    <a:pt x="186" y="82"/>
                  </a:lnTo>
                  <a:lnTo>
                    <a:pt x="188" y="84"/>
                  </a:lnTo>
                  <a:lnTo>
                    <a:pt x="196" y="88"/>
                  </a:lnTo>
                  <a:lnTo>
                    <a:pt x="200" y="90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6"/>
                  </a:lnTo>
                  <a:lnTo>
                    <a:pt x="204" y="104"/>
                  </a:lnTo>
                  <a:lnTo>
                    <a:pt x="198" y="108"/>
                  </a:lnTo>
                  <a:lnTo>
                    <a:pt x="190" y="108"/>
                  </a:lnTo>
                  <a:lnTo>
                    <a:pt x="184" y="104"/>
                  </a:lnTo>
                  <a:lnTo>
                    <a:pt x="180" y="110"/>
                  </a:lnTo>
                  <a:lnTo>
                    <a:pt x="172" y="108"/>
                  </a:lnTo>
                  <a:lnTo>
                    <a:pt x="166" y="106"/>
                  </a:lnTo>
                  <a:lnTo>
                    <a:pt x="160" y="98"/>
                  </a:lnTo>
                  <a:lnTo>
                    <a:pt x="154" y="98"/>
                  </a:lnTo>
                  <a:lnTo>
                    <a:pt x="146" y="100"/>
                  </a:lnTo>
                  <a:lnTo>
                    <a:pt x="138" y="100"/>
                  </a:lnTo>
                  <a:lnTo>
                    <a:pt x="134" y="102"/>
                  </a:lnTo>
                  <a:lnTo>
                    <a:pt x="130" y="106"/>
                  </a:lnTo>
                  <a:lnTo>
                    <a:pt x="124" y="110"/>
                  </a:lnTo>
                  <a:lnTo>
                    <a:pt x="116" y="102"/>
                  </a:lnTo>
                  <a:lnTo>
                    <a:pt x="116" y="104"/>
                  </a:lnTo>
                  <a:lnTo>
                    <a:pt x="114" y="104"/>
                  </a:lnTo>
                  <a:lnTo>
                    <a:pt x="106" y="102"/>
                  </a:lnTo>
                  <a:lnTo>
                    <a:pt x="104" y="100"/>
                  </a:lnTo>
                  <a:lnTo>
                    <a:pt x="102" y="98"/>
                  </a:lnTo>
                  <a:lnTo>
                    <a:pt x="102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98" y="96"/>
                  </a:lnTo>
                  <a:lnTo>
                    <a:pt x="96" y="94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82" y="92"/>
                  </a:lnTo>
                  <a:lnTo>
                    <a:pt x="80" y="88"/>
                  </a:lnTo>
                  <a:lnTo>
                    <a:pt x="74" y="86"/>
                  </a:lnTo>
                  <a:lnTo>
                    <a:pt x="72" y="88"/>
                  </a:lnTo>
                  <a:lnTo>
                    <a:pt x="66" y="86"/>
                  </a:lnTo>
                  <a:lnTo>
                    <a:pt x="62" y="86"/>
                  </a:lnTo>
                  <a:lnTo>
                    <a:pt x="60" y="86"/>
                  </a:lnTo>
                  <a:lnTo>
                    <a:pt x="58" y="84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6" y="96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28" y="110"/>
                  </a:lnTo>
                  <a:lnTo>
                    <a:pt x="28" y="112"/>
                  </a:lnTo>
                  <a:lnTo>
                    <a:pt x="32" y="122"/>
                  </a:lnTo>
                  <a:lnTo>
                    <a:pt x="26" y="126"/>
                  </a:lnTo>
                  <a:lnTo>
                    <a:pt x="22" y="122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0" y="116"/>
                  </a:lnTo>
                  <a:lnTo>
                    <a:pt x="10" y="122"/>
                  </a:lnTo>
                  <a:lnTo>
                    <a:pt x="8" y="124"/>
                  </a:lnTo>
                  <a:lnTo>
                    <a:pt x="4" y="134"/>
                  </a:lnTo>
                  <a:lnTo>
                    <a:pt x="8" y="140"/>
                  </a:lnTo>
                  <a:lnTo>
                    <a:pt x="2" y="146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6" y="158"/>
                  </a:lnTo>
                  <a:lnTo>
                    <a:pt x="6" y="164"/>
                  </a:lnTo>
                  <a:lnTo>
                    <a:pt x="8" y="166"/>
                  </a:lnTo>
                  <a:lnTo>
                    <a:pt x="8" y="168"/>
                  </a:lnTo>
                  <a:lnTo>
                    <a:pt x="12" y="168"/>
                  </a:lnTo>
                  <a:lnTo>
                    <a:pt x="20" y="168"/>
                  </a:lnTo>
                  <a:lnTo>
                    <a:pt x="24" y="172"/>
                  </a:lnTo>
                  <a:lnTo>
                    <a:pt x="28" y="176"/>
                  </a:lnTo>
                  <a:lnTo>
                    <a:pt x="34" y="188"/>
                  </a:lnTo>
                  <a:lnTo>
                    <a:pt x="30" y="190"/>
                  </a:lnTo>
                  <a:lnTo>
                    <a:pt x="28" y="188"/>
                  </a:lnTo>
                  <a:lnTo>
                    <a:pt x="28" y="190"/>
                  </a:lnTo>
                  <a:lnTo>
                    <a:pt x="36" y="196"/>
                  </a:lnTo>
                  <a:lnTo>
                    <a:pt x="48" y="206"/>
                  </a:lnTo>
                  <a:lnTo>
                    <a:pt x="38" y="216"/>
                  </a:lnTo>
                  <a:lnTo>
                    <a:pt x="32" y="224"/>
                  </a:lnTo>
                  <a:lnTo>
                    <a:pt x="30" y="228"/>
                  </a:lnTo>
                  <a:lnTo>
                    <a:pt x="32" y="232"/>
                  </a:lnTo>
                  <a:lnTo>
                    <a:pt x="34" y="242"/>
                  </a:lnTo>
                  <a:lnTo>
                    <a:pt x="34" y="246"/>
                  </a:lnTo>
                  <a:lnTo>
                    <a:pt x="36" y="250"/>
                  </a:lnTo>
                  <a:lnTo>
                    <a:pt x="40" y="258"/>
                  </a:lnTo>
                  <a:lnTo>
                    <a:pt x="44" y="266"/>
                  </a:lnTo>
                  <a:lnTo>
                    <a:pt x="64" y="291"/>
                  </a:lnTo>
                  <a:lnTo>
                    <a:pt x="80" y="283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" name="Google Shape;603;p35">
              <a:extLst>
                <a:ext uri="{FF2B5EF4-FFF2-40B4-BE49-F238E27FC236}">
                  <a16:creationId xmlns:a16="http://schemas.microsoft.com/office/drawing/2014/main" id="{25AA2175-C583-83A4-EDED-FC88CB14D4FF}"/>
                </a:ext>
              </a:extLst>
            </p:cNvPr>
            <p:cNvSpPr/>
            <p:nvPr/>
          </p:nvSpPr>
          <p:spPr>
            <a:xfrm>
              <a:off x="6382782" y="3824367"/>
              <a:ext cx="362903" cy="151447"/>
            </a:xfrm>
            <a:custGeom>
              <a:avLst/>
              <a:gdLst/>
              <a:ahLst/>
              <a:cxnLst/>
              <a:rect l="l" t="t" r="r" b="b"/>
              <a:pathLst>
                <a:path w="403225" h="168275" extrusionOk="0">
                  <a:moveTo>
                    <a:pt x="161925" y="0"/>
                  </a:moveTo>
                  <a:lnTo>
                    <a:pt x="174625" y="3175"/>
                  </a:lnTo>
                  <a:lnTo>
                    <a:pt x="184150" y="3175"/>
                  </a:lnTo>
                  <a:lnTo>
                    <a:pt x="193675" y="0"/>
                  </a:lnTo>
                  <a:lnTo>
                    <a:pt x="212725" y="12700"/>
                  </a:lnTo>
                  <a:lnTo>
                    <a:pt x="215900" y="9525"/>
                  </a:lnTo>
                  <a:lnTo>
                    <a:pt x="219075" y="15875"/>
                  </a:lnTo>
                  <a:lnTo>
                    <a:pt x="222250" y="22225"/>
                  </a:lnTo>
                  <a:lnTo>
                    <a:pt x="228600" y="19050"/>
                  </a:lnTo>
                  <a:lnTo>
                    <a:pt x="234950" y="22225"/>
                  </a:lnTo>
                  <a:lnTo>
                    <a:pt x="238125" y="22225"/>
                  </a:lnTo>
                  <a:lnTo>
                    <a:pt x="238125" y="25400"/>
                  </a:lnTo>
                  <a:lnTo>
                    <a:pt x="247650" y="28575"/>
                  </a:lnTo>
                  <a:lnTo>
                    <a:pt x="257175" y="31750"/>
                  </a:lnTo>
                  <a:lnTo>
                    <a:pt x="276225" y="28575"/>
                  </a:lnTo>
                  <a:lnTo>
                    <a:pt x="288925" y="28575"/>
                  </a:lnTo>
                  <a:lnTo>
                    <a:pt x="301625" y="31750"/>
                  </a:lnTo>
                  <a:lnTo>
                    <a:pt x="307975" y="31750"/>
                  </a:lnTo>
                  <a:lnTo>
                    <a:pt x="323850" y="22225"/>
                  </a:lnTo>
                  <a:lnTo>
                    <a:pt x="333375" y="15875"/>
                  </a:lnTo>
                  <a:lnTo>
                    <a:pt x="358775" y="12700"/>
                  </a:lnTo>
                  <a:lnTo>
                    <a:pt x="365125" y="15875"/>
                  </a:lnTo>
                  <a:lnTo>
                    <a:pt x="374650" y="25400"/>
                  </a:lnTo>
                  <a:lnTo>
                    <a:pt x="381000" y="38100"/>
                  </a:lnTo>
                  <a:lnTo>
                    <a:pt x="381000" y="41275"/>
                  </a:lnTo>
                  <a:lnTo>
                    <a:pt x="381000" y="53975"/>
                  </a:lnTo>
                  <a:lnTo>
                    <a:pt x="403225" y="66675"/>
                  </a:lnTo>
                  <a:lnTo>
                    <a:pt x="403225" y="69850"/>
                  </a:lnTo>
                  <a:lnTo>
                    <a:pt x="400050" y="66675"/>
                  </a:lnTo>
                  <a:lnTo>
                    <a:pt x="396875" y="66675"/>
                  </a:lnTo>
                  <a:lnTo>
                    <a:pt x="387350" y="76200"/>
                  </a:lnTo>
                  <a:lnTo>
                    <a:pt x="390525" y="85725"/>
                  </a:lnTo>
                  <a:lnTo>
                    <a:pt x="393700" y="88900"/>
                  </a:lnTo>
                  <a:lnTo>
                    <a:pt x="393700" y="95250"/>
                  </a:lnTo>
                  <a:lnTo>
                    <a:pt x="393700" y="107950"/>
                  </a:lnTo>
                  <a:lnTo>
                    <a:pt x="393700" y="117475"/>
                  </a:lnTo>
                  <a:lnTo>
                    <a:pt x="400050" y="127000"/>
                  </a:lnTo>
                  <a:lnTo>
                    <a:pt x="403225" y="136525"/>
                  </a:lnTo>
                  <a:lnTo>
                    <a:pt x="400050" y="136525"/>
                  </a:lnTo>
                  <a:lnTo>
                    <a:pt x="390525" y="133350"/>
                  </a:lnTo>
                  <a:lnTo>
                    <a:pt x="387350" y="133350"/>
                  </a:lnTo>
                  <a:lnTo>
                    <a:pt x="381000" y="133350"/>
                  </a:lnTo>
                  <a:lnTo>
                    <a:pt x="371475" y="130175"/>
                  </a:lnTo>
                  <a:lnTo>
                    <a:pt x="365125" y="130175"/>
                  </a:lnTo>
                  <a:lnTo>
                    <a:pt x="358775" y="133350"/>
                  </a:lnTo>
                  <a:lnTo>
                    <a:pt x="352425" y="136525"/>
                  </a:lnTo>
                  <a:lnTo>
                    <a:pt x="349250" y="133350"/>
                  </a:lnTo>
                  <a:lnTo>
                    <a:pt x="333375" y="139700"/>
                  </a:lnTo>
                  <a:lnTo>
                    <a:pt x="320675" y="136525"/>
                  </a:lnTo>
                  <a:lnTo>
                    <a:pt x="304800" y="142875"/>
                  </a:lnTo>
                  <a:lnTo>
                    <a:pt x="288925" y="149225"/>
                  </a:lnTo>
                  <a:lnTo>
                    <a:pt x="282575" y="149225"/>
                  </a:lnTo>
                  <a:lnTo>
                    <a:pt x="273050" y="149225"/>
                  </a:lnTo>
                  <a:lnTo>
                    <a:pt x="269875" y="146050"/>
                  </a:lnTo>
                  <a:lnTo>
                    <a:pt x="263525" y="142875"/>
                  </a:lnTo>
                  <a:lnTo>
                    <a:pt x="247650" y="146050"/>
                  </a:lnTo>
                  <a:lnTo>
                    <a:pt x="228600" y="146050"/>
                  </a:lnTo>
                  <a:lnTo>
                    <a:pt x="228600" y="158750"/>
                  </a:lnTo>
                  <a:lnTo>
                    <a:pt x="228600" y="161925"/>
                  </a:lnTo>
                  <a:lnTo>
                    <a:pt x="222250" y="161925"/>
                  </a:lnTo>
                  <a:lnTo>
                    <a:pt x="222250" y="168275"/>
                  </a:lnTo>
                  <a:lnTo>
                    <a:pt x="212725" y="168275"/>
                  </a:lnTo>
                  <a:lnTo>
                    <a:pt x="212725" y="165100"/>
                  </a:lnTo>
                  <a:lnTo>
                    <a:pt x="209550" y="158750"/>
                  </a:lnTo>
                  <a:lnTo>
                    <a:pt x="212725" y="155575"/>
                  </a:lnTo>
                  <a:lnTo>
                    <a:pt x="219075" y="149225"/>
                  </a:lnTo>
                  <a:lnTo>
                    <a:pt x="215900" y="142875"/>
                  </a:lnTo>
                  <a:lnTo>
                    <a:pt x="206375" y="152400"/>
                  </a:lnTo>
                  <a:lnTo>
                    <a:pt x="203200" y="152400"/>
                  </a:lnTo>
                  <a:lnTo>
                    <a:pt x="190500" y="149225"/>
                  </a:lnTo>
                  <a:lnTo>
                    <a:pt x="190500" y="146050"/>
                  </a:lnTo>
                  <a:lnTo>
                    <a:pt x="180975" y="149225"/>
                  </a:lnTo>
                  <a:lnTo>
                    <a:pt x="171450" y="158750"/>
                  </a:lnTo>
                  <a:lnTo>
                    <a:pt x="146050" y="165100"/>
                  </a:lnTo>
                  <a:lnTo>
                    <a:pt x="130175" y="155575"/>
                  </a:lnTo>
                  <a:lnTo>
                    <a:pt x="120650" y="149225"/>
                  </a:lnTo>
                  <a:lnTo>
                    <a:pt x="111125" y="146050"/>
                  </a:lnTo>
                  <a:lnTo>
                    <a:pt x="104775" y="146050"/>
                  </a:lnTo>
                  <a:lnTo>
                    <a:pt x="98425" y="149225"/>
                  </a:lnTo>
                  <a:lnTo>
                    <a:pt x="95250" y="158750"/>
                  </a:lnTo>
                  <a:lnTo>
                    <a:pt x="88900" y="158750"/>
                  </a:lnTo>
                  <a:lnTo>
                    <a:pt x="82550" y="161925"/>
                  </a:lnTo>
                  <a:lnTo>
                    <a:pt x="79375" y="161925"/>
                  </a:lnTo>
                  <a:lnTo>
                    <a:pt x="76200" y="161925"/>
                  </a:lnTo>
                  <a:lnTo>
                    <a:pt x="69850" y="158750"/>
                  </a:lnTo>
                  <a:lnTo>
                    <a:pt x="60325" y="149225"/>
                  </a:lnTo>
                  <a:lnTo>
                    <a:pt x="47625" y="139700"/>
                  </a:lnTo>
                  <a:lnTo>
                    <a:pt x="28575" y="139700"/>
                  </a:lnTo>
                  <a:lnTo>
                    <a:pt x="25400" y="127000"/>
                  </a:lnTo>
                  <a:lnTo>
                    <a:pt x="25400" y="114300"/>
                  </a:lnTo>
                  <a:lnTo>
                    <a:pt x="12700" y="111125"/>
                  </a:lnTo>
                  <a:lnTo>
                    <a:pt x="9525" y="111125"/>
                  </a:lnTo>
                  <a:lnTo>
                    <a:pt x="6350" y="107950"/>
                  </a:lnTo>
                  <a:lnTo>
                    <a:pt x="9525" y="95250"/>
                  </a:lnTo>
                  <a:lnTo>
                    <a:pt x="15875" y="95250"/>
                  </a:lnTo>
                  <a:lnTo>
                    <a:pt x="19050" y="88900"/>
                  </a:lnTo>
                  <a:lnTo>
                    <a:pt x="12700" y="79375"/>
                  </a:lnTo>
                  <a:lnTo>
                    <a:pt x="15875" y="76200"/>
                  </a:lnTo>
                  <a:lnTo>
                    <a:pt x="19050" y="73025"/>
                  </a:lnTo>
                  <a:lnTo>
                    <a:pt x="0" y="73025"/>
                  </a:lnTo>
                  <a:lnTo>
                    <a:pt x="3175" y="57150"/>
                  </a:lnTo>
                  <a:lnTo>
                    <a:pt x="6350" y="60325"/>
                  </a:lnTo>
                  <a:lnTo>
                    <a:pt x="15875" y="50800"/>
                  </a:lnTo>
                  <a:lnTo>
                    <a:pt x="25400" y="44450"/>
                  </a:lnTo>
                  <a:lnTo>
                    <a:pt x="28575" y="47625"/>
                  </a:lnTo>
                  <a:lnTo>
                    <a:pt x="34925" y="50800"/>
                  </a:lnTo>
                  <a:lnTo>
                    <a:pt x="38100" y="47625"/>
                  </a:lnTo>
                  <a:lnTo>
                    <a:pt x="44450" y="44450"/>
                  </a:lnTo>
                  <a:lnTo>
                    <a:pt x="53975" y="47625"/>
                  </a:lnTo>
                  <a:lnTo>
                    <a:pt x="60325" y="44450"/>
                  </a:lnTo>
                  <a:lnTo>
                    <a:pt x="63500" y="41275"/>
                  </a:lnTo>
                  <a:lnTo>
                    <a:pt x="66675" y="31750"/>
                  </a:lnTo>
                  <a:lnTo>
                    <a:pt x="66675" y="22225"/>
                  </a:lnTo>
                  <a:lnTo>
                    <a:pt x="92075" y="25400"/>
                  </a:lnTo>
                  <a:lnTo>
                    <a:pt x="98425" y="25400"/>
                  </a:lnTo>
                  <a:lnTo>
                    <a:pt x="114300" y="25400"/>
                  </a:lnTo>
                  <a:lnTo>
                    <a:pt x="130175" y="12700"/>
                  </a:lnTo>
                  <a:lnTo>
                    <a:pt x="133350" y="12700"/>
                  </a:lnTo>
                  <a:lnTo>
                    <a:pt x="136525" y="9525"/>
                  </a:lnTo>
                  <a:lnTo>
                    <a:pt x="142875" y="6350"/>
                  </a:lnTo>
                  <a:lnTo>
                    <a:pt x="146050" y="6350"/>
                  </a:lnTo>
                  <a:lnTo>
                    <a:pt x="152400" y="3175"/>
                  </a:lnTo>
                  <a:close/>
                  <a:moveTo>
                    <a:pt x="22225" y="0"/>
                  </a:moveTo>
                  <a:lnTo>
                    <a:pt x="41275" y="3175"/>
                  </a:lnTo>
                  <a:lnTo>
                    <a:pt x="41275" y="6350"/>
                  </a:lnTo>
                  <a:lnTo>
                    <a:pt x="44450" y="12700"/>
                  </a:lnTo>
                  <a:lnTo>
                    <a:pt x="57150" y="19050"/>
                  </a:lnTo>
                  <a:lnTo>
                    <a:pt x="63500" y="22225"/>
                  </a:lnTo>
                  <a:lnTo>
                    <a:pt x="66675" y="22225"/>
                  </a:lnTo>
                  <a:lnTo>
                    <a:pt x="60325" y="31750"/>
                  </a:lnTo>
                  <a:lnTo>
                    <a:pt x="44450" y="28575"/>
                  </a:lnTo>
                  <a:lnTo>
                    <a:pt x="34925" y="28575"/>
                  </a:lnTo>
                  <a:lnTo>
                    <a:pt x="31750" y="31750"/>
                  </a:lnTo>
                  <a:lnTo>
                    <a:pt x="31750" y="34925"/>
                  </a:lnTo>
                  <a:lnTo>
                    <a:pt x="28575" y="38100"/>
                  </a:lnTo>
                  <a:lnTo>
                    <a:pt x="25400" y="41275"/>
                  </a:lnTo>
                  <a:lnTo>
                    <a:pt x="9525" y="53975"/>
                  </a:lnTo>
                  <a:lnTo>
                    <a:pt x="3175" y="57150"/>
                  </a:lnTo>
                  <a:lnTo>
                    <a:pt x="3175" y="50800"/>
                  </a:lnTo>
                  <a:lnTo>
                    <a:pt x="12700" y="44450"/>
                  </a:lnTo>
                  <a:lnTo>
                    <a:pt x="15875" y="41275"/>
                  </a:lnTo>
                  <a:lnTo>
                    <a:pt x="12700" y="41275"/>
                  </a:lnTo>
                  <a:lnTo>
                    <a:pt x="3175" y="41275"/>
                  </a:lnTo>
                  <a:lnTo>
                    <a:pt x="0" y="38100"/>
                  </a:lnTo>
                  <a:lnTo>
                    <a:pt x="9525" y="28575"/>
                  </a:lnTo>
                  <a:lnTo>
                    <a:pt x="12700" y="19050"/>
                  </a:lnTo>
                  <a:lnTo>
                    <a:pt x="12700" y="12700"/>
                  </a:lnTo>
                  <a:lnTo>
                    <a:pt x="9525" y="9525"/>
                  </a:lnTo>
                  <a:lnTo>
                    <a:pt x="6350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" name="Google Shape;604;p35">
              <a:extLst>
                <a:ext uri="{FF2B5EF4-FFF2-40B4-BE49-F238E27FC236}">
                  <a16:creationId xmlns:a16="http://schemas.microsoft.com/office/drawing/2014/main" id="{B99B2765-F147-9653-A234-5B042A88B409}"/>
                </a:ext>
              </a:extLst>
            </p:cNvPr>
            <p:cNvSpPr/>
            <p:nvPr/>
          </p:nvSpPr>
          <p:spPr>
            <a:xfrm>
              <a:off x="7425770" y="4530170"/>
              <a:ext cx="42862" cy="74295"/>
            </a:xfrm>
            <a:custGeom>
              <a:avLst/>
              <a:gdLst/>
              <a:ahLst/>
              <a:cxnLst/>
              <a:rect l="l" t="t" r="r" b="b"/>
              <a:pathLst>
                <a:path w="30" h="52" extrusionOk="0">
                  <a:moveTo>
                    <a:pt x="16" y="1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6" y="8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6" y="50"/>
                  </a:lnTo>
                  <a:lnTo>
                    <a:pt x="18" y="52"/>
                  </a:lnTo>
                  <a:lnTo>
                    <a:pt x="28" y="42"/>
                  </a:lnTo>
                  <a:lnTo>
                    <a:pt x="30" y="34"/>
                  </a:lnTo>
                  <a:lnTo>
                    <a:pt x="22" y="22"/>
                  </a:lnTo>
                  <a:lnTo>
                    <a:pt x="16" y="1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" name="Google Shape;605;p35">
              <a:extLst>
                <a:ext uri="{FF2B5EF4-FFF2-40B4-BE49-F238E27FC236}">
                  <a16:creationId xmlns:a16="http://schemas.microsoft.com/office/drawing/2014/main" id="{1023F037-247D-CC1C-319E-A4E1902DADFE}"/>
                </a:ext>
              </a:extLst>
            </p:cNvPr>
            <p:cNvSpPr/>
            <p:nvPr/>
          </p:nvSpPr>
          <p:spPr>
            <a:xfrm>
              <a:off x="7431485" y="4107260"/>
              <a:ext cx="160020" cy="85725"/>
            </a:xfrm>
            <a:custGeom>
              <a:avLst/>
              <a:gdLst/>
              <a:ahLst/>
              <a:cxnLst/>
              <a:rect l="l" t="t" r="r" b="b"/>
              <a:pathLst>
                <a:path w="112" h="60" extrusionOk="0">
                  <a:moveTo>
                    <a:pt x="6" y="10"/>
                  </a:moveTo>
                  <a:lnTo>
                    <a:pt x="4" y="14"/>
                  </a:lnTo>
                  <a:lnTo>
                    <a:pt x="2" y="18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28" y="38"/>
                  </a:lnTo>
                  <a:lnTo>
                    <a:pt x="36" y="42"/>
                  </a:lnTo>
                  <a:lnTo>
                    <a:pt x="58" y="44"/>
                  </a:lnTo>
                  <a:lnTo>
                    <a:pt x="62" y="46"/>
                  </a:lnTo>
                  <a:lnTo>
                    <a:pt x="64" y="48"/>
                  </a:lnTo>
                  <a:lnTo>
                    <a:pt x="64" y="50"/>
                  </a:lnTo>
                  <a:lnTo>
                    <a:pt x="70" y="54"/>
                  </a:lnTo>
                  <a:lnTo>
                    <a:pt x="80" y="56"/>
                  </a:lnTo>
                  <a:lnTo>
                    <a:pt x="92" y="60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100" y="60"/>
                  </a:lnTo>
                  <a:lnTo>
                    <a:pt x="108" y="60"/>
                  </a:lnTo>
                  <a:lnTo>
                    <a:pt x="112" y="54"/>
                  </a:lnTo>
                  <a:lnTo>
                    <a:pt x="108" y="48"/>
                  </a:lnTo>
                  <a:lnTo>
                    <a:pt x="110" y="38"/>
                  </a:lnTo>
                  <a:lnTo>
                    <a:pt x="100" y="38"/>
                  </a:lnTo>
                  <a:lnTo>
                    <a:pt x="96" y="38"/>
                  </a:lnTo>
                  <a:lnTo>
                    <a:pt x="90" y="36"/>
                  </a:lnTo>
                  <a:lnTo>
                    <a:pt x="82" y="36"/>
                  </a:lnTo>
                  <a:lnTo>
                    <a:pt x="72" y="32"/>
                  </a:lnTo>
                  <a:lnTo>
                    <a:pt x="68" y="24"/>
                  </a:lnTo>
                  <a:lnTo>
                    <a:pt x="66" y="26"/>
                  </a:lnTo>
                  <a:lnTo>
                    <a:pt x="58" y="24"/>
                  </a:lnTo>
                  <a:lnTo>
                    <a:pt x="48" y="20"/>
                  </a:lnTo>
                  <a:lnTo>
                    <a:pt x="46" y="14"/>
                  </a:lnTo>
                  <a:lnTo>
                    <a:pt x="42" y="10"/>
                  </a:lnTo>
                  <a:lnTo>
                    <a:pt x="34" y="4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Google Shape;606;p35">
              <a:extLst>
                <a:ext uri="{FF2B5EF4-FFF2-40B4-BE49-F238E27FC236}">
                  <a16:creationId xmlns:a16="http://schemas.microsoft.com/office/drawing/2014/main" id="{7ACAA669-39E3-112B-6790-38F9E8E646B2}"/>
                </a:ext>
              </a:extLst>
            </p:cNvPr>
            <p:cNvSpPr/>
            <p:nvPr/>
          </p:nvSpPr>
          <p:spPr>
            <a:xfrm>
              <a:off x="7202885" y="3987245"/>
              <a:ext cx="565785" cy="577215"/>
            </a:xfrm>
            <a:custGeom>
              <a:avLst/>
              <a:gdLst/>
              <a:ahLst/>
              <a:cxnLst/>
              <a:rect l="l" t="t" r="r" b="b"/>
              <a:pathLst>
                <a:path w="396" h="404" extrusionOk="0">
                  <a:moveTo>
                    <a:pt x="282" y="200"/>
                  </a:moveTo>
                  <a:lnTo>
                    <a:pt x="282" y="196"/>
                  </a:lnTo>
                  <a:lnTo>
                    <a:pt x="280" y="196"/>
                  </a:lnTo>
                  <a:lnTo>
                    <a:pt x="280" y="192"/>
                  </a:lnTo>
                  <a:lnTo>
                    <a:pt x="282" y="192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76" y="184"/>
                  </a:lnTo>
                  <a:lnTo>
                    <a:pt x="278" y="180"/>
                  </a:lnTo>
                  <a:lnTo>
                    <a:pt x="278" y="178"/>
                  </a:lnTo>
                  <a:lnTo>
                    <a:pt x="278" y="176"/>
                  </a:lnTo>
                  <a:lnTo>
                    <a:pt x="278" y="176"/>
                  </a:lnTo>
                  <a:lnTo>
                    <a:pt x="274" y="174"/>
                  </a:lnTo>
                  <a:lnTo>
                    <a:pt x="270" y="170"/>
                  </a:lnTo>
                  <a:lnTo>
                    <a:pt x="270" y="170"/>
                  </a:lnTo>
                  <a:lnTo>
                    <a:pt x="276" y="164"/>
                  </a:lnTo>
                  <a:lnTo>
                    <a:pt x="278" y="162"/>
                  </a:lnTo>
                  <a:lnTo>
                    <a:pt x="278" y="158"/>
                  </a:lnTo>
                  <a:lnTo>
                    <a:pt x="272" y="154"/>
                  </a:lnTo>
                  <a:lnTo>
                    <a:pt x="270" y="150"/>
                  </a:lnTo>
                  <a:lnTo>
                    <a:pt x="272" y="144"/>
                  </a:lnTo>
                  <a:lnTo>
                    <a:pt x="274" y="142"/>
                  </a:lnTo>
                  <a:lnTo>
                    <a:pt x="276" y="142"/>
                  </a:lnTo>
                  <a:lnTo>
                    <a:pt x="278" y="144"/>
                  </a:lnTo>
                  <a:lnTo>
                    <a:pt x="282" y="146"/>
                  </a:lnTo>
                  <a:lnTo>
                    <a:pt x="290" y="150"/>
                  </a:lnTo>
                  <a:lnTo>
                    <a:pt x="290" y="146"/>
                  </a:lnTo>
                  <a:lnTo>
                    <a:pt x="294" y="152"/>
                  </a:lnTo>
                  <a:lnTo>
                    <a:pt x="294" y="156"/>
                  </a:lnTo>
                  <a:lnTo>
                    <a:pt x="294" y="160"/>
                  </a:lnTo>
                  <a:lnTo>
                    <a:pt x="296" y="160"/>
                  </a:lnTo>
                  <a:lnTo>
                    <a:pt x="298" y="162"/>
                  </a:lnTo>
                  <a:lnTo>
                    <a:pt x="300" y="162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8" y="162"/>
                  </a:lnTo>
                  <a:lnTo>
                    <a:pt x="314" y="162"/>
                  </a:lnTo>
                  <a:lnTo>
                    <a:pt x="322" y="162"/>
                  </a:lnTo>
                  <a:lnTo>
                    <a:pt x="328" y="164"/>
                  </a:lnTo>
                  <a:lnTo>
                    <a:pt x="328" y="166"/>
                  </a:lnTo>
                  <a:lnTo>
                    <a:pt x="322" y="174"/>
                  </a:lnTo>
                  <a:lnTo>
                    <a:pt x="318" y="178"/>
                  </a:lnTo>
                  <a:lnTo>
                    <a:pt x="316" y="178"/>
                  </a:lnTo>
                  <a:lnTo>
                    <a:pt x="314" y="178"/>
                  </a:lnTo>
                  <a:lnTo>
                    <a:pt x="312" y="184"/>
                  </a:lnTo>
                  <a:lnTo>
                    <a:pt x="312" y="190"/>
                  </a:lnTo>
                  <a:lnTo>
                    <a:pt x="316" y="194"/>
                  </a:lnTo>
                  <a:lnTo>
                    <a:pt x="320" y="194"/>
                  </a:lnTo>
                  <a:lnTo>
                    <a:pt x="320" y="192"/>
                  </a:lnTo>
                  <a:lnTo>
                    <a:pt x="320" y="188"/>
                  </a:lnTo>
                  <a:lnTo>
                    <a:pt x="326" y="184"/>
                  </a:lnTo>
                  <a:lnTo>
                    <a:pt x="330" y="196"/>
                  </a:lnTo>
                  <a:lnTo>
                    <a:pt x="330" y="210"/>
                  </a:lnTo>
                  <a:lnTo>
                    <a:pt x="338" y="206"/>
                  </a:lnTo>
                  <a:lnTo>
                    <a:pt x="338" y="198"/>
                  </a:lnTo>
                  <a:lnTo>
                    <a:pt x="342" y="19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50" y="180"/>
                  </a:lnTo>
                  <a:lnTo>
                    <a:pt x="356" y="172"/>
                  </a:lnTo>
                  <a:lnTo>
                    <a:pt x="360" y="164"/>
                  </a:lnTo>
                  <a:lnTo>
                    <a:pt x="364" y="150"/>
                  </a:lnTo>
                  <a:lnTo>
                    <a:pt x="366" y="140"/>
                  </a:lnTo>
                  <a:lnTo>
                    <a:pt x="378" y="134"/>
                  </a:lnTo>
                  <a:lnTo>
                    <a:pt x="390" y="128"/>
                  </a:lnTo>
                  <a:lnTo>
                    <a:pt x="396" y="120"/>
                  </a:lnTo>
                  <a:lnTo>
                    <a:pt x="396" y="116"/>
                  </a:lnTo>
                  <a:lnTo>
                    <a:pt x="392" y="114"/>
                  </a:lnTo>
                  <a:lnTo>
                    <a:pt x="384" y="112"/>
                  </a:lnTo>
                  <a:lnTo>
                    <a:pt x="386" y="108"/>
                  </a:lnTo>
                  <a:lnTo>
                    <a:pt x="384" y="104"/>
                  </a:lnTo>
                  <a:lnTo>
                    <a:pt x="378" y="96"/>
                  </a:lnTo>
                  <a:lnTo>
                    <a:pt x="374" y="100"/>
                  </a:lnTo>
                  <a:lnTo>
                    <a:pt x="370" y="100"/>
                  </a:lnTo>
                  <a:lnTo>
                    <a:pt x="370" y="102"/>
                  </a:lnTo>
                  <a:lnTo>
                    <a:pt x="358" y="98"/>
                  </a:lnTo>
                  <a:lnTo>
                    <a:pt x="348" y="108"/>
                  </a:lnTo>
                  <a:lnTo>
                    <a:pt x="346" y="108"/>
                  </a:lnTo>
                  <a:lnTo>
                    <a:pt x="338" y="112"/>
                  </a:lnTo>
                  <a:lnTo>
                    <a:pt x="330" y="122"/>
                  </a:lnTo>
                  <a:lnTo>
                    <a:pt x="318" y="124"/>
                  </a:lnTo>
                  <a:lnTo>
                    <a:pt x="320" y="128"/>
                  </a:lnTo>
                  <a:lnTo>
                    <a:pt x="322" y="128"/>
                  </a:lnTo>
                  <a:lnTo>
                    <a:pt x="324" y="130"/>
                  </a:lnTo>
                  <a:lnTo>
                    <a:pt x="324" y="136"/>
                  </a:lnTo>
                  <a:lnTo>
                    <a:pt x="312" y="138"/>
                  </a:lnTo>
                  <a:lnTo>
                    <a:pt x="294" y="140"/>
                  </a:lnTo>
                  <a:lnTo>
                    <a:pt x="284" y="136"/>
                  </a:lnTo>
                  <a:lnTo>
                    <a:pt x="278" y="132"/>
                  </a:lnTo>
                  <a:lnTo>
                    <a:pt x="280" y="130"/>
                  </a:lnTo>
                  <a:lnTo>
                    <a:pt x="280" y="124"/>
                  </a:lnTo>
                  <a:lnTo>
                    <a:pt x="280" y="120"/>
                  </a:lnTo>
                  <a:lnTo>
                    <a:pt x="274" y="118"/>
                  </a:lnTo>
                  <a:lnTo>
                    <a:pt x="270" y="122"/>
                  </a:lnTo>
                  <a:lnTo>
                    <a:pt x="268" y="132"/>
                  </a:lnTo>
                  <a:lnTo>
                    <a:pt x="272" y="138"/>
                  </a:lnTo>
                  <a:lnTo>
                    <a:pt x="268" y="144"/>
                  </a:lnTo>
                  <a:lnTo>
                    <a:pt x="260" y="144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2" y="144"/>
                  </a:lnTo>
                  <a:lnTo>
                    <a:pt x="240" y="140"/>
                  </a:lnTo>
                  <a:lnTo>
                    <a:pt x="230" y="138"/>
                  </a:lnTo>
                  <a:lnTo>
                    <a:pt x="224" y="134"/>
                  </a:lnTo>
                  <a:lnTo>
                    <a:pt x="224" y="132"/>
                  </a:lnTo>
                  <a:lnTo>
                    <a:pt x="222" y="130"/>
                  </a:lnTo>
                  <a:lnTo>
                    <a:pt x="218" y="128"/>
                  </a:lnTo>
                  <a:lnTo>
                    <a:pt x="196" y="126"/>
                  </a:lnTo>
                  <a:lnTo>
                    <a:pt x="188" y="122"/>
                  </a:lnTo>
                  <a:lnTo>
                    <a:pt x="186" y="120"/>
                  </a:lnTo>
                  <a:lnTo>
                    <a:pt x="184" y="122"/>
                  </a:lnTo>
                  <a:lnTo>
                    <a:pt x="176" y="116"/>
                  </a:lnTo>
                  <a:lnTo>
                    <a:pt x="172" y="112"/>
                  </a:lnTo>
                  <a:lnTo>
                    <a:pt x="168" y="112"/>
                  </a:lnTo>
                  <a:lnTo>
                    <a:pt x="162" y="108"/>
                  </a:lnTo>
                  <a:lnTo>
                    <a:pt x="160" y="106"/>
                  </a:lnTo>
                  <a:lnTo>
                    <a:pt x="162" y="102"/>
                  </a:lnTo>
                  <a:lnTo>
                    <a:pt x="164" y="98"/>
                  </a:lnTo>
                  <a:lnTo>
                    <a:pt x="166" y="94"/>
                  </a:lnTo>
                  <a:lnTo>
                    <a:pt x="172" y="86"/>
                  </a:lnTo>
                  <a:lnTo>
                    <a:pt x="174" y="86"/>
                  </a:lnTo>
                  <a:lnTo>
                    <a:pt x="168" y="80"/>
                  </a:lnTo>
                  <a:lnTo>
                    <a:pt x="154" y="70"/>
                  </a:lnTo>
                  <a:lnTo>
                    <a:pt x="144" y="68"/>
                  </a:lnTo>
                  <a:lnTo>
                    <a:pt x="142" y="64"/>
                  </a:lnTo>
                  <a:lnTo>
                    <a:pt x="140" y="60"/>
                  </a:lnTo>
                  <a:lnTo>
                    <a:pt x="138" y="50"/>
                  </a:lnTo>
                  <a:lnTo>
                    <a:pt x="144" y="48"/>
                  </a:lnTo>
                  <a:lnTo>
                    <a:pt x="146" y="52"/>
                  </a:lnTo>
                  <a:lnTo>
                    <a:pt x="148" y="50"/>
                  </a:lnTo>
                  <a:lnTo>
                    <a:pt x="154" y="44"/>
                  </a:lnTo>
                  <a:lnTo>
                    <a:pt x="146" y="34"/>
                  </a:lnTo>
                  <a:lnTo>
                    <a:pt x="144" y="24"/>
                  </a:lnTo>
                  <a:lnTo>
                    <a:pt x="146" y="20"/>
                  </a:lnTo>
                  <a:lnTo>
                    <a:pt x="144" y="16"/>
                  </a:lnTo>
                  <a:lnTo>
                    <a:pt x="140" y="16"/>
                  </a:lnTo>
                  <a:lnTo>
                    <a:pt x="136" y="14"/>
                  </a:lnTo>
                  <a:lnTo>
                    <a:pt x="132" y="0"/>
                  </a:lnTo>
                  <a:lnTo>
                    <a:pt x="130" y="0"/>
                  </a:lnTo>
                  <a:lnTo>
                    <a:pt x="124" y="6"/>
                  </a:lnTo>
                  <a:lnTo>
                    <a:pt x="118" y="12"/>
                  </a:lnTo>
                  <a:lnTo>
                    <a:pt x="100" y="16"/>
                  </a:lnTo>
                  <a:lnTo>
                    <a:pt x="94" y="14"/>
                  </a:lnTo>
                  <a:lnTo>
                    <a:pt x="86" y="12"/>
                  </a:lnTo>
                  <a:lnTo>
                    <a:pt x="78" y="14"/>
                  </a:lnTo>
                  <a:lnTo>
                    <a:pt x="74" y="20"/>
                  </a:lnTo>
                  <a:lnTo>
                    <a:pt x="78" y="20"/>
                  </a:lnTo>
                  <a:lnTo>
                    <a:pt x="80" y="22"/>
                  </a:lnTo>
                  <a:lnTo>
                    <a:pt x="82" y="26"/>
                  </a:lnTo>
                  <a:lnTo>
                    <a:pt x="80" y="28"/>
                  </a:lnTo>
                  <a:lnTo>
                    <a:pt x="80" y="30"/>
                  </a:lnTo>
                  <a:lnTo>
                    <a:pt x="80" y="38"/>
                  </a:lnTo>
                  <a:lnTo>
                    <a:pt x="84" y="44"/>
                  </a:lnTo>
                  <a:lnTo>
                    <a:pt x="88" y="50"/>
                  </a:lnTo>
                  <a:lnTo>
                    <a:pt x="92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0" y="56"/>
                  </a:lnTo>
                  <a:lnTo>
                    <a:pt x="84" y="60"/>
                  </a:lnTo>
                  <a:lnTo>
                    <a:pt x="86" y="64"/>
                  </a:lnTo>
                  <a:lnTo>
                    <a:pt x="88" y="72"/>
                  </a:lnTo>
                  <a:lnTo>
                    <a:pt x="82" y="76"/>
                  </a:lnTo>
                  <a:lnTo>
                    <a:pt x="76" y="82"/>
                  </a:lnTo>
                  <a:lnTo>
                    <a:pt x="76" y="86"/>
                  </a:lnTo>
                  <a:lnTo>
                    <a:pt x="72" y="88"/>
                  </a:lnTo>
                  <a:lnTo>
                    <a:pt x="70" y="90"/>
                  </a:lnTo>
                  <a:lnTo>
                    <a:pt x="68" y="94"/>
                  </a:lnTo>
                  <a:lnTo>
                    <a:pt x="64" y="104"/>
                  </a:lnTo>
                  <a:lnTo>
                    <a:pt x="62" y="104"/>
                  </a:lnTo>
                  <a:lnTo>
                    <a:pt x="56" y="108"/>
                  </a:lnTo>
                  <a:lnTo>
                    <a:pt x="52" y="114"/>
                  </a:lnTo>
                  <a:lnTo>
                    <a:pt x="46" y="122"/>
                  </a:lnTo>
                  <a:lnTo>
                    <a:pt x="36" y="124"/>
                  </a:lnTo>
                  <a:lnTo>
                    <a:pt x="32" y="122"/>
                  </a:lnTo>
                  <a:lnTo>
                    <a:pt x="32" y="120"/>
                  </a:lnTo>
                  <a:lnTo>
                    <a:pt x="30" y="118"/>
                  </a:lnTo>
                  <a:lnTo>
                    <a:pt x="24" y="124"/>
                  </a:lnTo>
                  <a:lnTo>
                    <a:pt x="22" y="128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20" y="140"/>
                  </a:lnTo>
                  <a:lnTo>
                    <a:pt x="22" y="142"/>
                  </a:lnTo>
                  <a:lnTo>
                    <a:pt x="26" y="148"/>
                  </a:lnTo>
                  <a:lnTo>
                    <a:pt x="30" y="156"/>
                  </a:lnTo>
                  <a:lnTo>
                    <a:pt x="34" y="162"/>
                  </a:lnTo>
                  <a:lnTo>
                    <a:pt x="38" y="170"/>
                  </a:lnTo>
                  <a:lnTo>
                    <a:pt x="36" y="172"/>
                  </a:lnTo>
                  <a:lnTo>
                    <a:pt x="38" y="174"/>
                  </a:lnTo>
                  <a:lnTo>
                    <a:pt x="34" y="176"/>
                  </a:lnTo>
                  <a:lnTo>
                    <a:pt x="32" y="174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14" y="176"/>
                  </a:lnTo>
                  <a:lnTo>
                    <a:pt x="8" y="174"/>
                  </a:lnTo>
                  <a:lnTo>
                    <a:pt x="6" y="178"/>
                  </a:lnTo>
                  <a:lnTo>
                    <a:pt x="6" y="180"/>
                  </a:lnTo>
                  <a:lnTo>
                    <a:pt x="2" y="180"/>
                  </a:lnTo>
                  <a:lnTo>
                    <a:pt x="0" y="182"/>
                  </a:lnTo>
                  <a:lnTo>
                    <a:pt x="2" y="186"/>
                  </a:lnTo>
                  <a:lnTo>
                    <a:pt x="2" y="188"/>
                  </a:lnTo>
                  <a:lnTo>
                    <a:pt x="6" y="192"/>
                  </a:lnTo>
                  <a:lnTo>
                    <a:pt x="14" y="196"/>
                  </a:lnTo>
                  <a:lnTo>
                    <a:pt x="18" y="198"/>
                  </a:lnTo>
                  <a:lnTo>
                    <a:pt x="20" y="198"/>
                  </a:lnTo>
                  <a:lnTo>
                    <a:pt x="26" y="194"/>
                  </a:lnTo>
                  <a:lnTo>
                    <a:pt x="30" y="194"/>
                  </a:lnTo>
                  <a:lnTo>
                    <a:pt x="26" y="200"/>
                  </a:lnTo>
                  <a:lnTo>
                    <a:pt x="20" y="204"/>
                  </a:lnTo>
                  <a:lnTo>
                    <a:pt x="12" y="204"/>
                  </a:lnTo>
                  <a:lnTo>
                    <a:pt x="12" y="208"/>
                  </a:lnTo>
                  <a:lnTo>
                    <a:pt x="24" y="220"/>
                  </a:lnTo>
                  <a:lnTo>
                    <a:pt x="28" y="224"/>
                  </a:lnTo>
                  <a:lnTo>
                    <a:pt x="36" y="228"/>
                  </a:lnTo>
                  <a:lnTo>
                    <a:pt x="50" y="222"/>
                  </a:lnTo>
                  <a:lnTo>
                    <a:pt x="54" y="216"/>
                  </a:lnTo>
                  <a:lnTo>
                    <a:pt x="56" y="214"/>
                  </a:lnTo>
                  <a:lnTo>
                    <a:pt x="54" y="212"/>
                  </a:lnTo>
                  <a:lnTo>
                    <a:pt x="52" y="206"/>
                  </a:lnTo>
                  <a:lnTo>
                    <a:pt x="54" y="204"/>
                  </a:lnTo>
                  <a:lnTo>
                    <a:pt x="58" y="206"/>
                  </a:lnTo>
                  <a:lnTo>
                    <a:pt x="58" y="208"/>
                  </a:lnTo>
                  <a:lnTo>
                    <a:pt x="60" y="214"/>
                  </a:lnTo>
                  <a:lnTo>
                    <a:pt x="58" y="218"/>
                  </a:lnTo>
                  <a:lnTo>
                    <a:pt x="60" y="222"/>
                  </a:lnTo>
                  <a:lnTo>
                    <a:pt x="62" y="226"/>
                  </a:lnTo>
                  <a:lnTo>
                    <a:pt x="64" y="226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2" y="248"/>
                  </a:lnTo>
                  <a:lnTo>
                    <a:pt x="62" y="252"/>
                  </a:lnTo>
                  <a:lnTo>
                    <a:pt x="64" y="262"/>
                  </a:lnTo>
                  <a:lnTo>
                    <a:pt x="64" y="264"/>
                  </a:lnTo>
                  <a:lnTo>
                    <a:pt x="64" y="268"/>
                  </a:lnTo>
                  <a:lnTo>
                    <a:pt x="66" y="270"/>
                  </a:lnTo>
                  <a:lnTo>
                    <a:pt x="66" y="272"/>
                  </a:lnTo>
                  <a:lnTo>
                    <a:pt x="66" y="274"/>
                  </a:lnTo>
                  <a:lnTo>
                    <a:pt x="66" y="274"/>
                  </a:lnTo>
                  <a:lnTo>
                    <a:pt x="66" y="276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70" y="288"/>
                  </a:lnTo>
                  <a:lnTo>
                    <a:pt x="68" y="288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74" y="298"/>
                  </a:lnTo>
                  <a:lnTo>
                    <a:pt x="76" y="302"/>
                  </a:lnTo>
                  <a:lnTo>
                    <a:pt x="78" y="310"/>
                  </a:lnTo>
                  <a:lnTo>
                    <a:pt x="82" y="316"/>
                  </a:lnTo>
                  <a:lnTo>
                    <a:pt x="84" y="320"/>
                  </a:lnTo>
                  <a:lnTo>
                    <a:pt x="84" y="320"/>
                  </a:lnTo>
                  <a:lnTo>
                    <a:pt x="86" y="324"/>
                  </a:lnTo>
                  <a:lnTo>
                    <a:pt x="88" y="328"/>
                  </a:lnTo>
                  <a:lnTo>
                    <a:pt x="90" y="340"/>
                  </a:lnTo>
                  <a:lnTo>
                    <a:pt x="94" y="350"/>
                  </a:lnTo>
                  <a:lnTo>
                    <a:pt x="96" y="350"/>
                  </a:lnTo>
                  <a:lnTo>
                    <a:pt x="98" y="354"/>
                  </a:lnTo>
                  <a:lnTo>
                    <a:pt x="102" y="364"/>
                  </a:lnTo>
                  <a:lnTo>
                    <a:pt x="106" y="374"/>
                  </a:lnTo>
                  <a:lnTo>
                    <a:pt x="110" y="382"/>
                  </a:lnTo>
                  <a:lnTo>
                    <a:pt x="112" y="392"/>
                  </a:lnTo>
                  <a:lnTo>
                    <a:pt x="116" y="398"/>
                  </a:lnTo>
                  <a:lnTo>
                    <a:pt x="120" y="402"/>
                  </a:lnTo>
                  <a:lnTo>
                    <a:pt x="124" y="404"/>
                  </a:lnTo>
                  <a:lnTo>
                    <a:pt x="128" y="402"/>
                  </a:lnTo>
                  <a:lnTo>
                    <a:pt x="134" y="398"/>
                  </a:lnTo>
                  <a:lnTo>
                    <a:pt x="134" y="396"/>
                  </a:lnTo>
                  <a:lnTo>
                    <a:pt x="136" y="392"/>
                  </a:lnTo>
                  <a:lnTo>
                    <a:pt x="142" y="386"/>
                  </a:lnTo>
                  <a:lnTo>
                    <a:pt x="146" y="382"/>
                  </a:lnTo>
                  <a:lnTo>
                    <a:pt x="150" y="376"/>
                  </a:lnTo>
                  <a:lnTo>
                    <a:pt x="154" y="374"/>
                  </a:lnTo>
                  <a:lnTo>
                    <a:pt x="158" y="372"/>
                  </a:lnTo>
                  <a:lnTo>
                    <a:pt x="158" y="364"/>
                  </a:lnTo>
                  <a:lnTo>
                    <a:pt x="156" y="358"/>
                  </a:lnTo>
                  <a:lnTo>
                    <a:pt x="160" y="346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2" y="326"/>
                  </a:lnTo>
                  <a:lnTo>
                    <a:pt x="162" y="322"/>
                  </a:lnTo>
                  <a:lnTo>
                    <a:pt x="162" y="314"/>
                  </a:lnTo>
                  <a:lnTo>
                    <a:pt x="160" y="308"/>
                  </a:lnTo>
                  <a:lnTo>
                    <a:pt x="162" y="300"/>
                  </a:lnTo>
                  <a:lnTo>
                    <a:pt x="166" y="298"/>
                  </a:lnTo>
                  <a:lnTo>
                    <a:pt x="168" y="296"/>
                  </a:lnTo>
                  <a:lnTo>
                    <a:pt x="172" y="294"/>
                  </a:lnTo>
                  <a:lnTo>
                    <a:pt x="176" y="294"/>
                  </a:lnTo>
                  <a:lnTo>
                    <a:pt x="178" y="290"/>
                  </a:lnTo>
                  <a:lnTo>
                    <a:pt x="184" y="290"/>
                  </a:lnTo>
                  <a:lnTo>
                    <a:pt x="190" y="286"/>
                  </a:lnTo>
                  <a:lnTo>
                    <a:pt x="192" y="284"/>
                  </a:lnTo>
                  <a:lnTo>
                    <a:pt x="190" y="280"/>
                  </a:lnTo>
                  <a:lnTo>
                    <a:pt x="194" y="278"/>
                  </a:lnTo>
                  <a:lnTo>
                    <a:pt x="202" y="274"/>
                  </a:lnTo>
                  <a:lnTo>
                    <a:pt x="208" y="266"/>
                  </a:lnTo>
                  <a:lnTo>
                    <a:pt x="216" y="262"/>
                  </a:lnTo>
                  <a:lnTo>
                    <a:pt x="218" y="260"/>
                  </a:lnTo>
                  <a:lnTo>
                    <a:pt x="224" y="250"/>
                  </a:lnTo>
                  <a:lnTo>
                    <a:pt x="238" y="242"/>
                  </a:lnTo>
                  <a:lnTo>
                    <a:pt x="246" y="238"/>
                  </a:lnTo>
                  <a:lnTo>
                    <a:pt x="256" y="228"/>
                  </a:lnTo>
                  <a:lnTo>
                    <a:pt x="254" y="224"/>
                  </a:lnTo>
                  <a:lnTo>
                    <a:pt x="254" y="218"/>
                  </a:lnTo>
                  <a:lnTo>
                    <a:pt x="262" y="214"/>
                  </a:lnTo>
                  <a:lnTo>
                    <a:pt x="268" y="210"/>
                  </a:lnTo>
                  <a:lnTo>
                    <a:pt x="270" y="210"/>
                  </a:lnTo>
                  <a:lnTo>
                    <a:pt x="278" y="216"/>
                  </a:lnTo>
                  <a:lnTo>
                    <a:pt x="282" y="214"/>
                  </a:lnTo>
                  <a:lnTo>
                    <a:pt x="284" y="214"/>
                  </a:lnTo>
                  <a:lnTo>
                    <a:pt x="282" y="208"/>
                  </a:lnTo>
                  <a:lnTo>
                    <a:pt x="282" y="20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" name="Google Shape;607;p35">
              <a:extLst>
                <a:ext uri="{FF2B5EF4-FFF2-40B4-BE49-F238E27FC236}">
                  <a16:creationId xmlns:a16="http://schemas.microsoft.com/office/drawing/2014/main" id="{E8E2C5A8-6420-0677-D91A-82202575EB19}"/>
                </a:ext>
              </a:extLst>
            </p:cNvPr>
            <p:cNvSpPr/>
            <p:nvPr/>
          </p:nvSpPr>
          <p:spPr>
            <a:xfrm>
              <a:off x="7588647" y="4190126"/>
              <a:ext cx="88582" cy="114300"/>
            </a:xfrm>
            <a:custGeom>
              <a:avLst/>
              <a:gdLst/>
              <a:ahLst/>
              <a:cxnLst/>
              <a:rect l="l" t="t" r="r" b="b"/>
              <a:pathLst>
                <a:path w="98425" h="127000" extrusionOk="0">
                  <a:moveTo>
                    <a:pt x="60325" y="88900"/>
                  </a:moveTo>
                  <a:lnTo>
                    <a:pt x="63500" y="98425"/>
                  </a:lnTo>
                  <a:lnTo>
                    <a:pt x="60325" y="104775"/>
                  </a:lnTo>
                  <a:lnTo>
                    <a:pt x="57150" y="104775"/>
                  </a:lnTo>
                  <a:lnTo>
                    <a:pt x="53975" y="92075"/>
                  </a:lnTo>
                  <a:close/>
                  <a:moveTo>
                    <a:pt x="6350" y="0"/>
                  </a:moveTo>
                  <a:lnTo>
                    <a:pt x="9525" y="0"/>
                  </a:lnTo>
                  <a:lnTo>
                    <a:pt x="12700" y="3175"/>
                  </a:lnTo>
                  <a:lnTo>
                    <a:pt x="19050" y="6350"/>
                  </a:lnTo>
                  <a:lnTo>
                    <a:pt x="31750" y="12700"/>
                  </a:lnTo>
                  <a:lnTo>
                    <a:pt x="31750" y="6350"/>
                  </a:lnTo>
                  <a:lnTo>
                    <a:pt x="38100" y="15875"/>
                  </a:lnTo>
                  <a:lnTo>
                    <a:pt x="38100" y="22225"/>
                  </a:lnTo>
                  <a:lnTo>
                    <a:pt x="38100" y="28575"/>
                  </a:lnTo>
                  <a:lnTo>
                    <a:pt x="41275" y="28575"/>
                  </a:lnTo>
                  <a:lnTo>
                    <a:pt x="44450" y="31750"/>
                  </a:lnTo>
                  <a:lnTo>
                    <a:pt x="47625" y="31750"/>
                  </a:lnTo>
                  <a:lnTo>
                    <a:pt x="53975" y="31750"/>
                  </a:lnTo>
                  <a:lnTo>
                    <a:pt x="60325" y="31750"/>
                  </a:lnTo>
                  <a:lnTo>
                    <a:pt x="69850" y="31750"/>
                  </a:lnTo>
                  <a:lnTo>
                    <a:pt x="82550" y="31750"/>
                  </a:lnTo>
                  <a:lnTo>
                    <a:pt x="92075" y="34925"/>
                  </a:lnTo>
                  <a:lnTo>
                    <a:pt x="92075" y="38100"/>
                  </a:lnTo>
                  <a:lnTo>
                    <a:pt x="82550" y="50800"/>
                  </a:lnTo>
                  <a:lnTo>
                    <a:pt x="76200" y="57150"/>
                  </a:lnTo>
                  <a:lnTo>
                    <a:pt x="73025" y="57150"/>
                  </a:lnTo>
                  <a:lnTo>
                    <a:pt x="69850" y="57150"/>
                  </a:lnTo>
                  <a:lnTo>
                    <a:pt x="66675" y="66675"/>
                  </a:lnTo>
                  <a:lnTo>
                    <a:pt x="66675" y="76200"/>
                  </a:lnTo>
                  <a:lnTo>
                    <a:pt x="73025" y="82550"/>
                  </a:lnTo>
                  <a:lnTo>
                    <a:pt x="79375" y="82550"/>
                  </a:lnTo>
                  <a:lnTo>
                    <a:pt x="79375" y="79375"/>
                  </a:lnTo>
                  <a:lnTo>
                    <a:pt x="79375" y="73025"/>
                  </a:lnTo>
                  <a:lnTo>
                    <a:pt x="88900" y="66675"/>
                  </a:lnTo>
                  <a:lnTo>
                    <a:pt x="95250" y="85725"/>
                  </a:lnTo>
                  <a:lnTo>
                    <a:pt x="95250" y="107950"/>
                  </a:lnTo>
                  <a:lnTo>
                    <a:pt x="95250" y="114300"/>
                  </a:lnTo>
                  <a:lnTo>
                    <a:pt x="98425" y="120650"/>
                  </a:lnTo>
                  <a:lnTo>
                    <a:pt x="92075" y="117475"/>
                  </a:lnTo>
                  <a:lnTo>
                    <a:pt x="88900" y="127000"/>
                  </a:lnTo>
                  <a:lnTo>
                    <a:pt x="79375" y="98425"/>
                  </a:lnTo>
                  <a:lnTo>
                    <a:pt x="69850" y="88900"/>
                  </a:lnTo>
                  <a:lnTo>
                    <a:pt x="63500" y="85725"/>
                  </a:lnTo>
                  <a:lnTo>
                    <a:pt x="53975" y="82550"/>
                  </a:lnTo>
                  <a:lnTo>
                    <a:pt x="53975" y="92075"/>
                  </a:lnTo>
                  <a:lnTo>
                    <a:pt x="53975" y="101600"/>
                  </a:lnTo>
                  <a:lnTo>
                    <a:pt x="44450" y="111125"/>
                  </a:lnTo>
                  <a:lnTo>
                    <a:pt x="38100" y="107950"/>
                  </a:lnTo>
                  <a:lnTo>
                    <a:pt x="31750" y="114300"/>
                  </a:lnTo>
                  <a:lnTo>
                    <a:pt x="25400" y="114300"/>
                  </a:lnTo>
                  <a:lnTo>
                    <a:pt x="22225" y="114300"/>
                  </a:lnTo>
                  <a:lnTo>
                    <a:pt x="19050" y="104775"/>
                  </a:lnTo>
                  <a:lnTo>
                    <a:pt x="19050" y="92075"/>
                  </a:lnTo>
                  <a:lnTo>
                    <a:pt x="19050" y="85725"/>
                  </a:lnTo>
                  <a:lnTo>
                    <a:pt x="15875" y="85725"/>
                  </a:lnTo>
                  <a:lnTo>
                    <a:pt x="15875" y="79375"/>
                  </a:lnTo>
                  <a:lnTo>
                    <a:pt x="19050" y="79375"/>
                  </a:lnTo>
                  <a:lnTo>
                    <a:pt x="12700" y="76200"/>
                  </a:lnTo>
                  <a:lnTo>
                    <a:pt x="12700" y="73025"/>
                  </a:lnTo>
                  <a:lnTo>
                    <a:pt x="9525" y="66675"/>
                  </a:lnTo>
                  <a:lnTo>
                    <a:pt x="12700" y="60325"/>
                  </a:lnTo>
                  <a:lnTo>
                    <a:pt x="12700" y="57150"/>
                  </a:lnTo>
                  <a:lnTo>
                    <a:pt x="12700" y="53975"/>
                  </a:lnTo>
                  <a:lnTo>
                    <a:pt x="6350" y="50800"/>
                  </a:lnTo>
                  <a:lnTo>
                    <a:pt x="0" y="44450"/>
                  </a:lnTo>
                  <a:lnTo>
                    <a:pt x="9525" y="34925"/>
                  </a:lnTo>
                  <a:lnTo>
                    <a:pt x="12700" y="31750"/>
                  </a:lnTo>
                  <a:lnTo>
                    <a:pt x="12700" y="25400"/>
                  </a:lnTo>
                  <a:lnTo>
                    <a:pt x="3175" y="19050"/>
                  </a:lnTo>
                  <a:lnTo>
                    <a:pt x="0" y="12700"/>
                  </a:lnTo>
                  <a:lnTo>
                    <a:pt x="3175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Google Shape;608;p35">
              <a:extLst>
                <a:ext uri="{FF2B5EF4-FFF2-40B4-BE49-F238E27FC236}">
                  <a16:creationId xmlns:a16="http://schemas.microsoft.com/office/drawing/2014/main" id="{7D9CCC96-A808-F48C-304F-AB0DB6E9A623}"/>
                </a:ext>
              </a:extLst>
            </p:cNvPr>
            <p:cNvSpPr/>
            <p:nvPr/>
          </p:nvSpPr>
          <p:spPr>
            <a:xfrm>
              <a:off x="7668657" y="4147265"/>
              <a:ext cx="174307" cy="380047"/>
            </a:xfrm>
            <a:custGeom>
              <a:avLst/>
              <a:gdLst/>
              <a:ahLst/>
              <a:cxnLst/>
              <a:rect l="l" t="t" r="r" b="b"/>
              <a:pathLst>
                <a:path w="122" h="266" extrusionOk="0">
                  <a:moveTo>
                    <a:pt x="90" y="256"/>
                  </a:moveTo>
                  <a:lnTo>
                    <a:pt x="92" y="254"/>
                  </a:lnTo>
                  <a:lnTo>
                    <a:pt x="100" y="242"/>
                  </a:lnTo>
                  <a:lnTo>
                    <a:pt x="100" y="238"/>
                  </a:lnTo>
                  <a:lnTo>
                    <a:pt x="96" y="230"/>
                  </a:lnTo>
                  <a:lnTo>
                    <a:pt x="94" y="226"/>
                  </a:lnTo>
                  <a:lnTo>
                    <a:pt x="94" y="220"/>
                  </a:lnTo>
                  <a:lnTo>
                    <a:pt x="92" y="210"/>
                  </a:lnTo>
                  <a:lnTo>
                    <a:pt x="86" y="206"/>
                  </a:lnTo>
                  <a:lnTo>
                    <a:pt x="82" y="196"/>
                  </a:lnTo>
                  <a:lnTo>
                    <a:pt x="82" y="192"/>
                  </a:lnTo>
                  <a:lnTo>
                    <a:pt x="86" y="192"/>
                  </a:lnTo>
                  <a:lnTo>
                    <a:pt x="86" y="190"/>
                  </a:lnTo>
                  <a:lnTo>
                    <a:pt x="86" y="186"/>
                  </a:lnTo>
                  <a:lnTo>
                    <a:pt x="86" y="182"/>
                  </a:lnTo>
                  <a:lnTo>
                    <a:pt x="88" y="180"/>
                  </a:lnTo>
                  <a:lnTo>
                    <a:pt x="86" y="176"/>
                  </a:lnTo>
                  <a:lnTo>
                    <a:pt x="86" y="170"/>
                  </a:lnTo>
                  <a:lnTo>
                    <a:pt x="82" y="166"/>
                  </a:lnTo>
                  <a:lnTo>
                    <a:pt x="74" y="158"/>
                  </a:lnTo>
                  <a:lnTo>
                    <a:pt x="74" y="154"/>
                  </a:lnTo>
                  <a:lnTo>
                    <a:pt x="74" y="150"/>
                  </a:lnTo>
                  <a:lnTo>
                    <a:pt x="72" y="150"/>
                  </a:lnTo>
                  <a:lnTo>
                    <a:pt x="70" y="146"/>
                  </a:lnTo>
                  <a:lnTo>
                    <a:pt x="74" y="146"/>
                  </a:lnTo>
                  <a:lnTo>
                    <a:pt x="76" y="146"/>
                  </a:lnTo>
                  <a:lnTo>
                    <a:pt x="74" y="142"/>
                  </a:lnTo>
                  <a:lnTo>
                    <a:pt x="76" y="136"/>
                  </a:lnTo>
                  <a:lnTo>
                    <a:pt x="78" y="130"/>
                  </a:lnTo>
                  <a:lnTo>
                    <a:pt x="82" y="130"/>
                  </a:lnTo>
                  <a:lnTo>
                    <a:pt x="86" y="130"/>
                  </a:lnTo>
                  <a:lnTo>
                    <a:pt x="90" y="128"/>
                  </a:lnTo>
                  <a:lnTo>
                    <a:pt x="98" y="124"/>
                  </a:lnTo>
                  <a:lnTo>
                    <a:pt x="98" y="120"/>
                  </a:lnTo>
                  <a:lnTo>
                    <a:pt x="104" y="122"/>
                  </a:lnTo>
                  <a:lnTo>
                    <a:pt x="104" y="120"/>
                  </a:lnTo>
                  <a:lnTo>
                    <a:pt x="106" y="122"/>
                  </a:lnTo>
                  <a:lnTo>
                    <a:pt x="110" y="114"/>
                  </a:lnTo>
                  <a:lnTo>
                    <a:pt x="116" y="106"/>
                  </a:lnTo>
                  <a:lnTo>
                    <a:pt x="122" y="104"/>
                  </a:lnTo>
                  <a:lnTo>
                    <a:pt x="120" y="100"/>
                  </a:lnTo>
                  <a:lnTo>
                    <a:pt x="118" y="102"/>
                  </a:lnTo>
                  <a:lnTo>
                    <a:pt x="112" y="104"/>
                  </a:lnTo>
                  <a:lnTo>
                    <a:pt x="108" y="106"/>
                  </a:lnTo>
                  <a:lnTo>
                    <a:pt x="106" y="96"/>
                  </a:lnTo>
                  <a:lnTo>
                    <a:pt x="98" y="96"/>
                  </a:lnTo>
                  <a:lnTo>
                    <a:pt x="96" y="96"/>
                  </a:lnTo>
                  <a:lnTo>
                    <a:pt x="94" y="94"/>
                  </a:lnTo>
                  <a:lnTo>
                    <a:pt x="96" y="86"/>
                  </a:lnTo>
                  <a:lnTo>
                    <a:pt x="94" y="82"/>
                  </a:lnTo>
                  <a:lnTo>
                    <a:pt x="92" y="80"/>
                  </a:lnTo>
                  <a:lnTo>
                    <a:pt x="90" y="76"/>
                  </a:lnTo>
                  <a:lnTo>
                    <a:pt x="90" y="66"/>
                  </a:lnTo>
                  <a:lnTo>
                    <a:pt x="86" y="66"/>
                  </a:lnTo>
                  <a:lnTo>
                    <a:pt x="82" y="66"/>
                  </a:lnTo>
                  <a:lnTo>
                    <a:pt x="78" y="66"/>
                  </a:lnTo>
                  <a:lnTo>
                    <a:pt x="76" y="68"/>
                  </a:lnTo>
                  <a:lnTo>
                    <a:pt x="74" y="70"/>
                  </a:lnTo>
                  <a:lnTo>
                    <a:pt x="72" y="68"/>
                  </a:lnTo>
                  <a:lnTo>
                    <a:pt x="74" y="62"/>
                  </a:lnTo>
                  <a:lnTo>
                    <a:pt x="72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8" y="50"/>
                  </a:lnTo>
                  <a:lnTo>
                    <a:pt x="80" y="48"/>
                  </a:lnTo>
                  <a:lnTo>
                    <a:pt x="84" y="44"/>
                  </a:lnTo>
                  <a:lnTo>
                    <a:pt x="86" y="40"/>
                  </a:lnTo>
                  <a:lnTo>
                    <a:pt x="88" y="24"/>
                  </a:lnTo>
                  <a:lnTo>
                    <a:pt x="88" y="14"/>
                  </a:lnTo>
                  <a:lnTo>
                    <a:pt x="80" y="6"/>
                  </a:lnTo>
                  <a:lnTo>
                    <a:pt x="74" y="0"/>
                  </a:lnTo>
                  <a:lnTo>
                    <a:pt x="70" y="4"/>
                  </a:lnTo>
                  <a:lnTo>
                    <a:pt x="70" y="8"/>
                  </a:lnTo>
                  <a:lnTo>
                    <a:pt x="64" y="16"/>
                  </a:lnTo>
                  <a:lnTo>
                    <a:pt x="52" y="22"/>
                  </a:lnTo>
                  <a:lnTo>
                    <a:pt x="40" y="28"/>
                  </a:lnTo>
                  <a:lnTo>
                    <a:pt x="38" y="38"/>
                  </a:lnTo>
                  <a:lnTo>
                    <a:pt x="34" y="52"/>
                  </a:lnTo>
                  <a:lnTo>
                    <a:pt x="30" y="60"/>
                  </a:lnTo>
                  <a:lnTo>
                    <a:pt x="24" y="68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70"/>
                  </a:lnTo>
                  <a:lnTo>
                    <a:pt x="16" y="80"/>
                  </a:lnTo>
                  <a:lnTo>
                    <a:pt x="12" y="86"/>
                  </a:lnTo>
                  <a:lnTo>
                    <a:pt x="12" y="94"/>
                  </a:lnTo>
                  <a:lnTo>
                    <a:pt x="4" y="98"/>
                  </a:lnTo>
                  <a:lnTo>
                    <a:pt x="4" y="102"/>
                  </a:lnTo>
                  <a:lnTo>
                    <a:pt x="6" y="106"/>
                  </a:lnTo>
                  <a:lnTo>
                    <a:pt x="2" y="104"/>
                  </a:lnTo>
                  <a:lnTo>
                    <a:pt x="0" y="110"/>
                  </a:lnTo>
                  <a:lnTo>
                    <a:pt x="4" y="120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8" y="128"/>
                  </a:lnTo>
                  <a:lnTo>
                    <a:pt x="20" y="130"/>
                  </a:lnTo>
                  <a:lnTo>
                    <a:pt x="24" y="134"/>
                  </a:lnTo>
                  <a:lnTo>
                    <a:pt x="24" y="142"/>
                  </a:lnTo>
                  <a:lnTo>
                    <a:pt x="26" y="144"/>
                  </a:lnTo>
                  <a:lnTo>
                    <a:pt x="28" y="146"/>
                  </a:lnTo>
                  <a:lnTo>
                    <a:pt x="30" y="150"/>
                  </a:lnTo>
                  <a:lnTo>
                    <a:pt x="30" y="152"/>
                  </a:lnTo>
                  <a:lnTo>
                    <a:pt x="30" y="158"/>
                  </a:lnTo>
                  <a:lnTo>
                    <a:pt x="32" y="160"/>
                  </a:lnTo>
                  <a:lnTo>
                    <a:pt x="32" y="164"/>
                  </a:lnTo>
                  <a:lnTo>
                    <a:pt x="26" y="180"/>
                  </a:lnTo>
                  <a:lnTo>
                    <a:pt x="28" y="184"/>
                  </a:lnTo>
                  <a:lnTo>
                    <a:pt x="30" y="182"/>
                  </a:lnTo>
                  <a:lnTo>
                    <a:pt x="34" y="176"/>
                  </a:lnTo>
                  <a:lnTo>
                    <a:pt x="34" y="180"/>
                  </a:lnTo>
                  <a:lnTo>
                    <a:pt x="34" y="184"/>
                  </a:lnTo>
                  <a:lnTo>
                    <a:pt x="36" y="186"/>
                  </a:lnTo>
                  <a:lnTo>
                    <a:pt x="42" y="186"/>
                  </a:lnTo>
                  <a:lnTo>
                    <a:pt x="48" y="182"/>
                  </a:lnTo>
                  <a:lnTo>
                    <a:pt x="52" y="178"/>
                  </a:lnTo>
                  <a:lnTo>
                    <a:pt x="56" y="178"/>
                  </a:lnTo>
                  <a:lnTo>
                    <a:pt x="60" y="174"/>
                  </a:lnTo>
                  <a:lnTo>
                    <a:pt x="64" y="164"/>
                  </a:lnTo>
                  <a:lnTo>
                    <a:pt x="64" y="162"/>
                  </a:lnTo>
                  <a:lnTo>
                    <a:pt x="66" y="166"/>
                  </a:lnTo>
                  <a:lnTo>
                    <a:pt x="68" y="170"/>
                  </a:lnTo>
                  <a:lnTo>
                    <a:pt x="70" y="176"/>
                  </a:lnTo>
                  <a:lnTo>
                    <a:pt x="74" y="174"/>
                  </a:lnTo>
                  <a:lnTo>
                    <a:pt x="74" y="180"/>
                  </a:lnTo>
                  <a:lnTo>
                    <a:pt x="74" y="186"/>
                  </a:lnTo>
                  <a:lnTo>
                    <a:pt x="76" y="192"/>
                  </a:lnTo>
                  <a:lnTo>
                    <a:pt x="76" y="194"/>
                  </a:lnTo>
                  <a:lnTo>
                    <a:pt x="76" y="196"/>
                  </a:lnTo>
                  <a:lnTo>
                    <a:pt x="76" y="198"/>
                  </a:lnTo>
                  <a:lnTo>
                    <a:pt x="76" y="202"/>
                  </a:lnTo>
                  <a:lnTo>
                    <a:pt x="80" y="214"/>
                  </a:lnTo>
                  <a:lnTo>
                    <a:pt x="82" y="212"/>
                  </a:lnTo>
                  <a:lnTo>
                    <a:pt x="82" y="214"/>
                  </a:lnTo>
                  <a:lnTo>
                    <a:pt x="84" y="220"/>
                  </a:lnTo>
                  <a:lnTo>
                    <a:pt x="88" y="228"/>
                  </a:lnTo>
                  <a:lnTo>
                    <a:pt x="86" y="234"/>
                  </a:lnTo>
                  <a:lnTo>
                    <a:pt x="88" y="240"/>
                  </a:lnTo>
                  <a:lnTo>
                    <a:pt x="88" y="248"/>
                  </a:lnTo>
                  <a:lnTo>
                    <a:pt x="86" y="256"/>
                  </a:lnTo>
                  <a:lnTo>
                    <a:pt x="86" y="256"/>
                  </a:lnTo>
                  <a:lnTo>
                    <a:pt x="84" y="256"/>
                  </a:lnTo>
                  <a:lnTo>
                    <a:pt x="84" y="258"/>
                  </a:lnTo>
                  <a:lnTo>
                    <a:pt x="86" y="266"/>
                  </a:lnTo>
                  <a:lnTo>
                    <a:pt x="88" y="262"/>
                  </a:lnTo>
                  <a:lnTo>
                    <a:pt x="90" y="25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609;p35">
              <a:extLst>
                <a:ext uri="{FF2B5EF4-FFF2-40B4-BE49-F238E27FC236}">
                  <a16:creationId xmlns:a16="http://schemas.microsoft.com/office/drawing/2014/main" id="{0A0134FA-B25D-6002-A621-0F27931A0EF1}"/>
                </a:ext>
              </a:extLst>
            </p:cNvPr>
            <p:cNvSpPr/>
            <p:nvPr/>
          </p:nvSpPr>
          <p:spPr>
            <a:xfrm>
              <a:off x="8294450" y="3800078"/>
              <a:ext cx="120015" cy="135732"/>
            </a:xfrm>
            <a:custGeom>
              <a:avLst/>
              <a:gdLst/>
              <a:ahLst/>
              <a:cxnLst/>
              <a:rect l="l" t="t" r="r" b="b"/>
              <a:pathLst>
                <a:path w="84" h="95" extrusionOk="0">
                  <a:moveTo>
                    <a:pt x="84" y="12"/>
                  </a:moveTo>
                  <a:lnTo>
                    <a:pt x="80" y="6"/>
                  </a:lnTo>
                  <a:lnTo>
                    <a:pt x="78" y="4"/>
                  </a:lnTo>
                  <a:lnTo>
                    <a:pt x="78" y="2"/>
                  </a:lnTo>
                  <a:lnTo>
                    <a:pt x="74" y="0"/>
                  </a:lnTo>
                  <a:lnTo>
                    <a:pt x="72" y="6"/>
                  </a:lnTo>
                  <a:lnTo>
                    <a:pt x="64" y="15"/>
                  </a:lnTo>
                  <a:lnTo>
                    <a:pt x="58" y="17"/>
                  </a:lnTo>
                  <a:lnTo>
                    <a:pt x="54" y="17"/>
                  </a:lnTo>
                  <a:lnTo>
                    <a:pt x="50" y="21"/>
                  </a:lnTo>
                  <a:lnTo>
                    <a:pt x="52" y="27"/>
                  </a:lnTo>
                  <a:lnTo>
                    <a:pt x="46" y="29"/>
                  </a:lnTo>
                  <a:lnTo>
                    <a:pt x="38" y="27"/>
                  </a:lnTo>
                  <a:lnTo>
                    <a:pt x="34" y="21"/>
                  </a:lnTo>
                  <a:lnTo>
                    <a:pt x="30" y="25"/>
                  </a:lnTo>
                  <a:lnTo>
                    <a:pt x="28" y="29"/>
                  </a:lnTo>
                  <a:lnTo>
                    <a:pt x="26" y="33"/>
                  </a:lnTo>
                  <a:lnTo>
                    <a:pt x="20" y="39"/>
                  </a:lnTo>
                  <a:lnTo>
                    <a:pt x="14" y="41"/>
                  </a:lnTo>
                  <a:lnTo>
                    <a:pt x="12" y="43"/>
                  </a:lnTo>
                  <a:lnTo>
                    <a:pt x="6" y="45"/>
                  </a:lnTo>
                  <a:lnTo>
                    <a:pt x="0" y="53"/>
                  </a:lnTo>
                  <a:lnTo>
                    <a:pt x="0" y="57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6" y="59"/>
                  </a:lnTo>
                  <a:lnTo>
                    <a:pt x="14" y="65"/>
                  </a:lnTo>
                  <a:lnTo>
                    <a:pt x="10" y="75"/>
                  </a:lnTo>
                  <a:lnTo>
                    <a:pt x="6" y="81"/>
                  </a:lnTo>
                  <a:lnTo>
                    <a:pt x="4" y="85"/>
                  </a:lnTo>
                  <a:lnTo>
                    <a:pt x="4" y="87"/>
                  </a:lnTo>
                  <a:lnTo>
                    <a:pt x="10" y="91"/>
                  </a:lnTo>
                  <a:lnTo>
                    <a:pt x="12" y="95"/>
                  </a:lnTo>
                  <a:lnTo>
                    <a:pt x="16" y="91"/>
                  </a:lnTo>
                  <a:lnTo>
                    <a:pt x="22" y="91"/>
                  </a:lnTo>
                  <a:lnTo>
                    <a:pt x="30" y="91"/>
                  </a:lnTo>
                  <a:lnTo>
                    <a:pt x="36" y="85"/>
                  </a:lnTo>
                  <a:lnTo>
                    <a:pt x="44" y="83"/>
                  </a:lnTo>
                  <a:lnTo>
                    <a:pt x="50" y="83"/>
                  </a:lnTo>
                  <a:lnTo>
                    <a:pt x="54" y="77"/>
                  </a:lnTo>
                  <a:lnTo>
                    <a:pt x="48" y="71"/>
                  </a:lnTo>
                  <a:lnTo>
                    <a:pt x="44" y="69"/>
                  </a:lnTo>
                  <a:lnTo>
                    <a:pt x="42" y="69"/>
                  </a:lnTo>
                  <a:lnTo>
                    <a:pt x="40" y="67"/>
                  </a:lnTo>
                  <a:lnTo>
                    <a:pt x="42" y="63"/>
                  </a:lnTo>
                  <a:lnTo>
                    <a:pt x="42" y="59"/>
                  </a:lnTo>
                  <a:lnTo>
                    <a:pt x="46" y="55"/>
                  </a:lnTo>
                  <a:lnTo>
                    <a:pt x="60" y="49"/>
                  </a:lnTo>
                  <a:lnTo>
                    <a:pt x="70" y="41"/>
                  </a:lnTo>
                  <a:lnTo>
                    <a:pt x="72" y="39"/>
                  </a:lnTo>
                  <a:lnTo>
                    <a:pt x="72" y="33"/>
                  </a:lnTo>
                  <a:lnTo>
                    <a:pt x="70" y="25"/>
                  </a:lnTo>
                  <a:lnTo>
                    <a:pt x="74" y="19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Google Shape;610;p35">
              <a:extLst>
                <a:ext uri="{FF2B5EF4-FFF2-40B4-BE49-F238E27FC236}">
                  <a16:creationId xmlns:a16="http://schemas.microsoft.com/office/drawing/2014/main" id="{775BFCF8-E1AB-4F99-AEB7-C14A00DB1C77}"/>
                </a:ext>
              </a:extLst>
            </p:cNvPr>
            <p:cNvSpPr/>
            <p:nvPr/>
          </p:nvSpPr>
          <p:spPr>
            <a:xfrm>
              <a:off x="8357314" y="3714353"/>
              <a:ext cx="445771" cy="484347"/>
            </a:xfrm>
            <a:custGeom>
              <a:avLst/>
              <a:gdLst/>
              <a:ahLst/>
              <a:cxnLst/>
              <a:rect l="l" t="t" r="r" b="b"/>
              <a:pathLst>
                <a:path w="495301" h="538163" extrusionOk="0">
                  <a:moveTo>
                    <a:pt x="12700" y="519113"/>
                  </a:moveTo>
                  <a:lnTo>
                    <a:pt x="9525" y="528638"/>
                  </a:lnTo>
                  <a:lnTo>
                    <a:pt x="3175" y="534988"/>
                  </a:lnTo>
                  <a:lnTo>
                    <a:pt x="0" y="538163"/>
                  </a:lnTo>
                  <a:lnTo>
                    <a:pt x="3175" y="528638"/>
                  </a:lnTo>
                  <a:close/>
                  <a:moveTo>
                    <a:pt x="44450" y="481013"/>
                  </a:moveTo>
                  <a:lnTo>
                    <a:pt x="38100" y="487363"/>
                  </a:lnTo>
                  <a:lnTo>
                    <a:pt x="34925" y="487363"/>
                  </a:lnTo>
                  <a:close/>
                  <a:moveTo>
                    <a:pt x="63501" y="344488"/>
                  </a:moveTo>
                  <a:lnTo>
                    <a:pt x="69851" y="344488"/>
                  </a:lnTo>
                  <a:lnTo>
                    <a:pt x="69851" y="347663"/>
                  </a:lnTo>
                  <a:lnTo>
                    <a:pt x="73026" y="350838"/>
                  </a:lnTo>
                  <a:lnTo>
                    <a:pt x="79376" y="354013"/>
                  </a:lnTo>
                  <a:lnTo>
                    <a:pt x="82551" y="354013"/>
                  </a:lnTo>
                  <a:lnTo>
                    <a:pt x="85726" y="357188"/>
                  </a:lnTo>
                  <a:lnTo>
                    <a:pt x="92076" y="363538"/>
                  </a:lnTo>
                  <a:lnTo>
                    <a:pt x="92076" y="373063"/>
                  </a:lnTo>
                  <a:lnTo>
                    <a:pt x="85726" y="382588"/>
                  </a:lnTo>
                  <a:lnTo>
                    <a:pt x="82551" y="395288"/>
                  </a:lnTo>
                  <a:lnTo>
                    <a:pt x="82551" y="398463"/>
                  </a:lnTo>
                  <a:lnTo>
                    <a:pt x="82551" y="401638"/>
                  </a:lnTo>
                  <a:lnTo>
                    <a:pt x="66676" y="417513"/>
                  </a:lnTo>
                  <a:lnTo>
                    <a:pt x="63501" y="414338"/>
                  </a:lnTo>
                  <a:lnTo>
                    <a:pt x="50801" y="407988"/>
                  </a:lnTo>
                  <a:lnTo>
                    <a:pt x="57151" y="401638"/>
                  </a:lnTo>
                  <a:lnTo>
                    <a:pt x="53976" y="395288"/>
                  </a:lnTo>
                  <a:lnTo>
                    <a:pt x="57151" y="388938"/>
                  </a:lnTo>
                  <a:lnTo>
                    <a:pt x="63501" y="382588"/>
                  </a:lnTo>
                  <a:lnTo>
                    <a:pt x="63501" y="373063"/>
                  </a:lnTo>
                  <a:lnTo>
                    <a:pt x="57151" y="363538"/>
                  </a:lnTo>
                  <a:lnTo>
                    <a:pt x="50801" y="369888"/>
                  </a:lnTo>
                  <a:lnTo>
                    <a:pt x="47626" y="379413"/>
                  </a:lnTo>
                  <a:lnTo>
                    <a:pt x="44451" y="366713"/>
                  </a:lnTo>
                  <a:lnTo>
                    <a:pt x="41276" y="357188"/>
                  </a:lnTo>
                  <a:lnTo>
                    <a:pt x="50801" y="357188"/>
                  </a:lnTo>
                  <a:lnTo>
                    <a:pt x="57151" y="354013"/>
                  </a:lnTo>
                  <a:lnTo>
                    <a:pt x="57151" y="350838"/>
                  </a:lnTo>
                  <a:close/>
                  <a:moveTo>
                    <a:pt x="130175" y="334963"/>
                  </a:moveTo>
                  <a:lnTo>
                    <a:pt x="139700" y="334963"/>
                  </a:lnTo>
                  <a:lnTo>
                    <a:pt x="149225" y="341313"/>
                  </a:lnTo>
                  <a:lnTo>
                    <a:pt x="152400" y="347663"/>
                  </a:lnTo>
                  <a:lnTo>
                    <a:pt x="142875" y="354013"/>
                  </a:lnTo>
                  <a:lnTo>
                    <a:pt x="127000" y="354013"/>
                  </a:lnTo>
                  <a:lnTo>
                    <a:pt x="117475" y="366713"/>
                  </a:lnTo>
                  <a:lnTo>
                    <a:pt x="111125" y="369888"/>
                  </a:lnTo>
                  <a:lnTo>
                    <a:pt x="104775" y="369888"/>
                  </a:lnTo>
                  <a:lnTo>
                    <a:pt x="104775" y="366713"/>
                  </a:lnTo>
                  <a:lnTo>
                    <a:pt x="104775" y="363538"/>
                  </a:lnTo>
                  <a:lnTo>
                    <a:pt x="101600" y="354013"/>
                  </a:lnTo>
                  <a:lnTo>
                    <a:pt x="114300" y="338138"/>
                  </a:lnTo>
                  <a:lnTo>
                    <a:pt x="117475" y="344488"/>
                  </a:lnTo>
                  <a:lnTo>
                    <a:pt x="127000" y="344488"/>
                  </a:lnTo>
                  <a:close/>
                  <a:moveTo>
                    <a:pt x="234951" y="227013"/>
                  </a:moveTo>
                  <a:lnTo>
                    <a:pt x="231776" y="239713"/>
                  </a:lnTo>
                  <a:lnTo>
                    <a:pt x="225426" y="242888"/>
                  </a:lnTo>
                  <a:lnTo>
                    <a:pt x="228601" y="230188"/>
                  </a:lnTo>
                  <a:close/>
                  <a:moveTo>
                    <a:pt x="285750" y="138113"/>
                  </a:moveTo>
                  <a:lnTo>
                    <a:pt x="292100" y="138113"/>
                  </a:lnTo>
                  <a:lnTo>
                    <a:pt x="298450" y="150813"/>
                  </a:lnTo>
                  <a:lnTo>
                    <a:pt x="304800" y="173038"/>
                  </a:lnTo>
                  <a:lnTo>
                    <a:pt x="311150" y="192088"/>
                  </a:lnTo>
                  <a:lnTo>
                    <a:pt x="307975" y="201613"/>
                  </a:lnTo>
                  <a:lnTo>
                    <a:pt x="301625" y="207963"/>
                  </a:lnTo>
                  <a:lnTo>
                    <a:pt x="301625" y="211138"/>
                  </a:lnTo>
                  <a:lnTo>
                    <a:pt x="295275" y="220663"/>
                  </a:lnTo>
                  <a:lnTo>
                    <a:pt x="292100" y="223838"/>
                  </a:lnTo>
                  <a:lnTo>
                    <a:pt x="288925" y="227013"/>
                  </a:lnTo>
                  <a:lnTo>
                    <a:pt x="285750" y="239713"/>
                  </a:lnTo>
                  <a:lnTo>
                    <a:pt x="288925" y="242888"/>
                  </a:lnTo>
                  <a:lnTo>
                    <a:pt x="288925" y="252413"/>
                  </a:lnTo>
                  <a:lnTo>
                    <a:pt x="285750" y="265113"/>
                  </a:lnTo>
                  <a:lnTo>
                    <a:pt x="282575" y="268288"/>
                  </a:lnTo>
                  <a:lnTo>
                    <a:pt x="279400" y="274638"/>
                  </a:lnTo>
                  <a:lnTo>
                    <a:pt x="279400" y="287338"/>
                  </a:lnTo>
                  <a:lnTo>
                    <a:pt x="282575" y="293688"/>
                  </a:lnTo>
                  <a:lnTo>
                    <a:pt x="279400" y="300038"/>
                  </a:lnTo>
                  <a:lnTo>
                    <a:pt x="276225" y="303213"/>
                  </a:lnTo>
                  <a:lnTo>
                    <a:pt x="276225" y="309563"/>
                  </a:lnTo>
                  <a:lnTo>
                    <a:pt x="266700" y="319088"/>
                  </a:lnTo>
                  <a:lnTo>
                    <a:pt x="260350" y="315913"/>
                  </a:lnTo>
                  <a:lnTo>
                    <a:pt x="263525" y="306388"/>
                  </a:lnTo>
                  <a:lnTo>
                    <a:pt x="266700" y="303213"/>
                  </a:lnTo>
                  <a:lnTo>
                    <a:pt x="260350" y="300038"/>
                  </a:lnTo>
                  <a:lnTo>
                    <a:pt x="247650" y="309563"/>
                  </a:lnTo>
                  <a:lnTo>
                    <a:pt x="247650" y="315913"/>
                  </a:lnTo>
                  <a:lnTo>
                    <a:pt x="241300" y="325438"/>
                  </a:lnTo>
                  <a:lnTo>
                    <a:pt x="238125" y="325438"/>
                  </a:lnTo>
                  <a:lnTo>
                    <a:pt x="238125" y="322263"/>
                  </a:lnTo>
                  <a:lnTo>
                    <a:pt x="241300" y="315913"/>
                  </a:lnTo>
                  <a:lnTo>
                    <a:pt x="238125" y="312738"/>
                  </a:lnTo>
                  <a:lnTo>
                    <a:pt x="228600" y="322263"/>
                  </a:lnTo>
                  <a:lnTo>
                    <a:pt x="225425" y="325438"/>
                  </a:lnTo>
                  <a:lnTo>
                    <a:pt x="219075" y="325438"/>
                  </a:lnTo>
                  <a:lnTo>
                    <a:pt x="203200" y="325438"/>
                  </a:lnTo>
                  <a:lnTo>
                    <a:pt x="196850" y="319088"/>
                  </a:lnTo>
                  <a:lnTo>
                    <a:pt x="200025" y="312738"/>
                  </a:lnTo>
                  <a:lnTo>
                    <a:pt x="193675" y="315913"/>
                  </a:lnTo>
                  <a:lnTo>
                    <a:pt x="190500" y="322263"/>
                  </a:lnTo>
                  <a:lnTo>
                    <a:pt x="193675" y="325438"/>
                  </a:lnTo>
                  <a:lnTo>
                    <a:pt x="196850" y="328613"/>
                  </a:lnTo>
                  <a:lnTo>
                    <a:pt x="200025" y="334963"/>
                  </a:lnTo>
                  <a:lnTo>
                    <a:pt x="193675" y="334963"/>
                  </a:lnTo>
                  <a:lnTo>
                    <a:pt x="177800" y="354013"/>
                  </a:lnTo>
                  <a:lnTo>
                    <a:pt x="158750" y="344488"/>
                  </a:lnTo>
                  <a:lnTo>
                    <a:pt x="161925" y="334963"/>
                  </a:lnTo>
                  <a:lnTo>
                    <a:pt x="168275" y="328613"/>
                  </a:lnTo>
                  <a:lnTo>
                    <a:pt x="161925" y="322263"/>
                  </a:lnTo>
                  <a:lnTo>
                    <a:pt x="149225" y="322263"/>
                  </a:lnTo>
                  <a:lnTo>
                    <a:pt x="142875" y="325438"/>
                  </a:lnTo>
                  <a:lnTo>
                    <a:pt x="139700" y="328613"/>
                  </a:lnTo>
                  <a:lnTo>
                    <a:pt x="136525" y="328613"/>
                  </a:lnTo>
                  <a:lnTo>
                    <a:pt x="130175" y="328613"/>
                  </a:lnTo>
                  <a:lnTo>
                    <a:pt x="117475" y="334963"/>
                  </a:lnTo>
                  <a:lnTo>
                    <a:pt x="104775" y="338138"/>
                  </a:lnTo>
                  <a:lnTo>
                    <a:pt x="104775" y="334963"/>
                  </a:lnTo>
                  <a:lnTo>
                    <a:pt x="101600" y="331788"/>
                  </a:lnTo>
                  <a:lnTo>
                    <a:pt x="98425" y="344488"/>
                  </a:lnTo>
                  <a:lnTo>
                    <a:pt x="92075" y="341313"/>
                  </a:lnTo>
                  <a:lnTo>
                    <a:pt x="88900" y="344488"/>
                  </a:lnTo>
                  <a:lnTo>
                    <a:pt x="88900" y="341313"/>
                  </a:lnTo>
                  <a:lnTo>
                    <a:pt x="85725" y="341313"/>
                  </a:lnTo>
                  <a:lnTo>
                    <a:pt x="76200" y="344488"/>
                  </a:lnTo>
                  <a:lnTo>
                    <a:pt x="69850" y="338138"/>
                  </a:lnTo>
                  <a:lnTo>
                    <a:pt x="73025" y="331788"/>
                  </a:lnTo>
                  <a:lnTo>
                    <a:pt x="82550" y="328613"/>
                  </a:lnTo>
                  <a:lnTo>
                    <a:pt x="98425" y="315913"/>
                  </a:lnTo>
                  <a:lnTo>
                    <a:pt x="117475" y="300038"/>
                  </a:lnTo>
                  <a:lnTo>
                    <a:pt x="123825" y="303213"/>
                  </a:lnTo>
                  <a:lnTo>
                    <a:pt x="133350" y="303213"/>
                  </a:lnTo>
                  <a:lnTo>
                    <a:pt x="142875" y="300038"/>
                  </a:lnTo>
                  <a:lnTo>
                    <a:pt x="155575" y="296863"/>
                  </a:lnTo>
                  <a:lnTo>
                    <a:pt x="165100" y="296863"/>
                  </a:lnTo>
                  <a:lnTo>
                    <a:pt x="165100" y="303213"/>
                  </a:lnTo>
                  <a:lnTo>
                    <a:pt x="168275" y="303213"/>
                  </a:lnTo>
                  <a:lnTo>
                    <a:pt x="177800" y="300038"/>
                  </a:lnTo>
                  <a:lnTo>
                    <a:pt x="180975" y="296863"/>
                  </a:lnTo>
                  <a:lnTo>
                    <a:pt x="180975" y="287338"/>
                  </a:lnTo>
                  <a:lnTo>
                    <a:pt x="196850" y="268288"/>
                  </a:lnTo>
                  <a:lnTo>
                    <a:pt x="196850" y="261938"/>
                  </a:lnTo>
                  <a:lnTo>
                    <a:pt x="193675" y="258763"/>
                  </a:lnTo>
                  <a:lnTo>
                    <a:pt x="203200" y="252413"/>
                  </a:lnTo>
                  <a:lnTo>
                    <a:pt x="209550" y="252413"/>
                  </a:lnTo>
                  <a:lnTo>
                    <a:pt x="203200" y="258763"/>
                  </a:lnTo>
                  <a:lnTo>
                    <a:pt x="203200" y="261938"/>
                  </a:lnTo>
                  <a:lnTo>
                    <a:pt x="200025" y="265113"/>
                  </a:lnTo>
                  <a:lnTo>
                    <a:pt x="209550" y="265113"/>
                  </a:lnTo>
                  <a:lnTo>
                    <a:pt x="222250" y="258763"/>
                  </a:lnTo>
                  <a:lnTo>
                    <a:pt x="238125" y="249238"/>
                  </a:lnTo>
                  <a:lnTo>
                    <a:pt x="247650" y="236538"/>
                  </a:lnTo>
                  <a:lnTo>
                    <a:pt x="254000" y="230188"/>
                  </a:lnTo>
                  <a:lnTo>
                    <a:pt x="263525" y="207963"/>
                  </a:lnTo>
                  <a:lnTo>
                    <a:pt x="266700" y="188913"/>
                  </a:lnTo>
                  <a:lnTo>
                    <a:pt x="266700" y="182563"/>
                  </a:lnTo>
                  <a:lnTo>
                    <a:pt x="266700" y="169863"/>
                  </a:lnTo>
                  <a:lnTo>
                    <a:pt x="269875" y="153988"/>
                  </a:lnTo>
                  <a:lnTo>
                    <a:pt x="273050" y="144463"/>
                  </a:lnTo>
                  <a:lnTo>
                    <a:pt x="279400" y="147638"/>
                  </a:lnTo>
                  <a:lnTo>
                    <a:pt x="279400" y="153988"/>
                  </a:lnTo>
                  <a:lnTo>
                    <a:pt x="288925" y="157163"/>
                  </a:lnTo>
                  <a:lnTo>
                    <a:pt x="292100" y="147638"/>
                  </a:lnTo>
                  <a:lnTo>
                    <a:pt x="288925" y="147638"/>
                  </a:lnTo>
                  <a:lnTo>
                    <a:pt x="282575" y="144463"/>
                  </a:lnTo>
                  <a:close/>
                  <a:moveTo>
                    <a:pt x="307976" y="22225"/>
                  </a:moveTo>
                  <a:lnTo>
                    <a:pt x="330201" y="50800"/>
                  </a:lnTo>
                  <a:lnTo>
                    <a:pt x="346076" y="60325"/>
                  </a:lnTo>
                  <a:lnTo>
                    <a:pt x="358776" y="66675"/>
                  </a:lnTo>
                  <a:lnTo>
                    <a:pt x="371476" y="73025"/>
                  </a:lnTo>
                  <a:lnTo>
                    <a:pt x="374651" y="73025"/>
                  </a:lnTo>
                  <a:lnTo>
                    <a:pt x="377826" y="82550"/>
                  </a:lnTo>
                  <a:lnTo>
                    <a:pt x="384176" y="88900"/>
                  </a:lnTo>
                  <a:lnTo>
                    <a:pt x="384176" y="92075"/>
                  </a:lnTo>
                  <a:lnTo>
                    <a:pt x="374651" y="95250"/>
                  </a:lnTo>
                  <a:lnTo>
                    <a:pt x="361951" y="98425"/>
                  </a:lnTo>
                  <a:lnTo>
                    <a:pt x="358776" y="95250"/>
                  </a:lnTo>
                  <a:lnTo>
                    <a:pt x="342901" y="107950"/>
                  </a:lnTo>
                  <a:lnTo>
                    <a:pt x="336551" y="125413"/>
                  </a:lnTo>
                  <a:lnTo>
                    <a:pt x="317501" y="117475"/>
                  </a:lnTo>
                  <a:lnTo>
                    <a:pt x="307976" y="111125"/>
                  </a:lnTo>
                  <a:lnTo>
                    <a:pt x="301626" y="107950"/>
                  </a:lnTo>
                  <a:lnTo>
                    <a:pt x="292101" y="114300"/>
                  </a:lnTo>
                  <a:lnTo>
                    <a:pt x="285751" y="111125"/>
                  </a:lnTo>
                  <a:lnTo>
                    <a:pt x="279401" y="107950"/>
                  </a:lnTo>
                  <a:lnTo>
                    <a:pt x="273051" y="114300"/>
                  </a:lnTo>
                  <a:lnTo>
                    <a:pt x="279401" y="119063"/>
                  </a:lnTo>
                  <a:lnTo>
                    <a:pt x="282576" y="119063"/>
                  </a:lnTo>
                  <a:lnTo>
                    <a:pt x="288926" y="125413"/>
                  </a:lnTo>
                  <a:lnTo>
                    <a:pt x="292101" y="131763"/>
                  </a:lnTo>
                  <a:lnTo>
                    <a:pt x="285751" y="131763"/>
                  </a:lnTo>
                  <a:lnTo>
                    <a:pt x="269876" y="141288"/>
                  </a:lnTo>
                  <a:lnTo>
                    <a:pt x="266701" y="134938"/>
                  </a:lnTo>
                  <a:lnTo>
                    <a:pt x="269876" y="125413"/>
                  </a:lnTo>
                  <a:lnTo>
                    <a:pt x="263526" y="119063"/>
                  </a:lnTo>
                  <a:lnTo>
                    <a:pt x="260351" y="114300"/>
                  </a:lnTo>
                  <a:lnTo>
                    <a:pt x="263526" y="104775"/>
                  </a:lnTo>
                  <a:lnTo>
                    <a:pt x="276226" y="95250"/>
                  </a:lnTo>
                  <a:lnTo>
                    <a:pt x="282576" y="92075"/>
                  </a:lnTo>
                  <a:lnTo>
                    <a:pt x="288926" y="92075"/>
                  </a:lnTo>
                  <a:lnTo>
                    <a:pt x="301626" y="69850"/>
                  </a:lnTo>
                  <a:lnTo>
                    <a:pt x="304801" y="50800"/>
                  </a:lnTo>
                  <a:lnTo>
                    <a:pt x="304801" y="41275"/>
                  </a:lnTo>
                  <a:lnTo>
                    <a:pt x="301626" y="28575"/>
                  </a:lnTo>
                  <a:close/>
                  <a:moveTo>
                    <a:pt x="457201" y="19050"/>
                  </a:moveTo>
                  <a:lnTo>
                    <a:pt x="454026" y="25400"/>
                  </a:lnTo>
                  <a:lnTo>
                    <a:pt x="450851" y="25400"/>
                  </a:lnTo>
                  <a:lnTo>
                    <a:pt x="444501" y="28575"/>
                  </a:lnTo>
                  <a:lnTo>
                    <a:pt x="431801" y="38100"/>
                  </a:lnTo>
                  <a:lnTo>
                    <a:pt x="422276" y="47625"/>
                  </a:lnTo>
                  <a:lnTo>
                    <a:pt x="412751" y="53975"/>
                  </a:lnTo>
                  <a:lnTo>
                    <a:pt x="422276" y="44450"/>
                  </a:lnTo>
                  <a:lnTo>
                    <a:pt x="431801" y="31750"/>
                  </a:lnTo>
                  <a:lnTo>
                    <a:pt x="444501" y="25400"/>
                  </a:lnTo>
                  <a:close/>
                  <a:moveTo>
                    <a:pt x="495301" y="0"/>
                  </a:moveTo>
                  <a:lnTo>
                    <a:pt x="479426" y="12700"/>
                  </a:lnTo>
                  <a:lnTo>
                    <a:pt x="469901" y="19050"/>
                  </a:lnTo>
                  <a:lnTo>
                    <a:pt x="482601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Google Shape;611;p35">
              <a:extLst>
                <a:ext uri="{FF2B5EF4-FFF2-40B4-BE49-F238E27FC236}">
                  <a16:creationId xmlns:a16="http://schemas.microsoft.com/office/drawing/2014/main" id="{1ACA8DE1-09CD-C9D2-D822-D399222A6C04}"/>
                </a:ext>
              </a:extLst>
            </p:cNvPr>
            <p:cNvSpPr/>
            <p:nvPr/>
          </p:nvSpPr>
          <p:spPr>
            <a:xfrm>
              <a:off x="7600077" y="4150122"/>
              <a:ext cx="65722" cy="37147"/>
            </a:xfrm>
            <a:custGeom>
              <a:avLst/>
              <a:gdLst/>
              <a:ahLst/>
              <a:cxnLst/>
              <a:rect l="l" t="t" r="r" b="b"/>
              <a:pathLst>
                <a:path w="46" h="26" extrusionOk="0">
                  <a:moveTo>
                    <a:pt x="6" y="22"/>
                  </a:moveTo>
                  <a:lnTo>
                    <a:pt x="16" y="26"/>
                  </a:lnTo>
                  <a:lnTo>
                    <a:pt x="34" y="24"/>
                  </a:lnTo>
                  <a:lnTo>
                    <a:pt x="46" y="22"/>
                  </a:lnTo>
                  <a:lnTo>
                    <a:pt x="46" y="16"/>
                  </a:lnTo>
                  <a:lnTo>
                    <a:pt x="44" y="14"/>
                  </a:lnTo>
                  <a:lnTo>
                    <a:pt x="42" y="14"/>
                  </a:lnTo>
                  <a:lnTo>
                    <a:pt x="40" y="10"/>
                  </a:lnTo>
                  <a:lnTo>
                    <a:pt x="40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6" y="2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612;p35">
              <a:extLst>
                <a:ext uri="{FF2B5EF4-FFF2-40B4-BE49-F238E27FC236}">
                  <a16:creationId xmlns:a16="http://schemas.microsoft.com/office/drawing/2014/main" id="{41A4143E-FCFA-DC55-BAAA-3D1BD02F20EE}"/>
                </a:ext>
              </a:extLst>
            </p:cNvPr>
            <p:cNvSpPr/>
            <p:nvPr/>
          </p:nvSpPr>
          <p:spPr>
            <a:xfrm>
              <a:off x="7308612" y="3491467"/>
              <a:ext cx="1185863" cy="870109"/>
            </a:xfrm>
            <a:custGeom>
              <a:avLst/>
              <a:gdLst/>
              <a:ahLst/>
              <a:cxnLst/>
              <a:rect l="l" t="t" r="r" b="b"/>
              <a:pathLst>
                <a:path w="1317625" h="966788" extrusionOk="0">
                  <a:moveTo>
                    <a:pt x="787400" y="925513"/>
                  </a:moveTo>
                  <a:lnTo>
                    <a:pt x="790575" y="925513"/>
                  </a:lnTo>
                  <a:lnTo>
                    <a:pt x="800100" y="925513"/>
                  </a:lnTo>
                  <a:lnTo>
                    <a:pt x="803275" y="931863"/>
                  </a:lnTo>
                  <a:lnTo>
                    <a:pt x="806450" y="938213"/>
                  </a:lnTo>
                  <a:lnTo>
                    <a:pt x="800100" y="941388"/>
                  </a:lnTo>
                  <a:lnTo>
                    <a:pt x="796925" y="947738"/>
                  </a:lnTo>
                  <a:lnTo>
                    <a:pt x="793750" y="954088"/>
                  </a:lnTo>
                  <a:lnTo>
                    <a:pt x="790575" y="960438"/>
                  </a:lnTo>
                  <a:lnTo>
                    <a:pt x="781050" y="963613"/>
                  </a:lnTo>
                  <a:lnTo>
                    <a:pt x="771525" y="966788"/>
                  </a:lnTo>
                  <a:lnTo>
                    <a:pt x="762000" y="963613"/>
                  </a:lnTo>
                  <a:lnTo>
                    <a:pt x="755650" y="957263"/>
                  </a:lnTo>
                  <a:lnTo>
                    <a:pt x="752475" y="950913"/>
                  </a:lnTo>
                  <a:lnTo>
                    <a:pt x="765175" y="938213"/>
                  </a:lnTo>
                  <a:lnTo>
                    <a:pt x="774700" y="928688"/>
                  </a:lnTo>
                  <a:lnTo>
                    <a:pt x="777875" y="928688"/>
                  </a:lnTo>
                  <a:lnTo>
                    <a:pt x="781050" y="928688"/>
                  </a:lnTo>
                  <a:lnTo>
                    <a:pt x="784225" y="928688"/>
                  </a:lnTo>
                  <a:lnTo>
                    <a:pt x="787400" y="928688"/>
                  </a:lnTo>
                  <a:close/>
                  <a:moveTo>
                    <a:pt x="1028700" y="808038"/>
                  </a:moveTo>
                  <a:lnTo>
                    <a:pt x="1035050" y="808038"/>
                  </a:lnTo>
                  <a:lnTo>
                    <a:pt x="1041400" y="811213"/>
                  </a:lnTo>
                  <a:lnTo>
                    <a:pt x="1041400" y="817563"/>
                  </a:lnTo>
                  <a:lnTo>
                    <a:pt x="1031875" y="846138"/>
                  </a:lnTo>
                  <a:lnTo>
                    <a:pt x="1022350" y="865188"/>
                  </a:lnTo>
                  <a:lnTo>
                    <a:pt x="1019175" y="874713"/>
                  </a:lnTo>
                  <a:lnTo>
                    <a:pt x="1012825" y="874713"/>
                  </a:lnTo>
                  <a:lnTo>
                    <a:pt x="1009650" y="874713"/>
                  </a:lnTo>
                  <a:lnTo>
                    <a:pt x="1006475" y="871538"/>
                  </a:lnTo>
                  <a:lnTo>
                    <a:pt x="1003300" y="862013"/>
                  </a:lnTo>
                  <a:lnTo>
                    <a:pt x="1000125" y="852488"/>
                  </a:lnTo>
                  <a:lnTo>
                    <a:pt x="1003300" y="842963"/>
                  </a:lnTo>
                  <a:lnTo>
                    <a:pt x="1006475" y="836613"/>
                  </a:lnTo>
                  <a:lnTo>
                    <a:pt x="1016000" y="820738"/>
                  </a:lnTo>
                  <a:lnTo>
                    <a:pt x="1025525" y="811213"/>
                  </a:lnTo>
                  <a:close/>
                  <a:moveTo>
                    <a:pt x="1222375" y="352425"/>
                  </a:moveTo>
                  <a:lnTo>
                    <a:pt x="1225550" y="355600"/>
                  </a:lnTo>
                  <a:lnTo>
                    <a:pt x="1228725" y="361950"/>
                  </a:lnTo>
                  <a:close/>
                  <a:moveTo>
                    <a:pt x="1073150" y="0"/>
                  </a:moveTo>
                  <a:lnTo>
                    <a:pt x="1101725" y="12700"/>
                  </a:lnTo>
                  <a:lnTo>
                    <a:pt x="1104900" y="15875"/>
                  </a:lnTo>
                  <a:lnTo>
                    <a:pt x="1111250" y="12700"/>
                  </a:lnTo>
                  <a:lnTo>
                    <a:pt x="1120775" y="19050"/>
                  </a:lnTo>
                  <a:lnTo>
                    <a:pt x="1130300" y="28575"/>
                  </a:lnTo>
                  <a:lnTo>
                    <a:pt x="1136650" y="41275"/>
                  </a:lnTo>
                  <a:lnTo>
                    <a:pt x="1139825" y="53975"/>
                  </a:lnTo>
                  <a:lnTo>
                    <a:pt x="1143000" y="66675"/>
                  </a:lnTo>
                  <a:lnTo>
                    <a:pt x="1155700" y="98425"/>
                  </a:lnTo>
                  <a:lnTo>
                    <a:pt x="1155700" y="101600"/>
                  </a:lnTo>
                  <a:lnTo>
                    <a:pt x="1158875" y="107950"/>
                  </a:lnTo>
                  <a:lnTo>
                    <a:pt x="1155700" y="107950"/>
                  </a:lnTo>
                  <a:lnTo>
                    <a:pt x="1162050" y="117475"/>
                  </a:lnTo>
                  <a:lnTo>
                    <a:pt x="1162050" y="123825"/>
                  </a:lnTo>
                  <a:lnTo>
                    <a:pt x="1162050" y="130175"/>
                  </a:lnTo>
                  <a:lnTo>
                    <a:pt x="1171575" y="139700"/>
                  </a:lnTo>
                  <a:lnTo>
                    <a:pt x="1181100" y="139700"/>
                  </a:lnTo>
                  <a:lnTo>
                    <a:pt x="1190625" y="142875"/>
                  </a:lnTo>
                  <a:lnTo>
                    <a:pt x="1206500" y="146050"/>
                  </a:lnTo>
                  <a:lnTo>
                    <a:pt x="1206500" y="149225"/>
                  </a:lnTo>
                  <a:lnTo>
                    <a:pt x="1212850" y="155575"/>
                  </a:lnTo>
                  <a:lnTo>
                    <a:pt x="1219200" y="161925"/>
                  </a:lnTo>
                  <a:lnTo>
                    <a:pt x="1225550" y="168275"/>
                  </a:lnTo>
                  <a:lnTo>
                    <a:pt x="1225550" y="171450"/>
                  </a:lnTo>
                  <a:lnTo>
                    <a:pt x="1231900" y="190500"/>
                  </a:lnTo>
                  <a:lnTo>
                    <a:pt x="1238250" y="200025"/>
                  </a:lnTo>
                  <a:lnTo>
                    <a:pt x="1247775" y="200025"/>
                  </a:lnTo>
                  <a:lnTo>
                    <a:pt x="1270000" y="200025"/>
                  </a:lnTo>
                  <a:lnTo>
                    <a:pt x="1276350" y="190500"/>
                  </a:lnTo>
                  <a:lnTo>
                    <a:pt x="1285875" y="184150"/>
                  </a:lnTo>
                  <a:lnTo>
                    <a:pt x="1311275" y="177800"/>
                  </a:lnTo>
                  <a:lnTo>
                    <a:pt x="1314450" y="177800"/>
                  </a:lnTo>
                  <a:lnTo>
                    <a:pt x="1317625" y="180975"/>
                  </a:lnTo>
                  <a:lnTo>
                    <a:pt x="1317625" y="196850"/>
                  </a:lnTo>
                  <a:lnTo>
                    <a:pt x="1317625" y="200025"/>
                  </a:lnTo>
                  <a:lnTo>
                    <a:pt x="1311275" y="209550"/>
                  </a:lnTo>
                  <a:lnTo>
                    <a:pt x="1308100" y="209550"/>
                  </a:lnTo>
                  <a:lnTo>
                    <a:pt x="1304925" y="212725"/>
                  </a:lnTo>
                  <a:lnTo>
                    <a:pt x="1301750" y="225425"/>
                  </a:lnTo>
                  <a:lnTo>
                    <a:pt x="1298575" y="244475"/>
                  </a:lnTo>
                  <a:lnTo>
                    <a:pt x="1292225" y="257175"/>
                  </a:lnTo>
                  <a:lnTo>
                    <a:pt x="1289050" y="266700"/>
                  </a:lnTo>
                  <a:lnTo>
                    <a:pt x="1282700" y="276225"/>
                  </a:lnTo>
                  <a:lnTo>
                    <a:pt x="1279525" y="282575"/>
                  </a:lnTo>
                  <a:lnTo>
                    <a:pt x="1276350" y="282575"/>
                  </a:lnTo>
                  <a:lnTo>
                    <a:pt x="1260475" y="276225"/>
                  </a:lnTo>
                  <a:lnTo>
                    <a:pt x="1250950" y="282575"/>
                  </a:lnTo>
                  <a:lnTo>
                    <a:pt x="1238250" y="292100"/>
                  </a:lnTo>
                  <a:lnTo>
                    <a:pt x="1244600" y="311150"/>
                  </a:lnTo>
                  <a:lnTo>
                    <a:pt x="1241425" y="314325"/>
                  </a:lnTo>
                  <a:lnTo>
                    <a:pt x="1241425" y="323850"/>
                  </a:lnTo>
                  <a:lnTo>
                    <a:pt x="1241425" y="327025"/>
                  </a:lnTo>
                  <a:lnTo>
                    <a:pt x="1244600" y="330200"/>
                  </a:lnTo>
                  <a:lnTo>
                    <a:pt x="1241425" y="339725"/>
                  </a:lnTo>
                  <a:lnTo>
                    <a:pt x="1238250" y="342900"/>
                  </a:lnTo>
                  <a:lnTo>
                    <a:pt x="1241425" y="346075"/>
                  </a:lnTo>
                  <a:lnTo>
                    <a:pt x="1235075" y="349250"/>
                  </a:lnTo>
                  <a:lnTo>
                    <a:pt x="1228725" y="349250"/>
                  </a:lnTo>
                  <a:lnTo>
                    <a:pt x="1222375" y="352425"/>
                  </a:lnTo>
                  <a:lnTo>
                    <a:pt x="1219200" y="349250"/>
                  </a:lnTo>
                  <a:lnTo>
                    <a:pt x="1219200" y="346075"/>
                  </a:lnTo>
                  <a:lnTo>
                    <a:pt x="1212850" y="342900"/>
                  </a:lnTo>
                  <a:lnTo>
                    <a:pt x="1209675" y="352425"/>
                  </a:lnTo>
                  <a:lnTo>
                    <a:pt x="1196975" y="366713"/>
                  </a:lnTo>
                  <a:lnTo>
                    <a:pt x="1187450" y="369888"/>
                  </a:lnTo>
                  <a:lnTo>
                    <a:pt x="1181100" y="369888"/>
                  </a:lnTo>
                  <a:lnTo>
                    <a:pt x="1174750" y="376238"/>
                  </a:lnTo>
                  <a:lnTo>
                    <a:pt x="1177925" y="385763"/>
                  </a:lnTo>
                  <a:lnTo>
                    <a:pt x="1168400" y="388938"/>
                  </a:lnTo>
                  <a:lnTo>
                    <a:pt x="1155700" y="385763"/>
                  </a:lnTo>
                  <a:lnTo>
                    <a:pt x="1149350" y="376238"/>
                  </a:lnTo>
                  <a:lnTo>
                    <a:pt x="1143000" y="382588"/>
                  </a:lnTo>
                  <a:lnTo>
                    <a:pt x="1139825" y="388938"/>
                  </a:lnTo>
                  <a:lnTo>
                    <a:pt x="1136650" y="395288"/>
                  </a:lnTo>
                  <a:lnTo>
                    <a:pt x="1127125" y="404813"/>
                  </a:lnTo>
                  <a:lnTo>
                    <a:pt x="1117600" y="407988"/>
                  </a:lnTo>
                  <a:lnTo>
                    <a:pt x="1114425" y="411163"/>
                  </a:lnTo>
                  <a:lnTo>
                    <a:pt x="1104900" y="414338"/>
                  </a:lnTo>
                  <a:lnTo>
                    <a:pt x="1095375" y="427038"/>
                  </a:lnTo>
                  <a:lnTo>
                    <a:pt x="1089025" y="433388"/>
                  </a:lnTo>
                  <a:lnTo>
                    <a:pt x="1076325" y="433388"/>
                  </a:lnTo>
                  <a:lnTo>
                    <a:pt x="1066800" y="436563"/>
                  </a:lnTo>
                  <a:lnTo>
                    <a:pt x="1050925" y="442913"/>
                  </a:lnTo>
                  <a:lnTo>
                    <a:pt x="1041400" y="455613"/>
                  </a:lnTo>
                  <a:lnTo>
                    <a:pt x="1035050" y="458788"/>
                  </a:lnTo>
                  <a:lnTo>
                    <a:pt x="1031875" y="461963"/>
                  </a:lnTo>
                  <a:lnTo>
                    <a:pt x="1025525" y="465138"/>
                  </a:lnTo>
                  <a:lnTo>
                    <a:pt x="1022350" y="458788"/>
                  </a:lnTo>
                  <a:lnTo>
                    <a:pt x="1025525" y="458788"/>
                  </a:lnTo>
                  <a:lnTo>
                    <a:pt x="1031875" y="455613"/>
                  </a:lnTo>
                  <a:lnTo>
                    <a:pt x="1035050" y="452438"/>
                  </a:lnTo>
                  <a:lnTo>
                    <a:pt x="1035050" y="449263"/>
                  </a:lnTo>
                  <a:lnTo>
                    <a:pt x="1035050" y="446088"/>
                  </a:lnTo>
                  <a:lnTo>
                    <a:pt x="1031875" y="442913"/>
                  </a:lnTo>
                  <a:lnTo>
                    <a:pt x="1025525" y="442913"/>
                  </a:lnTo>
                  <a:lnTo>
                    <a:pt x="1031875" y="433388"/>
                  </a:lnTo>
                  <a:lnTo>
                    <a:pt x="1035050" y="430213"/>
                  </a:lnTo>
                  <a:lnTo>
                    <a:pt x="1041400" y="423863"/>
                  </a:lnTo>
                  <a:lnTo>
                    <a:pt x="1047750" y="414338"/>
                  </a:lnTo>
                  <a:lnTo>
                    <a:pt x="1044575" y="407988"/>
                  </a:lnTo>
                  <a:lnTo>
                    <a:pt x="1031875" y="404813"/>
                  </a:lnTo>
                  <a:lnTo>
                    <a:pt x="1025525" y="401638"/>
                  </a:lnTo>
                  <a:lnTo>
                    <a:pt x="1012825" y="414338"/>
                  </a:lnTo>
                  <a:lnTo>
                    <a:pt x="1009650" y="417513"/>
                  </a:lnTo>
                  <a:lnTo>
                    <a:pt x="1009650" y="420688"/>
                  </a:lnTo>
                  <a:lnTo>
                    <a:pt x="1003300" y="423863"/>
                  </a:lnTo>
                  <a:lnTo>
                    <a:pt x="984250" y="446088"/>
                  </a:lnTo>
                  <a:lnTo>
                    <a:pt x="971550" y="452438"/>
                  </a:lnTo>
                  <a:lnTo>
                    <a:pt x="962025" y="455613"/>
                  </a:lnTo>
                  <a:lnTo>
                    <a:pt x="958850" y="452438"/>
                  </a:lnTo>
                  <a:lnTo>
                    <a:pt x="955675" y="449263"/>
                  </a:lnTo>
                  <a:lnTo>
                    <a:pt x="949325" y="455613"/>
                  </a:lnTo>
                  <a:lnTo>
                    <a:pt x="946150" y="465138"/>
                  </a:lnTo>
                  <a:lnTo>
                    <a:pt x="952500" y="474663"/>
                  </a:lnTo>
                  <a:lnTo>
                    <a:pt x="955675" y="481013"/>
                  </a:lnTo>
                  <a:lnTo>
                    <a:pt x="965200" y="481013"/>
                  </a:lnTo>
                  <a:lnTo>
                    <a:pt x="974725" y="477838"/>
                  </a:lnTo>
                  <a:lnTo>
                    <a:pt x="974725" y="481013"/>
                  </a:lnTo>
                  <a:lnTo>
                    <a:pt x="977900" y="490538"/>
                  </a:lnTo>
                  <a:lnTo>
                    <a:pt x="977900" y="500063"/>
                  </a:lnTo>
                  <a:lnTo>
                    <a:pt x="981075" y="506413"/>
                  </a:lnTo>
                  <a:lnTo>
                    <a:pt x="993775" y="506413"/>
                  </a:lnTo>
                  <a:lnTo>
                    <a:pt x="996950" y="503238"/>
                  </a:lnTo>
                  <a:lnTo>
                    <a:pt x="1006475" y="493713"/>
                  </a:lnTo>
                  <a:lnTo>
                    <a:pt x="1006475" y="490538"/>
                  </a:lnTo>
                  <a:lnTo>
                    <a:pt x="1009650" y="490538"/>
                  </a:lnTo>
                  <a:lnTo>
                    <a:pt x="1016000" y="487363"/>
                  </a:lnTo>
                  <a:lnTo>
                    <a:pt x="1025525" y="496888"/>
                  </a:lnTo>
                  <a:lnTo>
                    <a:pt x="1031875" y="500063"/>
                  </a:lnTo>
                  <a:lnTo>
                    <a:pt x="1041400" y="496888"/>
                  </a:lnTo>
                  <a:lnTo>
                    <a:pt x="1044575" y="496888"/>
                  </a:lnTo>
                  <a:lnTo>
                    <a:pt x="1047750" y="500063"/>
                  </a:lnTo>
                  <a:lnTo>
                    <a:pt x="1050925" y="500063"/>
                  </a:lnTo>
                  <a:lnTo>
                    <a:pt x="1057275" y="500063"/>
                  </a:lnTo>
                  <a:lnTo>
                    <a:pt x="1054100" y="506413"/>
                  </a:lnTo>
                  <a:lnTo>
                    <a:pt x="1050925" y="515938"/>
                  </a:lnTo>
                  <a:lnTo>
                    <a:pt x="1047750" y="512763"/>
                  </a:lnTo>
                  <a:lnTo>
                    <a:pt x="1038225" y="515938"/>
                  </a:lnTo>
                  <a:lnTo>
                    <a:pt x="1025525" y="519113"/>
                  </a:lnTo>
                  <a:lnTo>
                    <a:pt x="1019175" y="522288"/>
                  </a:lnTo>
                  <a:lnTo>
                    <a:pt x="1016000" y="528638"/>
                  </a:lnTo>
                  <a:lnTo>
                    <a:pt x="1012825" y="534988"/>
                  </a:lnTo>
                  <a:lnTo>
                    <a:pt x="1006475" y="534988"/>
                  </a:lnTo>
                  <a:lnTo>
                    <a:pt x="1000125" y="544513"/>
                  </a:lnTo>
                  <a:lnTo>
                    <a:pt x="984250" y="560388"/>
                  </a:lnTo>
                  <a:lnTo>
                    <a:pt x="981075" y="569913"/>
                  </a:lnTo>
                  <a:lnTo>
                    <a:pt x="990600" y="576263"/>
                  </a:lnTo>
                  <a:lnTo>
                    <a:pt x="1006475" y="582613"/>
                  </a:lnTo>
                  <a:lnTo>
                    <a:pt x="1009650" y="592138"/>
                  </a:lnTo>
                  <a:lnTo>
                    <a:pt x="1009650" y="598488"/>
                  </a:lnTo>
                  <a:lnTo>
                    <a:pt x="1016000" y="611188"/>
                  </a:lnTo>
                  <a:lnTo>
                    <a:pt x="1019175" y="620713"/>
                  </a:lnTo>
                  <a:lnTo>
                    <a:pt x="1019175" y="627063"/>
                  </a:lnTo>
                  <a:lnTo>
                    <a:pt x="1025525" y="630238"/>
                  </a:lnTo>
                  <a:lnTo>
                    <a:pt x="1031875" y="636588"/>
                  </a:lnTo>
                  <a:lnTo>
                    <a:pt x="1041400" y="646113"/>
                  </a:lnTo>
                  <a:lnTo>
                    <a:pt x="1028700" y="646113"/>
                  </a:lnTo>
                  <a:lnTo>
                    <a:pt x="1016000" y="639763"/>
                  </a:lnTo>
                  <a:lnTo>
                    <a:pt x="1016000" y="646113"/>
                  </a:lnTo>
                  <a:lnTo>
                    <a:pt x="1022350" y="646113"/>
                  </a:lnTo>
                  <a:lnTo>
                    <a:pt x="1031875" y="655638"/>
                  </a:lnTo>
                  <a:lnTo>
                    <a:pt x="1041400" y="668338"/>
                  </a:lnTo>
                  <a:lnTo>
                    <a:pt x="1031875" y="671513"/>
                  </a:lnTo>
                  <a:lnTo>
                    <a:pt x="1012825" y="681038"/>
                  </a:lnTo>
                  <a:lnTo>
                    <a:pt x="1009650" y="681038"/>
                  </a:lnTo>
                  <a:lnTo>
                    <a:pt x="1003300" y="687388"/>
                  </a:lnTo>
                  <a:lnTo>
                    <a:pt x="1006475" y="687388"/>
                  </a:lnTo>
                  <a:lnTo>
                    <a:pt x="1012825" y="687388"/>
                  </a:lnTo>
                  <a:lnTo>
                    <a:pt x="1025525" y="684213"/>
                  </a:lnTo>
                  <a:lnTo>
                    <a:pt x="1031875" y="687388"/>
                  </a:lnTo>
                  <a:lnTo>
                    <a:pt x="1044575" y="693738"/>
                  </a:lnTo>
                  <a:lnTo>
                    <a:pt x="1038225" y="700088"/>
                  </a:lnTo>
                  <a:lnTo>
                    <a:pt x="1041400" y="706438"/>
                  </a:lnTo>
                  <a:lnTo>
                    <a:pt x="1041400" y="712788"/>
                  </a:lnTo>
                  <a:lnTo>
                    <a:pt x="1038225" y="715963"/>
                  </a:lnTo>
                  <a:lnTo>
                    <a:pt x="1035050" y="728663"/>
                  </a:lnTo>
                  <a:lnTo>
                    <a:pt x="1028700" y="735013"/>
                  </a:lnTo>
                  <a:lnTo>
                    <a:pt x="1016000" y="741363"/>
                  </a:lnTo>
                  <a:lnTo>
                    <a:pt x="1016000" y="747713"/>
                  </a:lnTo>
                  <a:lnTo>
                    <a:pt x="1009650" y="757238"/>
                  </a:lnTo>
                  <a:lnTo>
                    <a:pt x="1006475" y="763588"/>
                  </a:lnTo>
                  <a:lnTo>
                    <a:pt x="1000125" y="769938"/>
                  </a:lnTo>
                  <a:lnTo>
                    <a:pt x="993775" y="769938"/>
                  </a:lnTo>
                  <a:lnTo>
                    <a:pt x="990600" y="773113"/>
                  </a:lnTo>
                  <a:lnTo>
                    <a:pt x="993775" y="776288"/>
                  </a:lnTo>
                  <a:lnTo>
                    <a:pt x="993775" y="782638"/>
                  </a:lnTo>
                  <a:lnTo>
                    <a:pt x="993775" y="788988"/>
                  </a:lnTo>
                  <a:lnTo>
                    <a:pt x="990600" y="798513"/>
                  </a:lnTo>
                  <a:lnTo>
                    <a:pt x="990600" y="804863"/>
                  </a:lnTo>
                  <a:lnTo>
                    <a:pt x="974725" y="814388"/>
                  </a:lnTo>
                  <a:lnTo>
                    <a:pt x="971550" y="820738"/>
                  </a:lnTo>
                  <a:lnTo>
                    <a:pt x="968375" y="823913"/>
                  </a:lnTo>
                  <a:lnTo>
                    <a:pt x="955675" y="833438"/>
                  </a:lnTo>
                  <a:lnTo>
                    <a:pt x="949325" y="836613"/>
                  </a:lnTo>
                  <a:lnTo>
                    <a:pt x="946150" y="839788"/>
                  </a:lnTo>
                  <a:lnTo>
                    <a:pt x="942975" y="839788"/>
                  </a:lnTo>
                  <a:lnTo>
                    <a:pt x="939800" y="846138"/>
                  </a:lnTo>
                  <a:lnTo>
                    <a:pt x="933450" y="846138"/>
                  </a:lnTo>
                  <a:lnTo>
                    <a:pt x="930275" y="849313"/>
                  </a:lnTo>
                  <a:lnTo>
                    <a:pt x="930275" y="852488"/>
                  </a:lnTo>
                  <a:lnTo>
                    <a:pt x="927100" y="855663"/>
                  </a:lnTo>
                  <a:lnTo>
                    <a:pt x="923925" y="855663"/>
                  </a:lnTo>
                  <a:lnTo>
                    <a:pt x="920750" y="862013"/>
                  </a:lnTo>
                  <a:lnTo>
                    <a:pt x="908050" y="865188"/>
                  </a:lnTo>
                  <a:lnTo>
                    <a:pt x="904875" y="865188"/>
                  </a:lnTo>
                  <a:lnTo>
                    <a:pt x="901700" y="868363"/>
                  </a:lnTo>
                  <a:lnTo>
                    <a:pt x="895350" y="865188"/>
                  </a:lnTo>
                  <a:lnTo>
                    <a:pt x="889000" y="868363"/>
                  </a:lnTo>
                  <a:lnTo>
                    <a:pt x="879475" y="871538"/>
                  </a:lnTo>
                  <a:lnTo>
                    <a:pt x="873125" y="868363"/>
                  </a:lnTo>
                  <a:lnTo>
                    <a:pt x="869950" y="871538"/>
                  </a:lnTo>
                  <a:lnTo>
                    <a:pt x="866775" y="871538"/>
                  </a:lnTo>
                  <a:lnTo>
                    <a:pt x="860425" y="862013"/>
                  </a:lnTo>
                  <a:lnTo>
                    <a:pt x="860425" y="855663"/>
                  </a:lnTo>
                  <a:lnTo>
                    <a:pt x="857250" y="858838"/>
                  </a:lnTo>
                  <a:lnTo>
                    <a:pt x="854075" y="862013"/>
                  </a:lnTo>
                  <a:lnTo>
                    <a:pt x="860425" y="865188"/>
                  </a:lnTo>
                  <a:lnTo>
                    <a:pt x="860425" y="874713"/>
                  </a:lnTo>
                  <a:lnTo>
                    <a:pt x="857250" y="877888"/>
                  </a:lnTo>
                  <a:lnTo>
                    <a:pt x="854075" y="881063"/>
                  </a:lnTo>
                  <a:lnTo>
                    <a:pt x="838200" y="887413"/>
                  </a:lnTo>
                  <a:lnTo>
                    <a:pt x="831850" y="887413"/>
                  </a:lnTo>
                  <a:lnTo>
                    <a:pt x="828675" y="887413"/>
                  </a:lnTo>
                  <a:lnTo>
                    <a:pt x="825500" y="890588"/>
                  </a:lnTo>
                  <a:lnTo>
                    <a:pt x="819150" y="893763"/>
                  </a:lnTo>
                  <a:lnTo>
                    <a:pt x="812800" y="893763"/>
                  </a:lnTo>
                  <a:lnTo>
                    <a:pt x="809625" y="893763"/>
                  </a:lnTo>
                  <a:lnTo>
                    <a:pt x="806450" y="893763"/>
                  </a:lnTo>
                  <a:lnTo>
                    <a:pt x="806450" y="896938"/>
                  </a:lnTo>
                  <a:lnTo>
                    <a:pt x="800100" y="896938"/>
                  </a:lnTo>
                  <a:lnTo>
                    <a:pt x="796925" y="900113"/>
                  </a:lnTo>
                  <a:lnTo>
                    <a:pt x="793750" y="900113"/>
                  </a:lnTo>
                  <a:lnTo>
                    <a:pt x="787400" y="903288"/>
                  </a:lnTo>
                  <a:lnTo>
                    <a:pt x="787400" y="909638"/>
                  </a:lnTo>
                  <a:lnTo>
                    <a:pt x="790575" y="909638"/>
                  </a:lnTo>
                  <a:lnTo>
                    <a:pt x="790575" y="912813"/>
                  </a:lnTo>
                  <a:lnTo>
                    <a:pt x="793750" y="915988"/>
                  </a:lnTo>
                  <a:lnTo>
                    <a:pt x="790575" y="922338"/>
                  </a:lnTo>
                  <a:lnTo>
                    <a:pt x="784225" y="922338"/>
                  </a:lnTo>
                  <a:lnTo>
                    <a:pt x="777875" y="912813"/>
                  </a:lnTo>
                  <a:lnTo>
                    <a:pt x="777875" y="909638"/>
                  </a:lnTo>
                  <a:lnTo>
                    <a:pt x="774700" y="909638"/>
                  </a:lnTo>
                  <a:lnTo>
                    <a:pt x="777875" y="903288"/>
                  </a:lnTo>
                  <a:lnTo>
                    <a:pt x="777875" y="896938"/>
                  </a:lnTo>
                  <a:lnTo>
                    <a:pt x="781050" y="896938"/>
                  </a:lnTo>
                  <a:lnTo>
                    <a:pt x="781050" y="893763"/>
                  </a:lnTo>
                  <a:lnTo>
                    <a:pt x="765175" y="896938"/>
                  </a:lnTo>
                  <a:lnTo>
                    <a:pt x="762000" y="893763"/>
                  </a:lnTo>
                  <a:lnTo>
                    <a:pt x="758825" y="887413"/>
                  </a:lnTo>
                  <a:lnTo>
                    <a:pt x="752475" y="893763"/>
                  </a:lnTo>
                  <a:lnTo>
                    <a:pt x="739775" y="893763"/>
                  </a:lnTo>
                  <a:lnTo>
                    <a:pt x="736600" y="890588"/>
                  </a:lnTo>
                  <a:lnTo>
                    <a:pt x="723900" y="890588"/>
                  </a:lnTo>
                  <a:lnTo>
                    <a:pt x="714375" y="884238"/>
                  </a:lnTo>
                  <a:lnTo>
                    <a:pt x="711200" y="881063"/>
                  </a:lnTo>
                  <a:lnTo>
                    <a:pt x="711200" y="874713"/>
                  </a:lnTo>
                  <a:lnTo>
                    <a:pt x="711200" y="868363"/>
                  </a:lnTo>
                  <a:lnTo>
                    <a:pt x="708025" y="862013"/>
                  </a:lnTo>
                  <a:lnTo>
                    <a:pt x="704850" y="862013"/>
                  </a:lnTo>
                  <a:lnTo>
                    <a:pt x="692150" y="858838"/>
                  </a:lnTo>
                  <a:lnTo>
                    <a:pt x="682625" y="852488"/>
                  </a:lnTo>
                  <a:lnTo>
                    <a:pt x="682625" y="849313"/>
                  </a:lnTo>
                  <a:lnTo>
                    <a:pt x="673100" y="858838"/>
                  </a:lnTo>
                  <a:lnTo>
                    <a:pt x="666750" y="862013"/>
                  </a:lnTo>
                  <a:lnTo>
                    <a:pt x="657225" y="865188"/>
                  </a:lnTo>
                  <a:lnTo>
                    <a:pt x="654050" y="871538"/>
                  </a:lnTo>
                  <a:lnTo>
                    <a:pt x="647700" y="865188"/>
                  </a:lnTo>
                  <a:lnTo>
                    <a:pt x="638175" y="865188"/>
                  </a:lnTo>
                  <a:lnTo>
                    <a:pt x="628650" y="868363"/>
                  </a:lnTo>
                  <a:lnTo>
                    <a:pt x="619125" y="868363"/>
                  </a:lnTo>
                  <a:lnTo>
                    <a:pt x="612775" y="874713"/>
                  </a:lnTo>
                  <a:lnTo>
                    <a:pt x="603250" y="871538"/>
                  </a:lnTo>
                  <a:lnTo>
                    <a:pt x="603250" y="881063"/>
                  </a:lnTo>
                  <a:lnTo>
                    <a:pt x="606425" y="887413"/>
                  </a:lnTo>
                  <a:lnTo>
                    <a:pt x="606425" y="893763"/>
                  </a:lnTo>
                  <a:lnTo>
                    <a:pt x="603250" y="900113"/>
                  </a:lnTo>
                  <a:lnTo>
                    <a:pt x="596900" y="900113"/>
                  </a:lnTo>
                  <a:lnTo>
                    <a:pt x="593725" y="893763"/>
                  </a:lnTo>
                  <a:lnTo>
                    <a:pt x="590550" y="887413"/>
                  </a:lnTo>
                  <a:lnTo>
                    <a:pt x="587375" y="890588"/>
                  </a:lnTo>
                  <a:lnTo>
                    <a:pt x="577850" y="893763"/>
                  </a:lnTo>
                  <a:lnTo>
                    <a:pt x="571500" y="896938"/>
                  </a:lnTo>
                  <a:lnTo>
                    <a:pt x="568325" y="881063"/>
                  </a:lnTo>
                  <a:lnTo>
                    <a:pt x="555625" y="881063"/>
                  </a:lnTo>
                  <a:lnTo>
                    <a:pt x="552450" y="881063"/>
                  </a:lnTo>
                  <a:lnTo>
                    <a:pt x="549275" y="877888"/>
                  </a:lnTo>
                  <a:lnTo>
                    <a:pt x="552450" y="865188"/>
                  </a:lnTo>
                  <a:lnTo>
                    <a:pt x="549275" y="858838"/>
                  </a:lnTo>
                  <a:lnTo>
                    <a:pt x="546100" y="855663"/>
                  </a:lnTo>
                  <a:lnTo>
                    <a:pt x="542925" y="849313"/>
                  </a:lnTo>
                  <a:lnTo>
                    <a:pt x="542925" y="833438"/>
                  </a:lnTo>
                  <a:lnTo>
                    <a:pt x="536575" y="833438"/>
                  </a:lnTo>
                  <a:lnTo>
                    <a:pt x="530225" y="833438"/>
                  </a:lnTo>
                  <a:lnTo>
                    <a:pt x="523875" y="833438"/>
                  </a:lnTo>
                  <a:lnTo>
                    <a:pt x="520700" y="836613"/>
                  </a:lnTo>
                  <a:lnTo>
                    <a:pt x="517525" y="839788"/>
                  </a:lnTo>
                  <a:lnTo>
                    <a:pt x="514350" y="836613"/>
                  </a:lnTo>
                  <a:lnTo>
                    <a:pt x="517525" y="827088"/>
                  </a:lnTo>
                  <a:lnTo>
                    <a:pt x="514350" y="817563"/>
                  </a:lnTo>
                  <a:lnTo>
                    <a:pt x="517525" y="811213"/>
                  </a:lnTo>
                  <a:lnTo>
                    <a:pt x="520700" y="804863"/>
                  </a:lnTo>
                  <a:lnTo>
                    <a:pt x="523875" y="808038"/>
                  </a:lnTo>
                  <a:lnTo>
                    <a:pt x="527050" y="804863"/>
                  </a:lnTo>
                  <a:lnTo>
                    <a:pt x="533400" y="798513"/>
                  </a:lnTo>
                  <a:lnTo>
                    <a:pt x="536575" y="792163"/>
                  </a:lnTo>
                  <a:lnTo>
                    <a:pt x="539750" y="766763"/>
                  </a:lnTo>
                  <a:lnTo>
                    <a:pt x="539750" y="750888"/>
                  </a:lnTo>
                  <a:lnTo>
                    <a:pt x="527050" y="738188"/>
                  </a:lnTo>
                  <a:lnTo>
                    <a:pt x="517525" y="728663"/>
                  </a:lnTo>
                  <a:lnTo>
                    <a:pt x="511175" y="735013"/>
                  </a:lnTo>
                  <a:lnTo>
                    <a:pt x="504825" y="731838"/>
                  </a:lnTo>
                  <a:lnTo>
                    <a:pt x="492125" y="728663"/>
                  </a:lnTo>
                  <a:lnTo>
                    <a:pt x="495300" y="722313"/>
                  </a:lnTo>
                  <a:lnTo>
                    <a:pt x="492125" y="715963"/>
                  </a:lnTo>
                  <a:lnTo>
                    <a:pt x="482600" y="703263"/>
                  </a:lnTo>
                  <a:lnTo>
                    <a:pt x="476250" y="709613"/>
                  </a:lnTo>
                  <a:lnTo>
                    <a:pt x="469900" y="709613"/>
                  </a:lnTo>
                  <a:lnTo>
                    <a:pt x="469900" y="712788"/>
                  </a:lnTo>
                  <a:lnTo>
                    <a:pt x="450850" y="706438"/>
                  </a:lnTo>
                  <a:lnTo>
                    <a:pt x="434975" y="722313"/>
                  </a:lnTo>
                  <a:lnTo>
                    <a:pt x="431800" y="722313"/>
                  </a:lnTo>
                  <a:lnTo>
                    <a:pt x="419100" y="728663"/>
                  </a:lnTo>
                  <a:lnTo>
                    <a:pt x="406400" y="744538"/>
                  </a:lnTo>
                  <a:lnTo>
                    <a:pt x="387350" y="747713"/>
                  </a:lnTo>
                  <a:lnTo>
                    <a:pt x="387350" y="741363"/>
                  </a:lnTo>
                  <a:lnTo>
                    <a:pt x="381000" y="738188"/>
                  </a:lnTo>
                  <a:lnTo>
                    <a:pt x="377825" y="738188"/>
                  </a:lnTo>
                  <a:lnTo>
                    <a:pt x="374650" y="741363"/>
                  </a:lnTo>
                  <a:lnTo>
                    <a:pt x="361950" y="738188"/>
                  </a:lnTo>
                  <a:lnTo>
                    <a:pt x="361950" y="735013"/>
                  </a:lnTo>
                  <a:lnTo>
                    <a:pt x="352425" y="731838"/>
                  </a:lnTo>
                  <a:lnTo>
                    <a:pt x="342900" y="738188"/>
                  </a:lnTo>
                  <a:lnTo>
                    <a:pt x="327025" y="757238"/>
                  </a:lnTo>
                  <a:lnTo>
                    <a:pt x="327025" y="747713"/>
                  </a:lnTo>
                  <a:lnTo>
                    <a:pt x="327025" y="741363"/>
                  </a:lnTo>
                  <a:lnTo>
                    <a:pt x="317500" y="738188"/>
                  </a:lnTo>
                  <a:lnTo>
                    <a:pt x="311150" y="744538"/>
                  </a:lnTo>
                  <a:lnTo>
                    <a:pt x="295275" y="744538"/>
                  </a:lnTo>
                  <a:lnTo>
                    <a:pt x="288925" y="744538"/>
                  </a:lnTo>
                  <a:lnTo>
                    <a:pt x="279400" y="741363"/>
                  </a:lnTo>
                  <a:lnTo>
                    <a:pt x="266700" y="741363"/>
                  </a:lnTo>
                  <a:lnTo>
                    <a:pt x="250825" y="735013"/>
                  </a:lnTo>
                  <a:lnTo>
                    <a:pt x="244475" y="722313"/>
                  </a:lnTo>
                  <a:lnTo>
                    <a:pt x="241300" y="725488"/>
                  </a:lnTo>
                  <a:lnTo>
                    <a:pt x="228600" y="722313"/>
                  </a:lnTo>
                  <a:lnTo>
                    <a:pt x="212725" y="715963"/>
                  </a:lnTo>
                  <a:lnTo>
                    <a:pt x="209550" y="706438"/>
                  </a:lnTo>
                  <a:lnTo>
                    <a:pt x="203200" y="700088"/>
                  </a:lnTo>
                  <a:lnTo>
                    <a:pt x="190500" y="690563"/>
                  </a:lnTo>
                  <a:lnTo>
                    <a:pt x="174625" y="684213"/>
                  </a:lnTo>
                  <a:lnTo>
                    <a:pt x="171450" y="684213"/>
                  </a:lnTo>
                  <a:lnTo>
                    <a:pt x="165100" y="687388"/>
                  </a:lnTo>
                  <a:lnTo>
                    <a:pt x="161925" y="690563"/>
                  </a:lnTo>
                  <a:lnTo>
                    <a:pt x="158750" y="687388"/>
                  </a:lnTo>
                  <a:lnTo>
                    <a:pt x="149225" y="677863"/>
                  </a:lnTo>
                  <a:lnTo>
                    <a:pt x="127000" y="661988"/>
                  </a:lnTo>
                  <a:lnTo>
                    <a:pt x="111125" y="658813"/>
                  </a:lnTo>
                  <a:lnTo>
                    <a:pt x="107950" y="652463"/>
                  </a:lnTo>
                  <a:lnTo>
                    <a:pt x="104775" y="646113"/>
                  </a:lnTo>
                  <a:lnTo>
                    <a:pt x="101600" y="630238"/>
                  </a:lnTo>
                  <a:lnTo>
                    <a:pt x="111125" y="627063"/>
                  </a:lnTo>
                  <a:lnTo>
                    <a:pt x="114300" y="633413"/>
                  </a:lnTo>
                  <a:lnTo>
                    <a:pt x="117475" y="630238"/>
                  </a:lnTo>
                  <a:lnTo>
                    <a:pt x="127000" y="620713"/>
                  </a:lnTo>
                  <a:lnTo>
                    <a:pt x="114300" y="604838"/>
                  </a:lnTo>
                  <a:lnTo>
                    <a:pt x="111125" y="588963"/>
                  </a:lnTo>
                  <a:lnTo>
                    <a:pt x="114300" y="582613"/>
                  </a:lnTo>
                  <a:lnTo>
                    <a:pt x="111125" y="576263"/>
                  </a:lnTo>
                  <a:lnTo>
                    <a:pt x="104775" y="576263"/>
                  </a:lnTo>
                  <a:lnTo>
                    <a:pt x="98425" y="573088"/>
                  </a:lnTo>
                  <a:lnTo>
                    <a:pt x="92075" y="550863"/>
                  </a:lnTo>
                  <a:lnTo>
                    <a:pt x="88900" y="550863"/>
                  </a:lnTo>
                  <a:lnTo>
                    <a:pt x="69850" y="547688"/>
                  </a:lnTo>
                  <a:lnTo>
                    <a:pt x="53975" y="541338"/>
                  </a:lnTo>
                  <a:lnTo>
                    <a:pt x="50800" y="531813"/>
                  </a:lnTo>
                  <a:lnTo>
                    <a:pt x="47625" y="522288"/>
                  </a:lnTo>
                  <a:lnTo>
                    <a:pt x="38100" y="512763"/>
                  </a:lnTo>
                  <a:lnTo>
                    <a:pt x="28575" y="509588"/>
                  </a:lnTo>
                  <a:lnTo>
                    <a:pt x="19050" y="509588"/>
                  </a:lnTo>
                  <a:lnTo>
                    <a:pt x="25400" y="503238"/>
                  </a:lnTo>
                  <a:lnTo>
                    <a:pt x="31750" y="500063"/>
                  </a:lnTo>
                  <a:lnTo>
                    <a:pt x="25400" y="481013"/>
                  </a:lnTo>
                  <a:lnTo>
                    <a:pt x="22225" y="468313"/>
                  </a:lnTo>
                  <a:lnTo>
                    <a:pt x="9525" y="465138"/>
                  </a:lnTo>
                  <a:lnTo>
                    <a:pt x="6350" y="468313"/>
                  </a:lnTo>
                  <a:lnTo>
                    <a:pt x="3175" y="465138"/>
                  </a:lnTo>
                  <a:lnTo>
                    <a:pt x="0" y="442913"/>
                  </a:lnTo>
                  <a:lnTo>
                    <a:pt x="3175" y="442913"/>
                  </a:lnTo>
                  <a:lnTo>
                    <a:pt x="6350" y="439738"/>
                  </a:lnTo>
                  <a:lnTo>
                    <a:pt x="3175" y="436563"/>
                  </a:lnTo>
                  <a:lnTo>
                    <a:pt x="12700" y="423863"/>
                  </a:lnTo>
                  <a:lnTo>
                    <a:pt x="22225" y="417513"/>
                  </a:lnTo>
                  <a:lnTo>
                    <a:pt x="25400" y="414338"/>
                  </a:lnTo>
                  <a:lnTo>
                    <a:pt x="41275" y="414338"/>
                  </a:lnTo>
                  <a:lnTo>
                    <a:pt x="41275" y="420688"/>
                  </a:lnTo>
                  <a:lnTo>
                    <a:pt x="47625" y="420688"/>
                  </a:lnTo>
                  <a:lnTo>
                    <a:pt x="60325" y="417513"/>
                  </a:lnTo>
                  <a:lnTo>
                    <a:pt x="63500" y="411163"/>
                  </a:lnTo>
                  <a:lnTo>
                    <a:pt x="66675" y="404813"/>
                  </a:lnTo>
                  <a:lnTo>
                    <a:pt x="73025" y="398463"/>
                  </a:lnTo>
                  <a:lnTo>
                    <a:pt x="79375" y="401638"/>
                  </a:lnTo>
                  <a:lnTo>
                    <a:pt x="88900" y="398463"/>
                  </a:lnTo>
                  <a:lnTo>
                    <a:pt x="98425" y="395288"/>
                  </a:lnTo>
                  <a:lnTo>
                    <a:pt x="101600" y="388938"/>
                  </a:lnTo>
                  <a:lnTo>
                    <a:pt x="107950" y="385763"/>
                  </a:lnTo>
                  <a:lnTo>
                    <a:pt x="127000" y="376238"/>
                  </a:lnTo>
                  <a:lnTo>
                    <a:pt x="133350" y="373063"/>
                  </a:lnTo>
                  <a:lnTo>
                    <a:pt x="139700" y="369888"/>
                  </a:lnTo>
                  <a:lnTo>
                    <a:pt x="139700" y="366713"/>
                  </a:lnTo>
                  <a:lnTo>
                    <a:pt x="139700" y="358775"/>
                  </a:lnTo>
                  <a:lnTo>
                    <a:pt x="142875" y="349250"/>
                  </a:lnTo>
                  <a:lnTo>
                    <a:pt x="149225" y="346075"/>
                  </a:lnTo>
                  <a:lnTo>
                    <a:pt x="142875" y="342900"/>
                  </a:lnTo>
                  <a:lnTo>
                    <a:pt x="149225" y="339725"/>
                  </a:lnTo>
                  <a:lnTo>
                    <a:pt x="152400" y="336550"/>
                  </a:lnTo>
                  <a:lnTo>
                    <a:pt x="146050" y="320675"/>
                  </a:lnTo>
                  <a:lnTo>
                    <a:pt x="146050" y="311150"/>
                  </a:lnTo>
                  <a:lnTo>
                    <a:pt x="142875" y="304800"/>
                  </a:lnTo>
                  <a:lnTo>
                    <a:pt x="142875" y="295275"/>
                  </a:lnTo>
                  <a:lnTo>
                    <a:pt x="136525" y="288925"/>
                  </a:lnTo>
                  <a:lnTo>
                    <a:pt x="136525" y="282575"/>
                  </a:lnTo>
                  <a:lnTo>
                    <a:pt x="146050" y="279400"/>
                  </a:lnTo>
                  <a:lnTo>
                    <a:pt x="165100" y="276225"/>
                  </a:lnTo>
                  <a:lnTo>
                    <a:pt x="174625" y="273050"/>
                  </a:lnTo>
                  <a:lnTo>
                    <a:pt x="177800" y="276225"/>
                  </a:lnTo>
                  <a:lnTo>
                    <a:pt x="187325" y="279400"/>
                  </a:lnTo>
                  <a:lnTo>
                    <a:pt x="193675" y="276225"/>
                  </a:lnTo>
                  <a:lnTo>
                    <a:pt x="187325" y="269875"/>
                  </a:lnTo>
                  <a:lnTo>
                    <a:pt x="187325" y="260350"/>
                  </a:lnTo>
                  <a:lnTo>
                    <a:pt x="193675" y="241300"/>
                  </a:lnTo>
                  <a:lnTo>
                    <a:pt x="200025" y="222250"/>
                  </a:lnTo>
                  <a:lnTo>
                    <a:pt x="206375" y="215900"/>
                  </a:lnTo>
                  <a:lnTo>
                    <a:pt x="219075" y="222250"/>
                  </a:lnTo>
                  <a:lnTo>
                    <a:pt x="238125" y="225425"/>
                  </a:lnTo>
                  <a:lnTo>
                    <a:pt x="260350" y="209550"/>
                  </a:lnTo>
                  <a:lnTo>
                    <a:pt x="257175" y="190500"/>
                  </a:lnTo>
                  <a:lnTo>
                    <a:pt x="260350" y="177800"/>
                  </a:lnTo>
                  <a:lnTo>
                    <a:pt x="269875" y="177800"/>
                  </a:lnTo>
                  <a:lnTo>
                    <a:pt x="282575" y="168275"/>
                  </a:lnTo>
                  <a:lnTo>
                    <a:pt x="282575" y="158750"/>
                  </a:lnTo>
                  <a:lnTo>
                    <a:pt x="292100" y="152400"/>
                  </a:lnTo>
                  <a:lnTo>
                    <a:pt x="304800" y="152400"/>
                  </a:lnTo>
                  <a:lnTo>
                    <a:pt x="304800" y="158750"/>
                  </a:lnTo>
                  <a:lnTo>
                    <a:pt x="301625" y="161925"/>
                  </a:lnTo>
                  <a:lnTo>
                    <a:pt x="307975" y="171450"/>
                  </a:lnTo>
                  <a:lnTo>
                    <a:pt x="314325" y="174625"/>
                  </a:lnTo>
                  <a:lnTo>
                    <a:pt x="323850" y="184150"/>
                  </a:lnTo>
                  <a:lnTo>
                    <a:pt x="327025" y="187325"/>
                  </a:lnTo>
                  <a:lnTo>
                    <a:pt x="336550" y="190500"/>
                  </a:lnTo>
                  <a:lnTo>
                    <a:pt x="346075" y="193675"/>
                  </a:lnTo>
                  <a:lnTo>
                    <a:pt x="358775" y="200025"/>
                  </a:lnTo>
                  <a:lnTo>
                    <a:pt x="368300" y="219075"/>
                  </a:lnTo>
                  <a:lnTo>
                    <a:pt x="374650" y="231775"/>
                  </a:lnTo>
                  <a:lnTo>
                    <a:pt x="371475" y="250825"/>
                  </a:lnTo>
                  <a:lnTo>
                    <a:pt x="368300" y="260350"/>
                  </a:lnTo>
                  <a:lnTo>
                    <a:pt x="365125" y="266700"/>
                  </a:lnTo>
                  <a:lnTo>
                    <a:pt x="377825" y="279400"/>
                  </a:lnTo>
                  <a:lnTo>
                    <a:pt x="406400" y="282575"/>
                  </a:lnTo>
                  <a:lnTo>
                    <a:pt x="431800" y="285750"/>
                  </a:lnTo>
                  <a:lnTo>
                    <a:pt x="441325" y="292100"/>
                  </a:lnTo>
                  <a:lnTo>
                    <a:pt x="450850" y="298450"/>
                  </a:lnTo>
                  <a:lnTo>
                    <a:pt x="466725" y="307975"/>
                  </a:lnTo>
                  <a:lnTo>
                    <a:pt x="473075" y="320675"/>
                  </a:lnTo>
                  <a:lnTo>
                    <a:pt x="479425" y="336550"/>
                  </a:lnTo>
                  <a:lnTo>
                    <a:pt x="488950" y="352425"/>
                  </a:lnTo>
                  <a:lnTo>
                    <a:pt x="495300" y="352425"/>
                  </a:lnTo>
                  <a:lnTo>
                    <a:pt x="504825" y="352425"/>
                  </a:lnTo>
                  <a:lnTo>
                    <a:pt x="530225" y="355600"/>
                  </a:lnTo>
                  <a:lnTo>
                    <a:pt x="555625" y="358775"/>
                  </a:lnTo>
                  <a:lnTo>
                    <a:pt x="565150" y="355600"/>
                  </a:lnTo>
                  <a:lnTo>
                    <a:pt x="568325" y="352425"/>
                  </a:lnTo>
                  <a:lnTo>
                    <a:pt x="581025" y="355600"/>
                  </a:lnTo>
                  <a:lnTo>
                    <a:pt x="600075" y="358775"/>
                  </a:lnTo>
                  <a:lnTo>
                    <a:pt x="606425" y="358775"/>
                  </a:lnTo>
                  <a:lnTo>
                    <a:pt x="615950" y="366713"/>
                  </a:lnTo>
                  <a:lnTo>
                    <a:pt x="625475" y="369888"/>
                  </a:lnTo>
                  <a:lnTo>
                    <a:pt x="673100" y="385763"/>
                  </a:lnTo>
                  <a:lnTo>
                    <a:pt x="727075" y="361950"/>
                  </a:lnTo>
                  <a:lnTo>
                    <a:pt x="739775" y="358775"/>
                  </a:lnTo>
                  <a:lnTo>
                    <a:pt x="752475" y="358775"/>
                  </a:lnTo>
                  <a:lnTo>
                    <a:pt x="768350" y="358775"/>
                  </a:lnTo>
                  <a:lnTo>
                    <a:pt x="781050" y="355600"/>
                  </a:lnTo>
                  <a:lnTo>
                    <a:pt x="793750" y="349250"/>
                  </a:lnTo>
                  <a:lnTo>
                    <a:pt x="803275" y="336550"/>
                  </a:lnTo>
                  <a:lnTo>
                    <a:pt x="812800" y="330200"/>
                  </a:lnTo>
                  <a:lnTo>
                    <a:pt x="825500" y="323850"/>
                  </a:lnTo>
                  <a:lnTo>
                    <a:pt x="822325" y="314325"/>
                  </a:lnTo>
                  <a:lnTo>
                    <a:pt x="819150" y="311150"/>
                  </a:lnTo>
                  <a:lnTo>
                    <a:pt x="815975" y="304800"/>
                  </a:lnTo>
                  <a:lnTo>
                    <a:pt x="815975" y="292100"/>
                  </a:lnTo>
                  <a:lnTo>
                    <a:pt x="825500" y="282575"/>
                  </a:lnTo>
                  <a:lnTo>
                    <a:pt x="838200" y="285750"/>
                  </a:lnTo>
                  <a:lnTo>
                    <a:pt x="850900" y="288925"/>
                  </a:lnTo>
                  <a:lnTo>
                    <a:pt x="860425" y="292100"/>
                  </a:lnTo>
                  <a:lnTo>
                    <a:pt x="863600" y="288925"/>
                  </a:lnTo>
                  <a:lnTo>
                    <a:pt x="869950" y="285750"/>
                  </a:lnTo>
                  <a:lnTo>
                    <a:pt x="873125" y="285750"/>
                  </a:lnTo>
                  <a:lnTo>
                    <a:pt x="882650" y="273050"/>
                  </a:lnTo>
                  <a:lnTo>
                    <a:pt x="889000" y="273050"/>
                  </a:lnTo>
                  <a:lnTo>
                    <a:pt x="898525" y="273050"/>
                  </a:lnTo>
                  <a:lnTo>
                    <a:pt x="908050" y="266700"/>
                  </a:lnTo>
                  <a:lnTo>
                    <a:pt x="914400" y="263525"/>
                  </a:lnTo>
                  <a:lnTo>
                    <a:pt x="917575" y="257175"/>
                  </a:lnTo>
                  <a:lnTo>
                    <a:pt x="936625" y="241300"/>
                  </a:lnTo>
                  <a:lnTo>
                    <a:pt x="958850" y="231775"/>
                  </a:lnTo>
                  <a:lnTo>
                    <a:pt x="974725" y="231775"/>
                  </a:lnTo>
                  <a:lnTo>
                    <a:pt x="990600" y="234950"/>
                  </a:lnTo>
                  <a:lnTo>
                    <a:pt x="996950" y="231775"/>
                  </a:lnTo>
                  <a:lnTo>
                    <a:pt x="996950" y="225425"/>
                  </a:lnTo>
                  <a:lnTo>
                    <a:pt x="987425" y="212725"/>
                  </a:lnTo>
                  <a:lnTo>
                    <a:pt x="984250" y="209550"/>
                  </a:lnTo>
                  <a:lnTo>
                    <a:pt x="965200" y="190500"/>
                  </a:lnTo>
                  <a:lnTo>
                    <a:pt x="958850" y="187325"/>
                  </a:lnTo>
                  <a:lnTo>
                    <a:pt x="952500" y="187325"/>
                  </a:lnTo>
                  <a:lnTo>
                    <a:pt x="939800" y="193675"/>
                  </a:lnTo>
                  <a:lnTo>
                    <a:pt x="930275" y="193675"/>
                  </a:lnTo>
                  <a:lnTo>
                    <a:pt x="914400" y="196850"/>
                  </a:lnTo>
                  <a:lnTo>
                    <a:pt x="911225" y="200025"/>
                  </a:lnTo>
                  <a:lnTo>
                    <a:pt x="904875" y="193675"/>
                  </a:lnTo>
                  <a:lnTo>
                    <a:pt x="901700" y="184150"/>
                  </a:lnTo>
                  <a:lnTo>
                    <a:pt x="914400" y="161925"/>
                  </a:lnTo>
                  <a:lnTo>
                    <a:pt x="927100" y="130175"/>
                  </a:lnTo>
                  <a:lnTo>
                    <a:pt x="952500" y="139700"/>
                  </a:lnTo>
                  <a:lnTo>
                    <a:pt x="965200" y="130175"/>
                  </a:lnTo>
                  <a:lnTo>
                    <a:pt x="981075" y="123825"/>
                  </a:lnTo>
                  <a:lnTo>
                    <a:pt x="984250" y="114300"/>
                  </a:lnTo>
                  <a:lnTo>
                    <a:pt x="981075" y="114300"/>
                  </a:lnTo>
                  <a:lnTo>
                    <a:pt x="981075" y="111125"/>
                  </a:lnTo>
                  <a:lnTo>
                    <a:pt x="987425" y="101600"/>
                  </a:lnTo>
                  <a:lnTo>
                    <a:pt x="993775" y="88900"/>
                  </a:lnTo>
                  <a:lnTo>
                    <a:pt x="1000125" y="69850"/>
                  </a:lnTo>
                  <a:lnTo>
                    <a:pt x="1006475" y="63500"/>
                  </a:lnTo>
                  <a:lnTo>
                    <a:pt x="1012825" y="53975"/>
                  </a:lnTo>
                  <a:lnTo>
                    <a:pt x="1016000" y="44450"/>
                  </a:lnTo>
                  <a:lnTo>
                    <a:pt x="1012825" y="34925"/>
                  </a:lnTo>
                  <a:lnTo>
                    <a:pt x="1006475" y="34925"/>
                  </a:lnTo>
                  <a:lnTo>
                    <a:pt x="1003300" y="31750"/>
                  </a:lnTo>
                  <a:lnTo>
                    <a:pt x="1003300" y="28575"/>
                  </a:lnTo>
                  <a:lnTo>
                    <a:pt x="1016000" y="12700"/>
                  </a:lnTo>
                  <a:lnTo>
                    <a:pt x="1022350" y="9525"/>
                  </a:lnTo>
                  <a:lnTo>
                    <a:pt x="1031875" y="9525"/>
                  </a:lnTo>
                  <a:lnTo>
                    <a:pt x="1041400" y="6350"/>
                  </a:lnTo>
                  <a:lnTo>
                    <a:pt x="1050925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2400">
                <a:solidFill>
                  <a:schemeClr val="lt1"/>
                </a:solidFill>
              </a:endParaRPr>
            </a:p>
          </p:txBody>
        </p:sp>
        <p:sp>
          <p:nvSpPr>
            <p:cNvPr id="162" name="Google Shape;613;p35">
              <a:extLst>
                <a:ext uri="{FF2B5EF4-FFF2-40B4-BE49-F238E27FC236}">
                  <a16:creationId xmlns:a16="http://schemas.microsoft.com/office/drawing/2014/main" id="{132195F9-2C01-E446-94A7-79E4DA3BF865}"/>
                </a:ext>
              </a:extLst>
            </p:cNvPr>
            <p:cNvSpPr/>
            <p:nvPr/>
          </p:nvSpPr>
          <p:spPr>
            <a:xfrm>
              <a:off x="7580075" y="3537188"/>
              <a:ext cx="625793" cy="301467"/>
            </a:xfrm>
            <a:custGeom>
              <a:avLst/>
              <a:gdLst/>
              <a:ahLst/>
              <a:cxnLst/>
              <a:rect l="l" t="t" r="r" b="b"/>
              <a:pathLst>
                <a:path w="438" h="211" extrusionOk="0">
                  <a:moveTo>
                    <a:pt x="0" y="70"/>
                  </a:moveTo>
                  <a:lnTo>
                    <a:pt x="4" y="76"/>
                  </a:lnTo>
                  <a:lnTo>
                    <a:pt x="8" y="78"/>
                  </a:lnTo>
                  <a:lnTo>
                    <a:pt x="14" y="84"/>
                  </a:lnTo>
                  <a:lnTo>
                    <a:pt x="16" y="86"/>
                  </a:lnTo>
                  <a:lnTo>
                    <a:pt x="22" y="88"/>
                  </a:lnTo>
                  <a:lnTo>
                    <a:pt x="28" y="90"/>
                  </a:lnTo>
                  <a:lnTo>
                    <a:pt x="36" y="94"/>
                  </a:lnTo>
                  <a:lnTo>
                    <a:pt x="42" y="106"/>
                  </a:lnTo>
                  <a:lnTo>
                    <a:pt x="46" y="114"/>
                  </a:lnTo>
                  <a:lnTo>
                    <a:pt x="44" y="126"/>
                  </a:lnTo>
                  <a:lnTo>
                    <a:pt x="42" y="132"/>
                  </a:lnTo>
                  <a:lnTo>
                    <a:pt x="40" y="136"/>
                  </a:lnTo>
                  <a:lnTo>
                    <a:pt x="48" y="144"/>
                  </a:lnTo>
                  <a:lnTo>
                    <a:pt x="66" y="146"/>
                  </a:lnTo>
                  <a:lnTo>
                    <a:pt x="82" y="148"/>
                  </a:lnTo>
                  <a:lnTo>
                    <a:pt x="88" y="152"/>
                  </a:lnTo>
                  <a:lnTo>
                    <a:pt x="94" y="156"/>
                  </a:lnTo>
                  <a:lnTo>
                    <a:pt x="104" y="162"/>
                  </a:lnTo>
                  <a:lnTo>
                    <a:pt x="108" y="170"/>
                  </a:lnTo>
                  <a:lnTo>
                    <a:pt x="112" y="180"/>
                  </a:lnTo>
                  <a:lnTo>
                    <a:pt x="118" y="190"/>
                  </a:lnTo>
                  <a:lnTo>
                    <a:pt x="122" y="190"/>
                  </a:lnTo>
                  <a:lnTo>
                    <a:pt x="128" y="190"/>
                  </a:lnTo>
                  <a:lnTo>
                    <a:pt x="144" y="192"/>
                  </a:lnTo>
                  <a:lnTo>
                    <a:pt x="160" y="194"/>
                  </a:lnTo>
                  <a:lnTo>
                    <a:pt x="166" y="192"/>
                  </a:lnTo>
                  <a:lnTo>
                    <a:pt x="168" y="190"/>
                  </a:lnTo>
                  <a:lnTo>
                    <a:pt x="176" y="192"/>
                  </a:lnTo>
                  <a:lnTo>
                    <a:pt x="188" y="194"/>
                  </a:lnTo>
                  <a:lnTo>
                    <a:pt x="192" y="194"/>
                  </a:lnTo>
                  <a:lnTo>
                    <a:pt x="198" y="199"/>
                  </a:lnTo>
                  <a:lnTo>
                    <a:pt x="204" y="201"/>
                  </a:lnTo>
                  <a:lnTo>
                    <a:pt x="234" y="211"/>
                  </a:lnTo>
                  <a:lnTo>
                    <a:pt x="268" y="196"/>
                  </a:lnTo>
                  <a:lnTo>
                    <a:pt x="276" y="194"/>
                  </a:lnTo>
                  <a:lnTo>
                    <a:pt x="284" y="194"/>
                  </a:lnTo>
                  <a:lnTo>
                    <a:pt x="294" y="194"/>
                  </a:lnTo>
                  <a:lnTo>
                    <a:pt x="302" y="192"/>
                  </a:lnTo>
                  <a:lnTo>
                    <a:pt x="310" y="188"/>
                  </a:lnTo>
                  <a:lnTo>
                    <a:pt x="316" y="180"/>
                  </a:lnTo>
                  <a:lnTo>
                    <a:pt x="322" y="176"/>
                  </a:lnTo>
                  <a:lnTo>
                    <a:pt x="330" y="172"/>
                  </a:lnTo>
                  <a:lnTo>
                    <a:pt x="328" y="166"/>
                  </a:lnTo>
                  <a:lnTo>
                    <a:pt x="326" y="164"/>
                  </a:lnTo>
                  <a:lnTo>
                    <a:pt x="324" y="160"/>
                  </a:lnTo>
                  <a:lnTo>
                    <a:pt x="324" y="152"/>
                  </a:lnTo>
                  <a:lnTo>
                    <a:pt x="330" y="146"/>
                  </a:lnTo>
                  <a:lnTo>
                    <a:pt x="338" y="148"/>
                  </a:lnTo>
                  <a:lnTo>
                    <a:pt x="346" y="150"/>
                  </a:lnTo>
                  <a:lnTo>
                    <a:pt x="352" y="152"/>
                  </a:lnTo>
                  <a:lnTo>
                    <a:pt x="354" y="150"/>
                  </a:lnTo>
                  <a:lnTo>
                    <a:pt x="358" y="148"/>
                  </a:lnTo>
                  <a:lnTo>
                    <a:pt x="360" y="148"/>
                  </a:lnTo>
                  <a:lnTo>
                    <a:pt x="366" y="140"/>
                  </a:lnTo>
                  <a:lnTo>
                    <a:pt x="370" y="140"/>
                  </a:lnTo>
                  <a:lnTo>
                    <a:pt x="376" y="140"/>
                  </a:lnTo>
                  <a:lnTo>
                    <a:pt x="382" y="136"/>
                  </a:lnTo>
                  <a:lnTo>
                    <a:pt x="386" y="134"/>
                  </a:lnTo>
                  <a:lnTo>
                    <a:pt x="388" y="130"/>
                  </a:lnTo>
                  <a:lnTo>
                    <a:pt x="388" y="130"/>
                  </a:lnTo>
                  <a:lnTo>
                    <a:pt x="400" y="120"/>
                  </a:lnTo>
                  <a:lnTo>
                    <a:pt x="414" y="114"/>
                  </a:lnTo>
                  <a:lnTo>
                    <a:pt x="424" y="114"/>
                  </a:lnTo>
                  <a:lnTo>
                    <a:pt x="434" y="116"/>
                  </a:lnTo>
                  <a:lnTo>
                    <a:pt x="438" y="114"/>
                  </a:lnTo>
                  <a:lnTo>
                    <a:pt x="438" y="110"/>
                  </a:lnTo>
                  <a:lnTo>
                    <a:pt x="432" y="102"/>
                  </a:lnTo>
                  <a:lnTo>
                    <a:pt x="430" y="100"/>
                  </a:lnTo>
                  <a:lnTo>
                    <a:pt x="418" y="88"/>
                  </a:lnTo>
                  <a:lnTo>
                    <a:pt x="414" y="86"/>
                  </a:lnTo>
                  <a:lnTo>
                    <a:pt x="410" y="86"/>
                  </a:lnTo>
                  <a:lnTo>
                    <a:pt x="402" y="90"/>
                  </a:lnTo>
                  <a:lnTo>
                    <a:pt x="396" y="90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0" y="90"/>
                  </a:lnTo>
                  <a:lnTo>
                    <a:pt x="378" y="84"/>
                  </a:lnTo>
                  <a:lnTo>
                    <a:pt x="386" y="70"/>
                  </a:lnTo>
                  <a:lnTo>
                    <a:pt x="394" y="50"/>
                  </a:lnTo>
                  <a:lnTo>
                    <a:pt x="386" y="46"/>
                  </a:lnTo>
                  <a:lnTo>
                    <a:pt x="382" y="48"/>
                  </a:lnTo>
                  <a:lnTo>
                    <a:pt x="378" y="48"/>
                  </a:lnTo>
                  <a:lnTo>
                    <a:pt x="372" y="44"/>
                  </a:lnTo>
                  <a:lnTo>
                    <a:pt x="366" y="40"/>
                  </a:lnTo>
                  <a:lnTo>
                    <a:pt x="360" y="42"/>
                  </a:lnTo>
                  <a:lnTo>
                    <a:pt x="352" y="46"/>
                  </a:lnTo>
                  <a:lnTo>
                    <a:pt x="346" y="52"/>
                  </a:lnTo>
                  <a:lnTo>
                    <a:pt x="340" y="58"/>
                  </a:lnTo>
                  <a:lnTo>
                    <a:pt x="338" y="56"/>
                  </a:lnTo>
                  <a:lnTo>
                    <a:pt x="334" y="56"/>
                  </a:lnTo>
                  <a:lnTo>
                    <a:pt x="326" y="60"/>
                  </a:lnTo>
                  <a:lnTo>
                    <a:pt x="318" y="62"/>
                  </a:lnTo>
                  <a:lnTo>
                    <a:pt x="312" y="64"/>
                  </a:lnTo>
                  <a:lnTo>
                    <a:pt x="304" y="64"/>
                  </a:lnTo>
                  <a:lnTo>
                    <a:pt x="300" y="62"/>
                  </a:lnTo>
                  <a:lnTo>
                    <a:pt x="298" y="62"/>
                  </a:lnTo>
                  <a:lnTo>
                    <a:pt x="292" y="60"/>
                  </a:lnTo>
                  <a:lnTo>
                    <a:pt x="286" y="60"/>
                  </a:lnTo>
                  <a:lnTo>
                    <a:pt x="278" y="56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66" y="46"/>
                  </a:lnTo>
                  <a:lnTo>
                    <a:pt x="262" y="42"/>
                  </a:lnTo>
                  <a:lnTo>
                    <a:pt x="258" y="40"/>
                  </a:lnTo>
                  <a:lnTo>
                    <a:pt x="236" y="38"/>
                  </a:lnTo>
                  <a:lnTo>
                    <a:pt x="228" y="40"/>
                  </a:lnTo>
                  <a:lnTo>
                    <a:pt x="222" y="44"/>
                  </a:lnTo>
                  <a:lnTo>
                    <a:pt x="206" y="40"/>
                  </a:lnTo>
                  <a:lnTo>
                    <a:pt x="202" y="36"/>
                  </a:lnTo>
                  <a:lnTo>
                    <a:pt x="198" y="34"/>
                  </a:lnTo>
                  <a:lnTo>
                    <a:pt x="198" y="22"/>
                  </a:lnTo>
                  <a:lnTo>
                    <a:pt x="198" y="18"/>
                  </a:lnTo>
                  <a:lnTo>
                    <a:pt x="194" y="16"/>
                  </a:lnTo>
                  <a:lnTo>
                    <a:pt x="188" y="14"/>
                  </a:lnTo>
                  <a:lnTo>
                    <a:pt x="168" y="10"/>
                  </a:lnTo>
                  <a:lnTo>
                    <a:pt x="160" y="6"/>
                  </a:lnTo>
                  <a:lnTo>
                    <a:pt x="154" y="0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0" y="18"/>
                  </a:lnTo>
                  <a:lnTo>
                    <a:pt x="138" y="24"/>
                  </a:lnTo>
                  <a:lnTo>
                    <a:pt x="140" y="30"/>
                  </a:lnTo>
                  <a:lnTo>
                    <a:pt x="142" y="34"/>
                  </a:lnTo>
                  <a:lnTo>
                    <a:pt x="144" y="34"/>
                  </a:lnTo>
                  <a:lnTo>
                    <a:pt x="144" y="40"/>
                  </a:lnTo>
                  <a:lnTo>
                    <a:pt x="132" y="52"/>
                  </a:lnTo>
                  <a:lnTo>
                    <a:pt x="128" y="50"/>
                  </a:lnTo>
                  <a:lnTo>
                    <a:pt x="118" y="46"/>
                  </a:lnTo>
                  <a:lnTo>
                    <a:pt x="110" y="46"/>
                  </a:lnTo>
                  <a:lnTo>
                    <a:pt x="108" y="46"/>
                  </a:lnTo>
                  <a:lnTo>
                    <a:pt x="104" y="48"/>
                  </a:lnTo>
                  <a:lnTo>
                    <a:pt x="90" y="40"/>
                  </a:lnTo>
                  <a:lnTo>
                    <a:pt x="90" y="34"/>
                  </a:lnTo>
                  <a:lnTo>
                    <a:pt x="86" y="34"/>
                  </a:lnTo>
                  <a:lnTo>
                    <a:pt x="78" y="34"/>
                  </a:lnTo>
                  <a:lnTo>
                    <a:pt x="74" y="34"/>
                  </a:lnTo>
                  <a:lnTo>
                    <a:pt x="72" y="32"/>
                  </a:lnTo>
                  <a:lnTo>
                    <a:pt x="64" y="30"/>
                  </a:lnTo>
                  <a:lnTo>
                    <a:pt x="48" y="36"/>
                  </a:lnTo>
                  <a:lnTo>
                    <a:pt x="30" y="46"/>
                  </a:lnTo>
                  <a:lnTo>
                    <a:pt x="26" y="48"/>
                  </a:lnTo>
                  <a:lnTo>
                    <a:pt x="26" y="52"/>
                  </a:lnTo>
                  <a:lnTo>
                    <a:pt x="20" y="58"/>
                  </a:lnTo>
                  <a:lnTo>
                    <a:pt x="2" y="64"/>
                  </a:lnTo>
                  <a:lnTo>
                    <a:pt x="2" y="6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Google Shape;614;p35">
              <a:extLst>
                <a:ext uri="{FF2B5EF4-FFF2-40B4-BE49-F238E27FC236}">
                  <a16:creationId xmlns:a16="http://schemas.microsoft.com/office/drawing/2014/main" id="{D4F090AE-3452-7AFE-CC33-0F25E7B5B5DB}"/>
                </a:ext>
              </a:extLst>
            </p:cNvPr>
            <p:cNvSpPr/>
            <p:nvPr/>
          </p:nvSpPr>
          <p:spPr>
            <a:xfrm>
              <a:off x="7860110" y="4255850"/>
              <a:ext cx="142875" cy="300037"/>
            </a:xfrm>
            <a:custGeom>
              <a:avLst/>
              <a:gdLst/>
              <a:ahLst/>
              <a:cxnLst/>
              <a:rect l="l" t="t" r="r" b="b"/>
              <a:pathLst>
                <a:path w="100" h="210" extrusionOk="0">
                  <a:moveTo>
                    <a:pt x="70" y="26"/>
                  </a:moveTo>
                  <a:lnTo>
                    <a:pt x="64" y="22"/>
                  </a:lnTo>
                  <a:lnTo>
                    <a:pt x="62" y="20"/>
                  </a:lnTo>
                  <a:lnTo>
                    <a:pt x="62" y="16"/>
                  </a:lnTo>
                  <a:lnTo>
                    <a:pt x="62" y="12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0" y="6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28" y="10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2" y="10"/>
                  </a:lnTo>
                  <a:lnTo>
                    <a:pt x="16" y="10"/>
                  </a:lnTo>
                  <a:lnTo>
                    <a:pt x="10" y="12"/>
                  </a:lnTo>
                  <a:lnTo>
                    <a:pt x="4" y="12"/>
                  </a:lnTo>
                  <a:lnTo>
                    <a:pt x="0" y="16"/>
                  </a:lnTo>
                  <a:lnTo>
                    <a:pt x="6" y="20"/>
                  </a:lnTo>
                  <a:lnTo>
                    <a:pt x="10" y="22"/>
                  </a:lnTo>
                  <a:lnTo>
                    <a:pt x="12" y="24"/>
                  </a:lnTo>
                  <a:lnTo>
                    <a:pt x="10" y="30"/>
                  </a:lnTo>
                  <a:lnTo>
                    <a:pt x="14" y="38"/>
                  </a:lnTo>
                  <a:lnTo>
                    <a:pt x="22" y="40"/>
                  </a:lnTo>
                  <a:lnTo>
                    <a:pt x="24" y="38"/>
                  </a:lnTo>
                  <a:lnTo>
                    <a:pt x="28" y="36"/>
                  </a:lnTo>
                  <a:lnTo>
                    <a:pt x="32" y="38"/>
                  </a:lnTo>
                  <a:lnTo>
                    <a:pt x="34" y="40"/>
                  </a:lnTo>
                  <a:lnTo>
                    <a:pt x="40" y="50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26" y="54"/>
                  </a:lnTo>
                  <a:lnTo>
                    <a:pt x="26" y="58"/>
                  </a:lnTo>
                  <a:lnTo>
                    <a:pt x="24" y="60"/>
                  </a:lnTo>
                  <a:lnTo>
                    <a:pt x="32" y="64"/>
                  </a:lnTo>
                  <a:lnTo>
                    <a:pt x="42" y="70"/>
                  </a:lnTo>
                  <a:lnTo>
                    <a:pt x="42" y="74"/>
                  </a:lnTo>
                  <a:lnTo>
                    <a:pt x="50" y="82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2" y="98"/>
                  </a:lnTo>
                  <a:lnTo>
                    <a:pt x="64" y="100"/>
                  </a:lnTo>
                  <a:lnTo>
                    <a:pt x="66" y="100"/>
                  </a:lnTo>
                  <a:lnTo>
                    <a:pt x="68" y="104"/>
                  </a:lnTo>
                  <a:lnTo>
                    <a:pt x="72" y="106"/>
                  </a:lnTo>
                  <a:lnTo>
                    <a:pt x="70" y="110"/>
                  </a:lnTo>
                  <a:lnTo>
                    <a:pt x="74" y="114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4" y="124"/>
                  </a:lnTo>
                  <a:lnTo>
                    <a:pt x="74" y="128"/>
                  </a:lnTo>
                  <a:lnTo>
                    <a:pt x="72" y="132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4" y="136"/>
                  </a:lnTo>
                  <a:lnTo>
                    <a:pt x="72" y="138"/>
                  </a:lnTo>
                  <a:lnTo>
                    <a:pt x="76" y="144"/>
                  </a:lnTo>
                  <a:lnTo>
                    <a:pt x="74" y="150"/>
                  </a:lnTo>
                  <a:lnTo>
                    <a:pt x="74" y="154"/>
                  </a:lnTo>
                  <a:lnTo>
                    <a:pt x="72" y="158"/>
                  </a:lnTo>
                  <a:lnTo>
                    <a:pt x="66" y="160"/>
                  </a:lnTo>
                  <a:lnTo>
                    <a:pt x="64" y="162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0" y="164"/>
                  </a:lnTo>
                  <a:lnTo>
                    <a:pt x="60" y="166"/>
                  </a:lnTo>
                  <a:lnTo>
                    <a:pt x="50" y="168"/>
                  </a:lnTo>
                  <a:lnTo>
                    <a:pt x="52" y="170"/>
                  </a:lnTo>
                  <a:lnTo>
                    <a:pt x="50" y="176"/>
                  </a:lnTo>
                  <a:lnTo>
                    <a:pt x="42" y="178"/>
                  </a:lnTo>
                  <a:lnTo>
                    <a:pt x="32" y="184"/>
                  </a:lnTo>
                  <a:lnTo>
                    <a:pt x="38" y="188"/>
                  </a:lnTo>
                  <a:lnTo>
                    <a:pt x="42" y="192"/>
                  </a:lnTo>
                  <a:lnTo>
                    <a:pt x="38" y="192"/>
                  </a:lnTo>
                  <a:lnTo>
                    <a:pt x="38" y="202"/>
                  </a:lnTo>
                  <a:lnTo>
                    <a:pt x="36" y="202"/>
                  </a:lnTo>
                  <a:lnTo>
                    <a:pt x="36" y="206"/>
                  </a:lnTo>
                  <a:lnTo>
                    <a:pt x="38" y="210"/>
                  </a:lnTo>
                  <a:lnTo>
                    <a:pt x="44" y="206"/>
                  </a:lnTo>
                  <a:lnTo>
                    <a:pt x="46" y="202"/>
                  </a:lnTo>
                  <a:lnTo>
                    <a:pt x="50" y="202"/>
                  </a:lnTo>
                  <a:lnTo>
                    <a:pt x="54" y="200"/>
                  </a:lnTo>
                  <a:lnTo>
                    <a:pt x="56" y="198"/>
                  </a:lnTo>
                  <a:lnTo>
                    <a:pt x="60" y="196"/>
                  </a:lnTo>
                  <a:lnTo>
                    <a:pt x="60" y="192"/>
                  </a:lnTo>
                  <a:lnTo>
                    <a:pt x="62" y="190"/>
                  </a:lnTo>
                  <a:lnTo>
                    <a:pt x="64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72" y="184"/>
                  </a:lnTo>
                  <a:lnTo>
                    <a:pt x="82" y="178"/>
                  </a:lnTo>
                  <a:lnTo>
                    <a:pt x="92" y="174"/>
                  </a:lnTo>
                  <a:lnTo>
                    <a:pt x="96" y="166"/>
                  </a:lnTo>
                  <a:lnTo>
                    <a:pt x="98" y="162"/>
                  </a:lnTo>
                  <a:lnTo>
                    <a:pt x="98" y="158"/>
                  </a:lnTo>
                  <a:lnTo>
                    <a:pt x="100" y="152"/>
                  </a:lnTo>
                  <a:lnTo>
                    <a:pt x="98" y="148"/>
                  </a:lnTo>
                  <a:lnTo>
                    <a:pt x="98" y="142"/>
                  </a:lnTo>
                  <a:lnTo>
                    <a:pt x="98" y="136"/>
                  </a:lnTo>
                  <a:lnTo>
                    <a:pt x="96" y="128"/>
                  </a:lnTo>
                  <a:lnTo>
                    <a:pt x="94" y="124"/>
                  </a:lnTo>
                  <a:lnTo>
                    <a:pt x="90" y="114"/>
                  </a:lnTo>
                  <a:lnTo>
                    <a:pt x="84" y="106"/>
                  </a:lnTo>
                  <a:lnTo>
                    <a:pt x="82" y="104"/>
                  </a:lnTo>
                  <a:lnTo>
                    <a:pt x="80" y="102"/>
                  </a:lnTo>
                  <a:lnTo>
                    <a:pt x="76" y="100"/>
                  </a:lnTo>
                  <a:lnTo>
                    <a:pt x="72" y="98"/>
                  </a:lnTo>
                  <a:lnTo>
                    <a:pt x="68" y="92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54" y="74"/>
                  </a:lnTo>
                  <a:lnTo>
                    <a:pt x="50" y="70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50" y="56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60" y="48"/>
                  </a:lnTo>
                  <a:lnTo>
                    <a:pt x="60" y="46"/>
                  </a:lnTo>
                  <a:lnTo>
                    <a:pt x="62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4"/>
                  </a:lnTo>
                  <a:lnTo>
                    <a:pt x="78" y="28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0" y="2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Google Shape;615;p35">
              <a:extLst>
                <a:ext uri="{FF2B5EF4-FFF2-40B4-BE49-F238E27FC236}">
                  <a16:creationId xmlns:a16="http://schemas.microsoft.com/office/drawing/2014/main" id="{86425FB6-0334-7F03-9F00-18ADC0DCD0F0}"/>
                </a:ext>
              </a:extLst>
            </p:cNvPr>
            <p:cNvSpPr/>
            <p:nvPr/>
          </p:nvSpPr>
          <p:spPr>
            <a:xfrm>
              <a:off x="7865825" y="4433015"/>
              <a:ext cx="102870" cy="85725"/>
            </a:xfrm>
            <a:custGeom>
              <a:avLst/>
              <a:gdLst/>
              <a:ahLst/>
              <a:cxnLst/>
              <a:rect l="l" t="t" r="r" b="b"/>
              <a:pathLst>
                <a:path w="72" h="60" extrusionOk="0">
                  <a:moveTo>
                    <a:pt x="46" y="52"/>
                  </a:moveTo>
                  <a:lnTo>
                    <a:pt x="48" y="46"/>
                  </a:lnTo>
                  <a:lnTo>
                    <a:pt x="46" y="44"/>
                  </a:lnTo>
                  <a:lnTo>
                    <a:pt x="56" y="42"/>
                  </a:lnTo>
                  <a:lnTo>
                    <a:pt x="56" y="40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0" y="38"/>
                  </a:lnTo>
                  <a:lnTo>
                    <a:pt x="62" y="36"/>
                  </a:lnTo>
                  <a:lnTo>
                    <a:pt x="68" y="34"/>
                  </a:lnTo>
                  <a:lnTo>
                    <a:pt x="70" y="30"/>
                  </a:lnTo>
                  <a:lnTo>
                    <a:pt x="70" y="26"/>
                  </a:lnTo>
                  <a:lnTo>
                    <a:pt x="72" y="20"/>
                  </a:lnTo>
                  <a:lnTo>
                    <a:pt x="68" y="14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68" y="4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8"/>
                  </a:lnTo>
                  <a:lnTo>
                    <a:pt x="52" y="10"/>
                  </a:lnTo>
                  <a:lnTo>
                    <a:pt x="50" y="12"/>
                  </a:lnTo>
                  <a:lnTo>
                    <a:pt x="46" y="10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28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8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4" y="52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60"/>
                  </a:lnTo>
                  <a:lnTo>
                    <a:pt x="20" y="56"/>
                  </a:lnTo>
                  <a:lnTo>
                    <a:pt x="24" y="58"/>
                  </a:lnTo>
                  <a:lnTo>
                    <a:pt x="28" y="60"/>
                  </a:lnTo>
                  <a:lnTo>
                    <a:pt x="38" y="54"/>
                  </a:lnTo>
                  <a:lnTo>
                    <a:pt x="46" y="5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616;p35">
              <a:extLst>
                <a:ext uri="{FF2B5EF4-FFF2-40B4-BE49-F238E27FC236}">
                  <a16:creationId xmlns:a16="http://schemas.microsoft.com/office/drawing/2014/main" id="{90CF7B23-D72D-DF22-F92F-98768438AADD}"/>
                </a:ext>
              </a:extLst>
            </p:cNvPr>
            <p:cNvSpPr/>
            <p:nvPr/>
          </p:nvSpPr>
          <p:spPr>
            <a:xfrm>
              <a:off x="7820105" y="4275852"/>
              <a:ext cx="148590" cy="174307"/>
            </a:xfrm>
            <a:custGeom>
              <a:avLst/>
              <a:gdLst/>
              <a:ahLst/>
              <a:cxnLst/>
              <a:rect l="l" t="t" r="r" b="b"/>
              <a:pathLst>
                <a:path w="104" h="122" extrusionOk="0">
                  <a:moveTo>
                    <a:pt x="4" y="24"/>
                  </a:moveTo>
                  <a:lnTo>
                    <a:pt x="0" y="32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6" y="42"/>
                  </a:lnTo>
                  <a:lnTo>
                    <a:pt x="18" y="46"/>
                  </a:lnTo>
                  <a:lnTo>
                    <a:pt x="14" y="62"/>
                  </a:lnTo>
                  <a:lnTo>
                    <a:pt x="12" y="70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6" y="62"/>
                  </a:lnTo>
                  <a:lnTo>
                    <a:pt x="30" y="62"/>
                  </a:lnTo>
                  <a:lnTo>
                    <a:pt x="42" y="64"/>
                  </a:lnTo>
                  <a:lnTo>
                    <a:pt x="42" y="62"/>
                  </a:lnTo>
                  <a:lnTo>
                    <a:pt x="46" y="58"/>
                  </a:lnTo>
                  <a:lnTo>
                    <a:pt x="54" y="60"/>
                  </a:lnTo>
                  <a:lnTo>
                    <a:pt x="60" y="70"/>
                  </a:lnTo>
                  <a:lnTo>
                    <a:pt x="64" y="74"/>
                  </a:lnTo>
                  <a:lnTo>
                    <a:pt x="64" y="80"/>
                  </a:lnTo>
                  <a:lnTo>
                    <a:pt x="66" y="86"/>
                  </a:lnTo>
                  <a:lnTo>
                    <a:pt x="70" y="92"/>
                  </a:lnTo>
                  <a:lnTo>
                    <a:pt x="76" y="96"/>
                  </a:lnTo>
                  <a:lnTo>
                    <a:pt x="74" y="102"/>
                  </a:lnTo>
                  <a:lnTo>
                    <a:pt x="76" y="102"/>
                  </a:lnTo>
                  <a:lnTo>
                    <a:pt x="74" y="110"/>
                  </a:lnTo>
                  <a:lnTo>
                    <a:pt x="74" y="114"/>
                  </a:lnTo>
                  <a:lnTo>
                    <a:pt x="70" y="116"/>
                  </a:lnTo>
                  <a:lnTo>
                    <a:pt x="78" y="120"/>
                  </a:lnTo>
                  <a:lnTo>
                    <a:pt x="82" y="122"/>
                  </a:lnTo>
                  <a:lnTo>
                    <a:pt x="84" y="120"/>
                  </a:lnTo>
                  <a:lnTo>
                    <a:pt x="82" y="118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4" y="116"/>
                  </a:lnTo>
                  <a:lnTo>
                    <a:pt x="86" y="114"/>
                  </a:lnTo>
                  <a:lnTo>
                    <a:pt x="88" y="112"/>
                  </a:lnTo>
                  <a:lnTo>
                    <a:pt x="94" y="116"/>
                  </a:lnTo>
                  <a:lnTo>
                    <a:pt x="100" y="114"/>
                  </a:lnTo>
                  <a:lnTo>
                    <a:pt x="102" y="110"/>
                  </a:lnTo>
                  <a:lnTo>
                    <a:pt x="104" y="106"/>
                  </a:lnTo>
                  <a:lnTo>
                    <a:pt x="104" y="102"/>
                  </a:lnTo>
                  <a:lnTo>
                    <a:pt x="102" y="100"/>
                  </a:lnTo>
                  <a:lnTo>
                    <a:pt x="98" y="96"/>
                  </a:lnTo>
                  <a:lnTo>
                    <a:pt x="100" y="92"/>
                  </a:lnTo>
                  <a:lnTo>
                    <a:pt x="96" y="90"/>
                  </a:lnTo>
                  <a:lnTo>
                    <a:pt x="94" y="86"/>
                  </a:lnTo>
                  <a:lnTo>
                    <a:pt x="92" y="86"/>
                  </a:lnTo>
                  <a:lnTo>
                    <a:pt x="90" y="84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78" y="68"/>
                  </a:lnTo>
                  <a:lnTo>
                    <a:pt x="70" y="60"/>
                  </a:lnTo>
                  <a:lnTo>
                    <a:pt x="70" y="56"/>
                  </a:lnTo>
                  <a:lnTo>
                    <a:pt x="60" y="50"/>
                  </a:lnTo>
                  <a:lnTo>
                    <a:pt x="52" y="46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58" y="40"/>
                  </a:lnTo>
                  <a:lnTo>
                    <a:pt x="64" y="40"/>
                  </a:lnTo>
                  <a:lnTo>
                    <a:pt x="68" y="36"/>
                  </a:lnTo>
                  <a:lnTo>
                    <a:pt x="62" y="26"/>
                  </a:lnTo>
                  <a:lnTo>
                    <a:pt x="60" y="24"/>
                  </a:lnTo>
                  <a:lnTo>
                    <a:pt x="56" y="22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42" y="24"/>
                  </a:lnTo>
                  <a:lnTo>
                    <a:pt x="38" y="16"/>
                  </a:lnTo>
                  <a:lnTo>
                    <a:pt x="40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16" y="14"/>
                  </a:lnTo>
                  <a:lnTo>
                    <a:pt x="10" y="16"/>
                  </a:lnTo>
                  <a:lnTo>
                    <a:pt x="4" y="2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Google Shape;617;p35">
              <a:extLst>
                <a:ext uri="{FF2B5EF4-FFF2-40B4-BE49-F238E27FC236}">
                  <a16:creationId xmlns:a16="http://schemas.microsoft.com/office/drawing/2014/main" id="{082FE6FE-FAD1-26BC-F6F9-89CA9FDF9EEB}"/>
                </a:ext>
              </a:extLst>
            </p:cNvPr>
            <p:cNvSpPr/>
            <p:nvPr/>
          </p:nvSpPr>
          <p:spPr>
            <a:xfrm>
              <a:off x="7822962" y="4593035"/>
              <a:ext cx="77152" cy="102870"/>
            </a:xfrm>
            <a:custGeom>
              <a:avLst/>
              <a:gdLst/>
              <a:ahLst/>
              <a:cxnLst/>
              <a:rect l="l" t="t" r="r" b="b"/>
              <a:pathLst>
                <a:path w="54" h="72" extrusionOk="0">
                  <a:moveTo>
                    <a:pt x="0" y="2"/>
                  </a:moveTo>
                  <a:lnTo>
                    <a:pt x="2" y="10"/>
                  </a:lnTo>
                  <a:lnTo>
                    <a:pt x="4" y="22"/>
                  </a:lnTo>
                  <a:lnTo>
                    <a:pt x="6" y="30"/>
                  </a:lnTo>
                  <a:lnTo>
                    <a:pt x="6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6" y="50"/>
                  </a:lnTo>
                  <a:lnTo>
                    <a:pt x="16" y="52"/>
                  </a:lnTo>
                  <a:lnTo>
                    <a:pt x="20" y="56"/>
                  </a:lnTo>
                  <a:lnTo>
                    <a:pt x="32" y="62"/>
                  </a:lnTo>
                  <a:lnTo>
                    <a:pt x="34" y="64"/>
                  </a:lnTo>
                  <a:lnTo>
                    <a:pt x="40" y="66"/>
                  </a:lnTo>
                  <a:lnTo>
                    <a:pt x="48" y="70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2" y="58"/>
                  </a:lnTo>
                  <a:lnTo>
                    <a:pt x="50" y="54"/>
                  </a:lnTo>
                  <a:lnTo>
                    <a:pt x="48" y="5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2" y="22"/>
                  </a:lnTo>
                  <a:lnTo>
                    <a:pt x="36" y="12"/>
                  </a:lnTo>
                  <a:lnTo>
                    <a:pt x="30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4" y="14"/>
                  </a:lnTo>
                  <a:lnTo>
                    <a:pt x="12" y="10"/>
                  </a:lnTo>
                  <a:lnTo>
                    <a:pt x="12" y="4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" name="Google Shape;618;p35">
              <a:extLst>
                <a:ext uri="{FF2B5EF4-FFF2-40B4-BE49-F238E27FC236}">
                  <a16:creationId xmlns:a16="http://schemas.microsoft.com/office/drawing/2014/main" id="{75AA46A2-DE35-D280-2B6F-6F6DCBC91719}"/>
                </a:ext>
              </a:extLst>
            </p:cNvPr>
            <p:cNvSpPr/>
            <p:nvPr/>
          </p:nvSpPr>
          <p:spPr>
            <a:xfrm>
              <a:off x="7768670" y="4318715"/>
              <a:ext cx="160020" cy="294322"/>
            </a:xfrm>
            <a:custGeom>
              <a:avLst/>
              <a:gdLst/>
              <a:ahLst/>
              <a:cxnLst/>
              <a:rect l="l" t="t" r="r" b="b"/>
              <a:pathLst>
                <a:path w="112" h="206" extrusionOk="0">
                  <a:moveTo>
                    <a:pt x="38" y="194"/>
                  </a:moveTo>
                  <a:lnTo>
                    <a:pt x="40" y="192"/>
                  </a:lnTo>
                  <a:lnTo>
                    <a:pt x="44" y="194"/>
                  </a:lnTo>
                  <a:lnTo>
                    <a:pt x="50" y="196"/>
                  </a:lnTo>
                  <a:lnTo>
                    <a:pt x="50" y="202"/>
                  </a:lnTo>
                  <a:lnTo>
                    <a:pt x="52" y="206"/>
                  </a:lnTo>
                  <a:lnTo>
                    <a:pt x="54" y="202"/>
                  </a:lnTo>
                  <a:lnTo>
                    <a:pt x="56" y="202"/>
                  </a:lnTo>
                  <a:lnTo>
                    <a:pt x="58" y="202"/>
                  </a:lnTo>
                  <a:lnTo>
                    <a:pt x="58" y="204"/>
                  </a:lnTo>
                  <a:lnTo>
                    <a:pt x="60" y="204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56" y="190"/>
                  </a:lnTo>
                  <a:lnTo>
                    <a:pt x="50" y="188"/>
                  </a:lnTo>
                  <a:lnTo>
                    <a:pt x="44" y="186"/>
                  </a:lnTo>
                  <a:lnTo>
                    <a:pt x="40" y="184"/>
                  </a:lnTo>
                  <a:lnTo>
                    <a:pt x="38" y="180"/>
                  </a:lnTo>
                  <a:lnTo>
                    <a:pt x="40" y="176"/>
                  </a:lnTo>
                  <a:lnTo>
                    <a:pt x="42" y="180"/>
                  </a:lnTo>
                  <a:lnTo>
                    <a:pt x="40" y="170"/>
                  </a:lnTo>
                  <a:lnTo>
                    <a:pt x="38" y="168"/>
                  </a:lnTo>
                  <a:lnTo>
                    <a:pt x="36" y="166"/>
                  </a:lnTo>
                  <a:lnTo>
                    <a:pt x="34" y="156"/>
                  </a:lnTo>
                  <a:lnTo>
                    <a:pt x="26" y="158"/>
                  </a:lnTo>
                  <a:lnTo>
                    <a:pt x="24" y="154"/>
                  </a:lnTo>
                  <a:lnTo>
                    <a:pt x="24" y="146"/>
                  </a:lnTo>
                  <a:lnTo>
                    <a:pt x="26" y="138"/>
                  </a:lnTo>
                  <a:lnTo>
                    <a:pt x="28" y="130"/>
                  </a:lnTo>
                  <a:lnTo>
                    <a:pt x="34" y="114"/>
                  </a:lnTo>
                  <a:lnTo>
                    <a:pt x="36" y="108"/>
                  </a:lnTo>
                  <a:lnTo>
                    <a:pt x="36" y="100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46" y="98"/>
                  </a:lnTo>
                  <a:lnTo>
                    <a:pt x="48" y="98"/>
                  </a:lnTo>
                  <a:lnTo>
                    <a:pt x="48" y="102"/>
                  </a:lnTo>
                  <a:lnTo>
                    <a:pt x="48" y="108"/>
                  </a:lnTo>
                  <a:lnTo>
                    <a:pt x="52" y="110"/>
                  </a:lnTo>
                  <a:lnTo>
                    <a:pt x="60" y="110"/>
                  </a:lnTo>
                  <a:lnTo>
                    <a:pt x="66" y="114"/>
                  </a:lnTo>
                  <a:lnTo>
                    <a:pt x="72" y="118"/>
                  </a:lnTo>
                  <a:lnTo>
                    <a:pt x="76" y="124"/>
                  </a:lnTo>
                  <a:lnTo>
                    <a:pt x="74" y="120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0" y="108"/>
                  </a:lnTo>
                  <a:lnTo>
                    <a:pt x="68" y="100"/>
                  </a:lnTo>
                  <a:lnTo>
                    <a:pt x="68" y="98"/>
                  </a:lnTo>
                  <a:lnTo>
                    <a:pt x="70" y="96"/>
                  </a:lnTo>
                  <a:lnTo>
                    <a:pt x="74" y="90"/>
                  </a:lnTo>
                  <a:lnTo>
                    <a:pt x="76" y="88"/>
                  </a:lnTo>
                  <a:lnTo>
                    <a:pt x="78" y="86"/>
                  </a:lnTo>
                  <a:lnTo>
                    <a:pt x="84" y="86"/>
                  </a:lnTo>
                  <a:lnTo>
                    <a:pt x="90" y="86"/>
                  </a:lnTo>
                  <a:lnTo>
                    <a:pt x="96" y="86"/>
                  </a:lnTo>
                  <a:lnTo>
                    <a:pt x="104" y="86"/>
                  </a:lnTo>
                  <a:lnTo>
                    <a:pt x="106" y="86"/>
                  </a:lnTo>
                  <a:lnTo>
                    <a:pt x="110" y="84"/>
                  </a:lnTo>
                  <a:lnTo>
                    <a:pt x="110" y="80"/>
                  </a:lnTo>
                  <a:lnTo>
                    <a:pt x="112" y="72"/>
                  </a:lnTo>
                  <a:lnTo>
                    <a:pt x="110" y="72"/>
                  </a:lnTo>
                  <a:lnTo>
                    <a:pt x="112" y="66"/>
                  </a:lnTo>
                  <a:lnTo>
                    <a:pt x="106" y="62"/>
                  </a:lnTo>
                  <a:lnTo>
                    <a:pt x="102" y="56"/>
                  </a:lnTo>
                  <a:lnTo>
                    <a:pt x="100" y="50"/>
                  </a:lnTo>
                  <a:lnTo>
                    <a:pt x="100" y="44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2" y="28"/>
                  </a:lnTo>
                  <a:lnTo>
                    <a:pt x="78" y="32"/>
                  </a:lnTo>
                  <a:lnTo>
                    <a:pt x="78" y="34"/>
                  </a:lnTo>
                  <a:lnTo>
                    <a:pt x="66" y="32"/>
                  </a:lnTo>
                  <a:lnTo>
                    <a:pt x="62" y="32"/>
                  </a:lnTo>
                  <a:lnTo>
                    <a:pt x="56" y="38"/>
                  </a:lnTo>
                  <a:lnTo>
                    <a:pt x="52" y="42"/>
                  </a:lnTo>
                  <a:lnTo>
                    <a:pt x="50" y="42"/>
                  </a:lnTo>
                  <a:lnTo>
                    <a:pt x="48" y="40"/>
                  </a:lnTo>
                  <a:lnTo>
                    <a:pt x="50" y="32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2" y="10"/>
                  </a:lnTo>
                  <a:lnTo>
                    <a:pt x="44" y="4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16" y="10"/>
                  </a:lnTo>
                  <a:lnTo>
                    <a:pt x="12" y="10"/>
                  </a:lnTo>
                  <a:lnTo>
                    <a:pt x="8" y="10"/>
                  </a:lnTo>
                  <a:lnTo>
                    <a:pt x="6" y="16"/>
                  </a:lnTo>
                  <a:lnTo>
                    <a:pt x="4" y="22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4" y="38"/>
                  </a:lnTo>
                  <a:lnTo>
                    <a:pt x="12" y="46"/>
                  </a:lnTo>
                  <a:lnTo>
                    <a:pt x="16" y="50"/>
                  </a:lnTo>
                  <a:lnTo>
                    <a:pt x="16" y="56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6" y="66"/>
                  </a:lnTo>
                  <a:lnTo>
                    <a:pt x="16" y="70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6" y="86"/>
                  </a:lnTo>
                  <a:lnTo>
                    <a:pt x="22" y="90"/>
                  </a:lnTo>
                  <a:lnTo>
                    <a:pt x="24" y="100"/>
                  </a:lnTo>
                  <a:lnTo>
                    <a:pt x="24" y="106"/>
                  </a:lnTo>
                  <a:lnTo>
                    <a:pt x="26" y="110"/>
                  </a:lnTo>
                  <a:lnTo>
                    <a:pt x="30" y="118"/>
                  </a:lnTo>
                  <a:lnTo>
                    <a:pt x="30" y="122"/>
                  </a:lnTo>
                  <a:lnTo>
                    <a:pt x="22" y="134"/>
                  </a:lnTo>
                  <a:lnTo>
                    <a:pt x="20" y="136"/>
                  </a:lnTo>
                  <a:lnTo>
                    <a:pt x="18" y="142"/>
                  </a:lnTo>
                  <a:lnTo>
                    <a:pt x="16" y="146"/>
                  </a:lnTo>
                  <a:lnTo>
                    <a:pt x="16" y="148"/>
                  </a:lnTo>
                  <a:lnTo>
                    <a:pt x="14" y="156"/>
                  </a:lnTo>
                  <a:lnTo>
                    <a:pt x="12" y="166"/>
                  </a:lnTo>
                  <a:lnTo>
                    <a:pt x="14" y="172"/>
                  </a:lnTo>
                  <a:lnTo>
                    <a:pt x="14" y="170"/>
                  </a:lnTo>
                  <a:lnTo>
                    <a:pt x="18" y="168"/>
                  </a:lnTo>
                  <a:lnTo>
                    <a:pt x="22" y="174"/>
                  </a:lnTo>
                  <a:lnTo>
                    <a:pt x="26" y="182"/>
                  </a:lnTo>
                  <a:lnTo>
                    <a:pt x="32" y="186"/>
                  </a:lnTo>
                  <a:lnTo>
                    <a:pt x="32" y="190"/>
                  </a:lnTo>
                  <a:lnTo>
                    <a:pt x="38" y="194"/>
                  </a:lnTo>
                  <a:lnTo>
                    <a:pt x="38" y="19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" name="Google Shape;619;p35">
              <a:extLst>
                <a:ext uri="{FF2B5EF4-FFF2-40B4-BE49-F238E27FC236}">
                  <a16:creationId xmlns:a16="http://schemas.microsoft.com/office/drawing/2014/main" id="{D7B4A4BE-3F88-0325-2DF9-CB17F269852D}"/>
                </a:ext>
              </a:extLst>
            </p:cNvPr>
            <p:cNvSpPr/>
            <p:nvPr/>
          </p:nvSpPr>
          <p:spPr>
            <a:xfrm>
              <a:off x="8068707" y="4930220"/>
              <a:ext cx="791527" cy="728663"/>
            </a:xfrm>
            <a:custGeom>
              <a:avLst/>
              <a:gdLst/>
              <a:ahLst/>
              <a:cxnLst/>
              <a:rect l="l" t="t" r="r" b="b"/>
              <a:pathLst>
                <a:path w="879475" h="809625" extrusionOk="0">
                  <a:moveTo>
                    <a:pt x="688975" y="727075"/>
                  </a:moveTo>
                  <a:lnTo>
                    <a:pt x="698500" y="730250"/>
                  </a:lnTo>
                  <a:lnTo>
                    <a:pt x="711200" y="736600"/>
                  </a:lnTo>
                  <a:lnTo>
                    <a:pt x="723900" y="739775"/>
                  </a:lnTo>
                  <a:lnTo>
                    <a:pt x="736600" y="736600"/>
                  </a:lnTo>
                  <a:lnTo>
                    <a:pt x="758825" y="727075"/>
                  </a:lnTo>
                  <a:lnTo>
                    <a:pt x="765175" y="730250"/>
                  </a:lnTo>
                  <a:lnTo>
                    <a:pt x="765175" y="739775"/>
                  </a:lnTo>
                  <a:lnTo>
                    <a:pt x="765175" y="758825"/>
                  </a:lnTo>
                  <a:lnTo>
                    <a:pt x="762000" y="765175"/>
                  </a:lnTo>
                  <a:lnTo>
                    <a:pt x="758825" y="771525"/>
                  </a:lnTo>
                  <a:lnTo>
                    <a:pt x="755650" y="784225"/>
                  </a:lnTo>
                  <a:lnTo>
                    <a:pt x="749300" y="787400"/>
                  </a:lnTo>
                  <a:lnTo>
                    <a:pt x="746125" y="790575"/>
                  </a:lnTo>
                  <a:lnTo>
                    <a:pt x="742950" y="800100"/>
                  </a:lnTo>
                  <a:lnTo>
                    <a:pt x="730250" y="809625"/>
                  </a:lnTo>
                  <a:lnTo>
                    <a:pt x="723900" y="806450"/>
                  </a:lnTo>
                  <a:lnTo>
                    <a:pt x="717550" y="806450"/>
                  </a:lnTo>
                  <a:lnTo>
                    <a:pt x="704850" y="790575"/>
                  </a:lnTo>
                  <a:lnTo>
                    <a:pt x="698500" y="771525"/>
                  </a:lnTo>
                  <a:lnTo>
                    <a:pt x="701675" y="768350"/>
                  </a:lnTo>
                  <a:lnTo>
                    <a:pt x="698500" y="762000"/>
                  </a:lnTo>
                  <a:lnTo>
                    <a:pt x="688975" y="746125"/>
                  </a:lnTo>
                  <a:lnTo>
                    <a:pt x="685800" y="730250"/>
                  </a:lnTo>
                  <a:close/>
                  <a:moveTo>
                    <a:pt x="758825" y="698500"/>
                  </a:moveTo>
                  <a:lnTo>
                    <a:pt x="765175" y="704850"/>
                  </a:lnTo>
                  <a:lnTo>
                    <a:pt x="765175" y="711200"/>
                  </a:lnTo>
                  <a:lnTo>
                    <a:pt x="762000" y="714375"/>
                  </a:lnTo>
                  <a:lnTo>
                    <a:pt x="758825" y="708025"/>
                  </a:lnTo>
                  <a:lnTo>
                    <a:pt x="755650" y="704850"/>
                  </a:lnTo>
                  <a:lnTo>
                    <a:pt x="755650" y="701675"/>
                  </a:lnTo>
                  <a:close/>
                  <a:moveTo>
                    <a:pt x="676275" y="695325"/>
                  </a:moveTo>
                  <a:lnTo>
                    <a:pt x="676275" y="704850"/>
                  </a:lnTo>
                  <a:lnTo>
                    <a:pt x="669925" y="708025"/>
                  </a:lnTo>
                  <a:lnTo>
                    <a:pt x="669925" y="698500"/>
                  </a:lnTo>
                  <a:close/>
                  <a:moveTo>
                    <a:pt x="523875" y="587375"/>
                  </a:moveTo>
                  <a:lnTo>
                    <a:pt x="536575" y="587375"/>
                  </a:lnTo>
                  <a:lnTo>
                    <a:pt x="546100" y="590550"/>
                  </a:lnTo>
                  <a:lnTo>
                    <a:pt x="542925" y="596900"/>
                  </a:lnTo>
                  <a:lnTo>
                    <a:pt x="530225" y="600075"/>
                  </a:lnTo>
                  <a:lnTo>
                    <a:pt x="527050" y="596900"/>
                  </a:lnTo>
                  <a:lnTo>
                    <a:pt x="520700" y="596900"/>
                  </a:lnTo>
                  <a:lnTo>
                    <a:pt x="517525" y="596900"/>
                  </a:lnTo>
                  <a:lnTo>
                    <a:pt x="511175" y="593725"/>
                  </a:lnTo>
                  <a:lnTo>
                    <a:pt x="514350" y="590550"/>
                  </a:lnTo>
                  <a:close/>
                  <a:moveTo>
                    <a:pt x="3175" y="333375"/>
                  </a:moveTo>
                  <a:lnTo>
                    <a:pt x="3175" y="336550"/>
                  </a:lnTo>
                  <a:lnTo>
                    <a:pt x="6350" y="342900"/>
                  </a:lnTo>
                  <a:lnTo>
                    <a:pt x="6350" y="346075"/>
                  </a:lnTo>
                  <a:lnTo>
                    <a:pt x="0" y="336550"/>
                  </a:lnTo>
                  <a:close/>
                  <a:moveTo>
                    <a:pt x="873125" y="314325"/>
                  </a:moveTo>
                  <a:lnTo>
                    <a:pt x="876300" y="320675"/>
                  </a:lnTo>
                  <a:lnTo>
                    <a:pt x="873125" y="327025"/>
                  </a:lnTo>
                  <a:lnTo>
                    <a:pt x="869950" y="336550"/>
                  </a:lnTo>
                  <a:lnTo>
                    <a:pt x="869950" y="317500"/>
                  </a:lnTo>
                  <a:close/>
                  <a:moveTo>
                    <a:pt x="571500" y="127000"/>
                  </a:moveTo>
                  <a:lnTo>
                    <a:pt x="581025" y="127000"/>
                  </a:lnTo>
                  <a:lnTo>
                    <a:pt x="568325" y="133350"/>
                  </a:lnTo>
                  <a:close/>
                  <a:moveTo>
                    <a:pt x="514350" y="66675"/>
                  </a:moveTo>
                  <a:lnTo>
                    <a:pt x="517525" y="73025"/>
                  </a:lnTo>
                  <a:lnTo>
                    <a:pt x="520700" y="76200"/>
                  </a:lnTo>
                  <a:lnTo>
                    <a:pt x="508000" y="76200"/>
                  </a:lnTo>
                  <a:lnTo>
                    <a:pt x="508000" y="69850"/>
                  </a:lnTo>
                  <a:close/>
                  <a:moveTo>
                    <a:pt x="374650" y="15875"/>
                  </a:moveTo>
                  <a:lnTo>
                    <a:pt x="381000" y="19050"/>
                  </a:lnTo>
                  <a:lnTo>
                    <a:pt x="377825" y="25400"/>
                  </a:lnTo>
                  <a:lnTo>
                    <a:pt x="368300" y="25400"/>
                  </a:lnTo>
                  <a:close/>
                  <a:moveTo>
                    <a:pt x="377825" y="9525"/>
                  </a:moveTo>
                  <a:lnTo>
                    <a:pt x="381000" y="9525"/>
                  </a:lnTo>
                  <a:lnTo>
                    <a:pt x="387350" y="12700"/>
                  </a:lnTo>
                  <a:lnTo>
                    <a:pt x="393700" y="12700"/>
                  </a:lnTo>
                  <a:lnTo>
                    <a:pt x="396875" y="9525"/>
                  </a:lnTo>
                  <a:lnTo>
                    <a:pt x="403225" y="12700"/>
                  </a:lnTo>
                  <a:lnTo>
                    <a:pt x="396875" y="22225"/>
                  </a:lnTo>
                  <a:lnTo>
                    <a:pt x="390525" y="25400"/>
                  </a:lnTo>
                  <a:lnTo>
                    <a:pt x="381000" y="19050"/>
                  </a:lnTo>
                  <a:lnTo>
                    <a:pt x="377825" y="12700"/>
                  </a:lnTo>
                  <a:close/>
                  <a:moveTo>
                    <a:pt x="644525" y="0"/>
                  </a:moveTo>
                  <a:lnTo>
                    <a:pt x="650875" y="25400"/>
                  </a:lnTo>
                  <a:lnTo>
                    <a:pt x="654050" y="28575"/>
                  </a:lnTo>
                  <a:lnTo>
                    <a:pt x="660400" y="38100"/>
                  </a:lnTo>
                  <a:lnTo>
                    <a:pt x="663575" y="50800"/>
                  </a:lnTo>
                  <a:lnTo>
                    <a:pt x="663575" y="66675"/>
                  </a:lnTo>
                  <a:lnTo>
                    <a:pt x="666750" y="79375"/>
                  </a:lnTo>
                  <a:lnTo>
                    <a:pt x="673100" y="82550"/>
                  </a:lnTo>
                  <a:lnTo>
                    <a:pt x="679450" y="79375"/>
                  </a:lnTo>
                  <a:lnTo>
                    <a:pt x="682625" y="76200"/>
                  </a:lnTo>
                  <a:lnTo>
                    <a:pt x="685800" y="79375"/>
                  </a:lnTo>
                  <a:lnTo>
                    <a:pt x="688975" y="85725"/>
                  </a:lnTo>
                  <a:lnTo>
                    <a:pt x="698500" y="95250"/>
                  </a:lnTo>
                  <a:lnTo>
                    <a:pt x="701675" y="98425"/>
                  </a:lnTo>
                  <a:lnTo>
                    <a:pt x="701675" y="107950"/>
                  </a:lnTo>
                  <a:lnTo>
                    <a:pt x="704850" y="120650"/>
                  </a:lnTo>
                  <a:lnTo>
                    <a:pt x="704850" y="127000"/>
                  </a:lnTo>
                  <a:lnTo>
                    <a:pt x="708025" y="133350"/>
                  </a:lnTo>
                  <a:lnTo>
                    <a:pt x="711200" y="136525"/>
                  </a:lnTo>
                  <a:lnTo>
                    <a:pt x="714375" y="139700"/>
                  </a:lnTo>
                  <a:lnTo>
                    <a:pt x="717550" y="155575"/>
                  </a:lnTo>
                  <a:lnTo>
                    <a:pt x="717550" y="165100"/>
                  </a:lnTo>
                  <a:lnTo>
                    <a:pt x="720725" y="180975"/>
                  </a:lnTo>
                  <a:lnTo>
                    <a:pt x="730250" y="187325"/>
                  </a:lnTo>
                  <a:lnTo>
                    <a:pt x="746125" y="196850"/>
                  </a:lnTo>
                  <a:lnTo>
                    <a:pt x="755650" y="203200"/>
                  </a:lnTo>
                  <a:lnTo>
                    <a:pt x="768350" y="206375"/>
                  </a:lnTo>
                  <a:lnTo>
                    <a:pt x="774700" y="209550"/>
                  </a:lnTo>
                  <a:lnTo>
                    <a:pt x="777875" y="215900"/>
                  </a:lnTo>
                  <a:lnTo>
                    <a:pt x="784225" y="231775"/>
                  </a:lnTo>
                  <a:lnTo>
                    <a:pt x="790575" y="250825"/>
                  </a:lnTo>
                  <a:lnTo>
                    <a:pt x="796925" y="260350"/>
                  </a:lnTo>
                  <a:lnTo>
                    <a:pt x="803275" y="266700"/>
                  </a:lnTo>
                  <a:lnTo>
                    <a:pt x="803275" y="257175"/>
                  </a:lnTo>
                  <a:lnTo>
                    <a:pt x="803275" y="254000"/>
                  </a:lnTo>
                  <a:lnTo>
                    <a:pt x="809625" y="260350"/>
                  </a:lnTo>
                  <a:lnTo>
                    <a:pt x="812800" y="260350"/>
                  </a:lnTo>
                  <a:lnTo>
                    <a:pt x="815975" y="260350"/>
                  </a:lnTo>
                  <a:lnTo>
                    <a:pt x="819150" y="263525"/>
                  </a:lnTo>
                  <a:lnTo>
                    <a:pt x="819150" y="269875"/>
                  </a:lnTo>
                  <a:lnTo>
                    <a:pt x="819150" y="273050"/>
                  </a:lnTo>
                  <a:lnTo>
                    <a:pt x="819150" y="276225"/>
                  </a:lnTo>
                  <a:lnTo>
                    <a:pt x="822325" y="285750"/>
                  </a:lnTo>
                  <a:lnTo>
                    <a:pt x="828675" y="295275"/>
                  </a:lnTo>
                  <a:lnTo>
                    <a:pt x="838200" y="298450"/>
                  </a:lnTo>
                  <a:lnTo>
                    <a:pt x="844550" y="307975"/>
                  </a:lnTo>
                  <a:lnTo>
                    <a:pt x="857250" y="323850"/>
                  </a:lnTo>
                  <a:lnTo>
                    <a:pt x="863600" y="333375"/>
                  </a:lnTo>
                  <a:lnTo>
                    <a:pt x="866775" y="339725"/>
                  </a:lnTo>
                  <a:lnTo>
                    <a:pt x="869950" y="346075"/>
                  </a:lnTo>
                  <a:lnTo>
                    <a:pt x="869950" y="352425"/>
                  </a:lnTo>
                  <a:lnTo>
                    <a:pt x="869950" y="361950"/>
                  </a:lnTo>
                  <a:lnTo>
                    <a:pt x="869950" y="365125"/>
                  </a:lnTo>
                  <a:lnTo>
                    <a:pt x="869950" y="368300"/>
                  </a:lnTo>
                  <a:lnTo>
                    <a:pt x="869950" y="371475"/>
                  </a:lnTo>
                  <a:lnTo>
                    <a:pt x="866775" y="374650"/>
                  </a:lnTo>
                  <a:lnTo>
                    <a:pt x="873125" y="381000"/>
                  </a:lnTo>
                  <a:lnTo>
                    <a:pt x="876300" y="393700"/>
                  </a:lnTo>
                  <a:lnTo>
                    <a:pt x="879475" y="422275"/>
                  </a:lnTo>
                  <a:lnTo>
                    <a:pt x="873125" y="444500"/>
                  </a:lnTo>
                  <a:lnTo>
                    <a:pt x="866775" y="454025"/>
                  </a:lnTo>
                  <a:lnTo>
                    <a:pt x="866775" y="463550"/>
                  </a:lnTo>
                  <a:lnTo>
                    <a:pt x="866775" y="476250"/>
                  </a:lnTo>
                  <a:lnTo>
                    <a:pt x="863600" y="488950"/>
                  </a:lnTo>
                  <a:lnTo>
                    <a:pt x="857250" y="495300"/>
                  </a:lnTo>
                  <a:lnTo>
                    <a:pt x="857250" y="504825"/>
                  </a:lnTo>
                  <a:lnTo>
                    <a:pt x="847725" y="511175"/>
                  </a:lnTo>
                  <a:lnTo>
                    <a:pt x="838200" y="520700"/>
                  </a:lnTo>
                  <a:lnTo>
                    <a:pt x="831850" y="533400"/>
                  </a:lnTo>
                  <a:lnTo>
                    <a:pt x="828675" y="546100"/>
                  </a:lnTo>
                  <a:lnTo>
                    <a:pt x="803275" y="600075"/>
                  </a:lnTo>
                  <a:lnTo>
                    <a:pt x="806450" y="603250"/>
                  </a:lnTo>
                  <a:lnTo>
                    <a:pt x="803275" y="606425"/>
                  </a:lnTo>
                  <a:lnTo>
                    <a:pt x="803275" y="615950"/>
                  </a:lnTo>
                  <a:lnTo>
                    <a:pt x="800100" y="622300"/>
                  </a:lnTo>
                  <a:lnTo>
                    <a:pt x="803275" y="638175"/>
                  </a:lnTo>
                  <a:lnTo>
                    <a:pt x="790575" y="644525"/>
                  </a:lnTo>
                  <a:lnTo>
                    <a:pt x="765175" y="647700"/>
                  </a:lnTo>
                  <a:lnTo>
                    <a:pt x="742950" y="660400"/>
                  </a:lnTo>
                  <a:lnTo>
                    <a:pt x="733425" y="669925"/>
                  </a:lnTo>
                  <a:lnTo>
                    <a:pt x="720725" y="673100"/>
                  </a:lnTo>
                  <a:lnTo>
                    <a:pt x="714375" y="669925"/>
                  </a:lnTo>
                  <a:lnTo>
                    <a:pt x="708025" y="666750"/>
                  </a:lnTo>
                  <a:lnTo>
                    <a:pt x="698500" y="654050"/>
                  </a:lnTo>
                  <a:lnTo>
                    <a:pt x="692150" y="647700"/>
                  </a:lnTo>
                  <a:lnTo>
                    <a:pt x="685800" y="650875"/>
                  </a:lnTo>
                  <a:lnTo>
                    <a:pt x="682625" y="657225"/>
                  </a:lnTo>
                  <a:lnTo>
                    <a:pt x="676275" y="663575"/>
                  </a:lnTo>
                  <a:lnTo>
                    <a:pt x="669925" y="669925"/>
                  </a:lnTo>
                  <a:lnTo>
                    <a:pt x="660400" y="673100"/>
                  </a:lnTo>
                  <a:lnTo>
                    <a:pt x="647700" y="666750"/>
                  </a:lnTo>
                  <a:lnTo>
                    <a:pt x="635000" y="660400"/>
                  </a:lnTo>
                  <a:lnTo>
                    <a:pt x="606425" y="650875"/>
                  </a:lnTo>
                  <a:lnTo>
                    <a:pt x="600075" y="650875"/>
                  </a:lnTo>
                  <a:lnTo>
                    <a:pt x="590550" y="641350"/>
                  </a:lnTo>
                  <a:lnTo>
                    <a:pt x="581025" y="628650"/>
                  </a:lnTo>
                  <a:lnTo>
                    <a:pt x="581025" y="622300"/>
                  </a:lnTo>
                  <a:lnTo>
                    <a:pt x="584200" y="619125"/>
                  </a:lnTo>
                  <a:lnTo>
                    <a:pt x="577850" y="600075"/>
                  </a:lnTo>
                  <a:lnTo>
                    <a:pt x="574675" y="593725"/>
                  </a:lnTo>
                  <a:lnTo>
                    <a:pt x="571500" y="581025"/>
                  </a:lnTo>
                  <a:lnTo>
                    <a:pt x="568325" y="581025"/>
                  </a:lnTo>
                  <a:lnTo>
                    <a:pt x="561975" y="584200"/>
                  </a:lnTo>
                  <a:lnTo>
                    <a:pt x="555625" y="587375"/>
                  </a:lnTo>
                  <a:lnTo>
                    <a:pt x="549275" y="587375"/>
                  </a:lnTo>
                  <a:lnTo>
                    <a:pt x="546100" y="584200"/>
                  </a:lnTo>
                  <a:lnTo>
                    <a:pt x="552450" y="571500"/>
                  </a:lnTo>
                  <a:lnTo>
                    <a:pt x="552450" y="558800"/>
                  </a:lnTo>
                  <a:lnTo>
                    <a:pt x="546100" y="549275"/>
                  </a:lnTo>
                  <a:lnTo>
                    <a:pt x="539750" y="565150"/>
                  </a:lnTo>
                  <a:lnTo>
                    <a:pt x="536575" y="574675"/>
                  </a:lnTo>
                  <a:lnTo>
                    <a:pt x="527050" y="574675"/>
                  </a:lnTo>
                  <a:lnTo>
                    <a:pt x="520700" y="577850"/>
                  </a:lnTo>
                  <a:lnTo>
                    <a:pt x="520700" y="574675"/>
                  </a:lnTo>
                  <a:lnTo>
                    <a:pt x="520700" y="568325"/>
                  </a:lnTo>
                  <a:lnTo>
                    <a:pt x="527050" y="568325"/>
                  </a:lnTo>
                  <a:lnTo>
                    <a:pt x="533400" y="555625"/>
                  </a:lnTo>
                  <a:lnTo>
                    <a:pt x="536575" y="539750"/>
                  </a:lnTo>
                  <a:lnTo>
                    <a:pt x="539750" y="511175"/>
                  </a:lnTo>
                  <a:lnTo>
                    <a:pt x="536575" y="508000"/>
                  </a:lnTo>
                  <a:lnTo>
                    <a:pt x="536575" y="517525"/>
                  </a:lnTo>
                  <a:lnTo>
                    <a:pt x="530225" y="530225"/>
                  </a:lnTo>
                  <a:lnTo>
                    <a:pt x="520700" y="536575"/>
                  </a:lnTo>
                  <a:lnTo>
                    <a:pt x="514350" y="539750"/>
                  </a:lnTo>
                  <a:lnTo>
                    <a:pt x="508000" y="546100"/>
                  </a:lnTo>
                  <a:lnTo>
                    <a:pt x="498475" y="558800"/>
                  </a:lnTo>
                  <a:lnTo>
                    <a:pt x="488950" y="558800"/>
                  </a:lnTo>
                  <a:lnTo>
                    <a:pt x="482600" y="546100"/>
                  </a:lnTo>
                  <a:lnTo>
                    <a:pt x="476250" y="530225"/>
                  </a:lnTo>
                  <a:lnTo>
                    <a:pt x="469900" y="517525"/>
                  </a:lnTo>
                  <a:lnTo>
                    <a:pt x="460375" y="504825"/>
                  </a:lnTo>
                  <a:lnTo>
                    <a:pt x="454025" y="501650"/>
                  </a:lnTo>
                  <a:lnTo>
                    <a:pt x="450850" y="498475"/>
                  </a:lnTo>
                  <a:lnTo>
                    <a:pt x="444500" y="498475"/>
                  </a:lnTo>
                  <a:lnTo>
                    <a:pt x="438150" y="498475"/>
                  </a:lnTo>
                  <a:lnTo>
                    <a:pt x="409575" y="488950"/>
                  </a:lnTo>
                  <a:lnTo>
                    <a:pt x="390525" y="479425"/>
                  </a:lnTo>
                  <a:lnTo>
                    <a:pt x="355600" y="485775"/>
                  </a:lnTo>
                  <a:lnTo>
                    <a:pt x="346075" y="485775"/>
                  </a:lnTo>
                  <a:lnTo>
                    <a:pt x="336550" y="492125"/>
                  </a:lnTo>
                  <a:lnTo>
                    <a:pt x="307975" y="501650"/>
                  </a:lnTo>
                  <a:lnTo>
                    <a:pt x="298450" y="501650"/>
                  </a:lnTo>
                  <a:lnTo>
                    <a:pt x="285750" y="498475"/>
                  </a:lnTo>
                  <a:lnTo>
                    <a:pt x="276225" y="504825"/>
                  </a:lnTo>
                  <a:lnTo>
                    <a:pt x="260350" y="511175"/>
                  </a:lnTo>
                  <a:lnTo>
                    <a:pt x="244475" y="523875"/>
                  </a:lnTo>
                  <a:lnTo>
                    <a:pt x="234950" y="539750"/>
                  </a:lnTo>
                  <a:lnTo>
                    <a:pt x="225425" y="542925"/>
                  </a:lnTo>
                  <a:lnTo>
                    <a:pt x="222250" y="539750"/>
                  </a:lnTo>
                  <a:lnTo>
                    <a:pt x="212725" y="542925"/>
                  </a:lnTo>
                  <a:lnTo>
                    <a:pt x="200025" y="542925"/>
                  </a:lnTo>
                  <a:lnTo>
                    <a:pt x="196850" y="539750"/>
                  </a:lnTo>
                  <a:lnTo>
                    <a:pt x="187325" y="539750"/>
                  </a:lnTo>
                  <a:lnTo>
                    <a:pt x="177800" y="539750"/>
                  </a:lnTo>
                  <a:lnTo>
                    <a:pt x="158750" y="542925"/>
                  </a:lnTo>
                  <a:lnTo>
                    <a:pt x="149225" y="546100"/>
                  </a:lnTo>
                  <a:lnTo>
                    <a:pt x="133350" y="555625"/>
                  </a:lnTo>
                  <a:lnTo>
                    <a:pt x="123825" y="561975"/>
                  </a:lnTo>
                  <a:lnTo>
                    <a:pt x="114300" y="571500"/>
                  </a:lnTo>
                  <a:lnTo>
                    <a:pt x="98425" y="571500"/>
                  </a:lnTo>
                  <a:lnTo>
                    <a:pt x="85725" y="571500"/>
                  </a:lnTo>
                  <a:lnTo>
                    <a:pt x="73025" y="568325"/>
                  </a:lnTo>
                  <a:lnTo>
                    <a:pt x="63500" y="558800"/>
                  </a:lnTo>
                  <a:lnTo>
                    <a:pt x="50800" y="552450"/>
                  </a:lnTo>
                  <a:lnTo>
                    <a:pt x="47625" y="549275"/>
                  </a:lnTo>
                  <a:lnTo>
                    <a:pt x="47625" y="533400"/>
                  </a:lnTo>
                  <a:lnTo>
                    <a:pt x="50800" y="533400"/>
                  </a:lnTo>
                  <a:lnTo>
                    <a:pt x="57150" y="533400"/>
                  </a:lnTo>
                  <a:lnTo>
                    <a:pt x="60325" y="527050"/>
                  </a:lnTo>
                  <a:lnTo>
                    <a:pt x="63500" y="517525"/>
                  </a:lnTo>
                  <a:lnTo>
                    <a:pt x="63500" y="504825"/>
                  </a:lnTo>
                  <a:lnTo>
                    <a:pt x="63500" y="488950"/>
                  </a:lnTo>
                  <a:lnTo>
                    <a:pt x="60325" y="479425"/>
                  </a:lnTo>
                  <a:lnTo>
                    <a:pt x="50800" y="466725"/>
                  </a:lnTo>
                  <a:lnTo>
                    <a:pt x="47625" y="454025"/>
                  </a:lnTo>
                  <a:lnTo>
                    <a:pt x="47625" y="441325"/>
                  </a:lnTo>
                  <a:lnTo>
                    <a:pt x="44450" y="425450"/>
                  </a:lnTo>
                  <a:lnTo>
                    <a:pt x="31750" y="400050"/>
                  </a:lnTo>
                  <a:lnTo>
                    <a:pt x="28575" y="393700"/>
                  </a:lnTo>
                  <a:lnTo>
                    <a:pt x="28575" y="387350"/>
                  </a:lnTo>
                  <a:lnTo>
                    <a:pt x="22225" y="374650"/>
                  </a:lnTo>
                  <a:lnTo>
                    <a:pt x="15875" y="361950"/>
                  </a:lnTo>
                  <a:lnTo>
                    <a:pt x="12700" y="358775"/>
                  </a:lnTo>
                  <a:lnTo>
                    <a:pt x="9525" y="352425"/>
                  </a:lnTo>
                  <a:lnTo>
                    <a:pt x="9525" y="346075"/>
                  </a:lnTo>
                  <a:lnTo>
                    <a:pt x="12700" y="346075"/>
                  </a:lnTo>
                  <a:lnTo>
                    <a:pt x="15875" y="355600"/>
                  </a:lnTo>
                  <a:lnTo>
                    <a:pt x="15875" y="358775"/>
                  </a:lnTo>
                  <a:lnTo>
                    <a:pt x="22225" y="358775"/>
                  </a:lnTo>
                  <a:lnTo>
                    <a:pt x="15875" y="349250"/>
                  </a:lnTo>
                  <a:lnTo>
                    <a:pt x="12700" y="339725"/>
                  </a:lnTo>
                  <a:lnTo>
                    <a:pt x="12700" y="336550"/>
                  </a:lnTo>
                  <a:lnTo>
                    <a:pt x="19050" y="346075"/>
                  </a:lnTo>
                  <a:lnTo>
                    <a:pt x="25400" y="355600"/>
                  </a:lnTo>
                  <a:lnTo>
                    <a:pt x="28575" y="352425"/>
                  </a:lnTo>
                  <a:lnTo>
                    <a:pt x="31750" y="346075"/>
                  </a:lnTo>
                  <a:lnTo>
                    <a:pt x="28575" y="342900"/>
                  </a:lnTo>
                  <a:lnTo>
                    <a:pt x="25400" y="336550"/>
                  </a:lnTo>
                  <a:lnTo>
                    <a:pt x="19050" y="323850"/>
                  </a:lnTo>
                  <a:lnTo>
                    <a:pt x="12700" y="307975"/>
                  </a:lnTo>
                  <a:lnTo>
                    <a:pt x="12700" y="304800"/>
                  </a:lnTo>
                  <a:lnTo>
                    <a:pt x="12700" y="301625"/>
                  </a:lnTo>
                  <a:lnTo>
                    <a:pt x="15875" y="288925"/>
                  </a:lnTo>
                  <a:lnTo>
                    <a:pt x="19050" y="288925"/>
                  </a:lnTo>
                  <a:lnTo>
                    <a:pt x="19050" y="282575"/>
                  </a:lnTo>
                  <a:lnTo>
                    <a:pt x="19050" y="269875"/>
                  </a:lnTo>
                  <a:lnTo>
                    <a:pt x="22225" y="257175"/>
                  </a:lnTo>
                  <a:lnTo>
                    <a:pt x="28575" y="247650"/>
                  </a:lnTo>
                  <a:lnTo>
                    <a:pt x="28575" y="254000"/>
                  </a:lnTo>
                  <a:lnTo>
                    <a:pt x="28575" y="263525"/>
                  </a:lnTo>
                  <a:lnTo>
                    <a:pt x="34925" y="260350"/>
                  </a:lnTo>
                  <a:lnTo>
                    <a:pt x="34925" y="257175"/>
                  </a:lnTo>
                  <a:lnTo>
                    <a:pt x="38100" y="247650"/>
                  </a:lnTo>
                  <a:lnTo>
                    <a:pt x="44450" y="244475"/>
                  </a:lnTo>
                  <a:lnTo>
                    <a:pt x="66675" y="231775"/>
                  </a:lnTo>
                  <a:lnTo>
                    <a:pt x="79375" y="222250"/>
                  </a:lnTo>
                  <a:lnTo>
                    <a:pt x="92075" y="219075"/>
                  </a:lnTo>
                  <a:lnTo>
                    <a:pt x="101600" y="222250"/>
                  </a:lnTo>
                  <a:lnTo>
                    <a:pt x="111125" y="219075"/>
                  </a:lnTo>
                  <a:lnTo>
                    <a:pt x="117475" y="212725"/>
                  </a:lnTo>
                  <a:lnTo>
                    <a:pt x="123825" y="212725"/>
                  </a:lnTo>
                  <a:lnTo>
                    <a:pt x="130175" y="212725"/>
                  </a:lnTo>
                  <a:lnTo>
                    <a:pt x="133350" y="209550"/>
                  </a:lnTo>
                  <a:lnTo>
                    <a:pt x="149225" y="206375"/>
                  </a:lnTo>
                  <a:lnTo>
                    <a:pt x="174625" y="196850"/>
                  </a:lnTo>
                  <a:lnTo>
                    <a:pt x="190500" y="180975"/>
                  </a:lnTo>
                  <a:lnTo>
                    <a:pt x="196850" y="168275"/>
                  </a:lnTo>
                  <a:lnTo>
                    <a:pt x="200025" y="161925"/>
                  </a:lnTo>
                  <a:lnTo>
                    <a:pt x="203200" y="155575"/>
                  </a:lnTo>
                  <a:lnTo>
                    <a:pt x="203200" y="142875"/>
                  </a:lnTo>
                  <a:lnTo>
                    <a:pt x="212725" y="130175"/>
                  </a:lnTo>
                  <a:lnTo>
                    <a:pt x="222250" y="127000"/>
                  </a:lnTo>
                  <a:lnTo>
                    <a:pt x="222250" y="133350"/>
                  </a:lnTo>
                  <a:lnTo>
                    <a:pt x="225425" y="139700"/>
                  </a:lnTo>
                  <a:lnTo>
                    <a:pt x="231775" y="149225"/>
                  </a:lnTo>
                  <a:lnTo>
                    <a:pt x="238125" y="136525"/>
                  </a:lnTo>
                  <a:lnTo>
                    <a:pt x="231775" y="123825"/>
                  </a:lnTo>
                  <a:lnTo>
                    <a:pt x="238125" y="120650"/>
                  </a:lnTo>
                  <a:lnTo>
                    <a:pt x="238125" y="123825"/>
                  </a:lnTo>
                  <a:lnTo>
                    <a:pt x="247650" y="123825"/>
                  </a:lnTo>
                  <a:lnTo>
                    <a:pt x="250825" y="123825"/>
                  </a:lnTo>
                  <a:lnTo>
                    <a:pt x="260350" y="123825"/>
                  </a:lnTo>
                  <a:lnTo>
                    <a:pt x="254000" y="120650"/>
                  </a:lnTo>
                  <a:lnTo>
                    <a:pt x="250825" y="114300"/>
                  </a:lnTo>
                  <a:lnTo>
                    <a:pt x="250825" y="104775"/>
                  </a:lnTo>
                  <a:lnTo>
                    <a:pt x="263525" y="95250"/>
                  </a:lnTo>
                  <a:lnTo>
                    <a:pt x="266700" y="92075"/>
                  </a:lnTo>
                  <a:lnTo>
                    <a:pt x="266700" y="85725"/>
                  </a:lnTo>
                  <a:lnTo>
                    <a:pt x="273050" y="82550"/>
                  </a:lnTo>
                  <a:lnTo>
                    <a:pt x="279400" y="82550"/>
                  </a:lnTo>
                  <a:lnTo>
                    <a:pt x="282575" y="85725"/>
                  </a:lnTo>
                  <a:lnTo>
                    <a:pt x="285750" y="79375"/>
                  </a:lnTo>
                  <a:lnTo>
                    <a:pt x="288925" y="76200"/>
                  </a:lnTo>
                  <a:lnTo>
                    <a:pt x="295275" y="69850"/>
                  </a:lnTo>
                  <a:lnTo>
                    <a:pt x="304800" y="66675"/>
                  </a:lnTo>
                  <a:lnTo>
                    <a:pt x="314325" y="69850"/>
                  </a:lnTo>
                  <a:lnTo>
                    <a:pt x="320675" y="76200"/>
                  </a:lnTo>
                  <a:lnTo>
                    <a:pt x="336550" y="88900"/>
                  </a:lnTo>
                  <a:lnTo>
                    <a:pt x="339725" y="88900"/>
                  </a:lnTo>
                  <a:lnTo>
                    <a:pt x="342900" y="88900"/>
                  </a:lnTo>
                  <a:lnTo>
                    <a:pt x="352425" y="92075"/>
                  </a:lnTo>
                  <a:lnTo>
                    <a:pt x="361950" y="88900"/>
                  </a:lnTo>
                  <a:lnTo>
                    <a:pt x="358775" y="79375"/>
                  </a:lnTo>
                  <a:lnTo>
                    <a:pt x="358775" y="76200"/>
                  </a:lnTo>
                  <a:lnTo>
                    <a:pt x="368300" y="63500"/>
                  </a:lnTo>
                  <a:lnTo>
                    <a:pt x="371475" y="60325"/>
                  </a:lnTo>
                  <a:lnTo>
                    <a:pt x="374650" y="53975"/>
                  </a:lnTo>
                  <a:lnTo>
                    <a:pt x="374650" y="50800"/>
                  </a:lnTo>
                  <a:lnTo>
                    <a:pt x="374650" y="47625"/>
                  </a:lnTo>
                  <a:lnTo>
                    <a:pt x="377825" y="47625"/>
                  </a:lnTo>
                  <a:lnTo>
                    <a:pt x="381000" y="38100"/>
                  </a:lnTo>
                  <a:lnTo>
                    <a:pt x="393700" y="31750"/>
                  </a:lnTo>
                  <a:lnTo>
                    <a:pt x="400050" y="31750"/>
                  </a:lnTo>
                  <a:lnTo>
                    <a:pt x="409575" y="31750"/>
                  </a:lnTo>
                  <a:lnTo>
                    <a:pt x="412750" y="31750"/>
                  </a:lnTo>
                  <a:lnTo>
                    <a:pt x="419100" y="31750"/>
                  </a:lnTo>
                  <a:lnTo>
                    <a:pt x="428625" y="28575"/>
                  </a:lnTo>
                  <a:lnTo>
                    <a:pt x="428625" y="22225"/>
                  </a:lnTo>
                  <a:lnTo>
                    <a:pt x="428625" y="19050"/>
                  </a:lnTo>
                  <a:lnTo>
                    <a:pt x="422275" y="15875"/>
                  </a:lnTo>
                  <a:lnTo>
                    <a:pt x="419100" y="15875"/>
                  </a:lnTo>
                  <a:lnTo>
                    <a:pt x="412750" y="12700"/>
                  </a:lnTo>
                  <a:lnTo>
                    <a:pt x="409575" y="9525"/>
                  </a:lnTo>
                  <a:lnTo>
                    <a:pt x="412750" y="9525"/>
                  </a:lnTo>
                  <a:lnTo>
                    <a:pt x="422275" y="9525"/>
                  </a:lnTo>
                  <a:lnTo>
                    <a:pt x="428625" y="9525"/>
                  </a:lnTo>
                  <a:lnTo>
                    <a:pt x="438150" y="19050"/>
                  </a:lnTo>
                  <a:lnTo>
                    <a:pt x="444500" y="22225"/>
                  </a:lnTo>
                  <a:lnTo>
                    <a:pt x="460375" y="28575"/>
                  </a:lnTo>
                  <a:lnTo>
                    <a:pt x="476250" y="28575"/>
                  </a:lnTo>
                  <a:lnTo>
                    <a:pt x="479425" y="31750"/>
                  </a:lnTo>
                  <a:lnTo>
                    <a:pt x="485775" y="31750"/>
                  </a:lnTo>
                  <a:lnTo>
                    <a:pt x="495300" y="31750"/>
                  </a:lnTo>
                  <a:lnTo>
                    <a:pt x="501650" y="38100"/>
                  </a:lnTo>
                  <a:lnTo>
                    <a:pt x="508000" y="34925"/>
                  </a:lnTo>
                  <a:lnTo>
                    <a:pt x="504825" y="31750"/>
                  </a:lnTo>
                  <a:lnTo>
                    <a:pt x="508000" y="25400"/>
                  </a:lnTo>
                  <a:lnTo>
                    <a:pt x="514350" y="28575"/>
                  </a:lnTo>
                  <a:lnTo>
                    <a:pt x="520700" y="34925"/>
                  </a:lnTo>
                  <a:lnTo>
                    <a:pt x="517525" y="38100"/>
                  </a:lnTo>
                  <a:lnTo>
                    <a:pt x="511175" y="47625"/>
                  </a:lnTo>
                  <a:lnTo>
                    <a:pt x="511175" y="50800"/>
                  </a:lnTo>
                  <a:lnTo>
                    <a:pt x="508000" y="57150"/>
                  </a:lnTo>
                  <a:lnTo>
                    <a:pt x="508000" y="50800"/>
                  </a:lnTo>
                  <a:lnTo>
                    <a:pt x="501650" y="53975"/>
                  </a:lnTo>
                  <a:lnTo>
                    <a:pt x="498475" y="57150"/>
                  </a:lnTo>
                  <a:lnTo>
                    <a:pt x="498475" y="63500"/>
                  </a:lnTo>
                  <a:lnTo>
                    <a:pt x="498475" y="66675"/>
                  </a:lnTo>
                  <a:lnTo>
                    <a:pt x="498475" y="69850"/>
                  </a:lnTo>
                  <a:lnTo>
                    <a:pt x="488950" y="85725"/>
                  </a:lnTo>
                  <a:lnTo>
                    <a:pt x="488950" y="92075"/>
                  </a:lnTo>
                  <a:lnTo>
                    <a:pt x="498475" y="98425"/>
                  </a:lnTo>
                  <a:lnTo>
                    <a:pt x="508000" y="107950"/>
                  </a:lnTo>
                  <a:lnTo>
                    <a:pt x="520700" y="114300"/>
                  </a:lnTo>
                  <a:lnTo>
                    <a:pt x="533400" y="117475"/>
                  </a:lnTo>
                  <a:lnTo>
                    <a:pt x="536575" y="120650"/>
                  </a:lnTo>
                  <a:lnTo>
                    <a:pt x="539750" y="127000"/>
                  </a:lnTo>
                  <a:lnTo>
                    <a:pt x="549275" y="133350"/>
                  </a:lnTo>
                  <a:lnTo>
                    <a:pt x="561975" y="136525"/>
                  </a:lnTo>
                  <a:lnTo>
                    <a:pt x="568325" y="139700"/>
                  </a:lnTo>
                  <a:lnTo>
                    <a:pt x="571500" y="146050"/>
                  </a:lnTo>
                  <a:lnTo>
                    <a:pt x="584200" y="152400"/>
                  </a:lnTo>
                  <a:lnTo>
                    <a:pt x="603250" y="149225"/>
                  </a:lnTo>
                  <a:lnTo>
                    <a:pt x="609600" y="136525"/>
                  </a:lnTo>
                  <a:lnTo>
                    <a:pt x="615950" y="127000"/>
                  </a:lnTo>
                  <a:lnTo>
                    <a:pt x="619125" y="95250"/>
                  </a:lnTo>
                  <a:lnTo>
                    <a:pt x="622300" y="88900"/>
                  </a:lnTo>
                  <a:lnTo>
                    <a:pt x="619125" y="85725"/>
                  </a:lnTo>
                  <a:lnTo>
                    <a:pt x="619125" y="69850"/>
                  </a:lnTo>
                  <a:lnTo>
                    <a:pt x="619125" y="57150"/>
                  </a:lnTo>
                  <a:lnTo>
                    <a:pt x="622300" y="44450"/>
                  </a:lnTo>
                  <a:lnTo>
                    <a:pt x="622300" y="31750"/>
                  </a:lnTo>
                  <a:lnTo>
                    <a:pt x="628650" y="190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" name="Google Shape;620;p35">
              <a:extLst>
                <a:ext uri="{FF2B5EF4-FFF2-40B4-BE49-F238E27FC236}">
                  <a16:creationId xmlns:a16="http://schemas.microsoft.com/office/drawing/2014/main" id="{FAFDBDB0-1888-1488-D2E8-1F6FD14CB12F}"/>
                </a:ext>
              </a:extLst>
            </p:cNvPr>
            <p:cNvSpPr/>
            <p:nvPr/>
          </p:nvSpPr>
          <p:spPr>
            <a:xfrm>
              <a:off x="9100265" y="5441712"/>
              <a:ext cx="348615" cy="425767"/>
            </a:xfrm>
            <a:custGeom>
              <a:avLst/>
              <a:gdLst/>
              <a:ahLst/>
              <a:cxnLst/>
              <a:rect l="l" t="t" r="r" b="b"/>
              <a:pathLst>
                <a:path w="387350" h="473075" extrusionOk="0">
                  <a:moveTo>
                    <a:pt x="3175" y="463550"/>
                  </a:moveTo>
                  <a:lnTo>
                    <a:pt x="6350" y="463550"/>
                  </a:lnTo>
                  <a:lnTo>
                    <a:pt x="6350" y="473075"/>
                  </a:lnTo>
                  <a:lnTo>
                    <a:pt x="0" y="473075"/>
                  </a:lnTo>
                  <a:close/>
                  <a:moveTo>
                    <a:pt x="44450" y="336550"/>
                  </a:moveTo>
                  <a:lnTo>
                    <a:pt x="47625" y="349250"/>
                  </a:lnTo>
                  <a:lnTo>
                    <a:pt x="34925" y="355600"/>
                  </a:lnTo>
                  <a:lnTo>
                    <a:pt x="34925" y="352425"/>
                  </a:lnTo>
                  <a:lnTo>
                    <a:pt x="38100" y="339725"/>
                  </a:lnTo>
                  <a:close/>
                  <a:moveTo>
                    <a:pt x="381000" y="244475"/>
                  </a:moveTo>
                  <a:lnTo>
                    <a:pt x="387350" y="244475"/>
                  </a:lnTo>
                  <a:lnTo>
                    <a:pt x="381000" y="247650"/>
                  </a:lnTo>
                  <a:lnTo>
                    <a:pt x="381000" y="250825"/>
                  </a:lnTo>
                  <a:lnTo>
                    <a:pt x="381000" y="257175"/>
                  </a:lnTo>
                  <a:lnTo>
                    <a:pt x="374650" y="254000"/>
                  </a:lnTo>
                  <a:lnTo>
                    <a:pt x="377825" y="250825"/>
                  </a:lnTo>
                  <a:lnTo>
                    <a:pt x="374650" y="247650"/>
                  </a:lnTo>
                  <a:close/>
                  <a:moveTo>
                    <a:pt x="146050" y="152400"/>
                  </a:moveTo>
                  <a:lnTo>
                    <a:pt x="146050" y="158750"/>
                  </a:lnTo>
                  <a:lnTo>
                    <a:pt x="152400" y="171450"/>
                  </a:lnTo>
                  <a:lnTo>
                    <a:pt x="155575" y="174625"/>
                  </a:lnTo>
                  <a:lnTo>
                    <a:pt x="161925" y="171450"/>
                  </a:lnTo>
                  <a:lnTo>
                    <a:pt x="168275" y="165100"/>
                  </a:lnTo>
                  <a:lnTo>
                    <a:pt x="171450" y="171450"/>
                  </a:lnTo>
                  <a:lnTo>
                    <a:pt x="177800" y="165100"/>
                  </a:lnTo>
                  <a:lnTo>
                    <a:pt x="180975" y="168275"/>
                  </a:lnTo>
                  <a:lnTo>
                    <a:pt x="180975" y="174625"/>
                  </a:lnTo>
                  <a:lnTo>
                    <a:pt x="177800" y="184150"/>
                  </a:lnTo>
                  <a:lnTo>
                    <a:pt x="174625" y="187325"/>
                  </a:lnTo>
                  <a:lnTo>
                    <a:pt x="174625" y="193675"/>
                  </a:lnTo>
                  <a:lnTo>
                    <a:pt x="161925" y="219075"/>
                  </a:lnTo>
                  <a:lnTo>
                    <a:pt x="146050" y="234950"/>
                  </a:lnTo>
                  <a:lnTo>
                    <a:pt x="155575" y="244475"/>
                  </a:lnTo>
                  <a:lnTo>
                    <a:pt x="152400" y="247650"/>
                  </a:lnTo>
                  <a:lnTo>
                    <a:pt x="142875" y="247650"/>
                  </a:lnTo>
                  <a:lnTo>
                    <a:pt x="136525" y="250825"/>
                  </a:lnTo>
                  <a:lnTo>
                    <a:pt x="130175" y="254000"/>
                  </a:lnTo>
                  <a:lnTo>
                    <a:pt x="120650" y="257175"/>
                  </a:lnTo>
                  <a:lnTo>
                    <a:pt x="120650" y="263525"/>
                  </a:lnTo>
                  <a:lnTo>
                    <a:pt x="114300" y="279400"/>
                  </a:lnTo>
                  <a:lnTo>
                    <a:pt x="107950" y="292100"/>
                  </a:lnTo>
                  <a:lnTo>
                    <a:pt x="98425" y="314325"/>
                  </a:lnTo>
                  <a:lnTo>
                    <a:pt x="82550" y="330200"/>
                  </a:lnTo>
                  <a:lnTo>
                    <a:pt x="76200" y="333375"/>
                  </a:lnTo>
                  <a:lnTo>
                    <a:pt x="63500" y="336550"/>
                  </a:lnTo>
                  <a:lnTo>
                    <a:pt x="53975" y="330200"/>
                  </a:lnTo>
                  <a:lnTo>
                    <a:pt x="44450" y="323850"/>
                  </a:lnTo>
                  <a:lnTo>
                    <a:pt x="34925" y="320675"/>
                  </a:lnTo>
                  <a:lnTo>
                    <a:pt x="28575" y="323850"/>
                  </a:lnTo>
                  <a:lnTo>
                    <a:pt x="19050" y="320675"/>
                  </a:lnTo>
                  <a:lnTo>
                    <a:pt x="15875" y="314325"/>
                  </a:lnTo>
                  <a:lnTo>
                    <a:pt x="19050" y="314325"/>
                  </a:lnTo>
                  <a:lnTo>
                    <a:pt x="19050" y="304800"/>
                  </a:lnTo>
                  <a:lnTo>
                    <a:pt x="19050" y="295275"/>
                  </a:lnTo>
                  <a:lnTo>
                    <a:pt x="25400" y="285750"/>
                  </a:lnTo>
                  <a:lnTo>
                    <a:pt x="28575" y="282575"/>
                  </a:lnTo>
                  <a:lnTo>
                    <a:pt x="31750" y="279400"/>
                  </a:lnTo>
                  <a:lnTo>
                    <a:pt x="38100" y="273050"/>
                  </a:lnTo>
                  <a:lnTo>
                    <a:pt x="47625" y="260350"/>
                  </a:lnTo>
                  <a:lnTo>
                    <a:pt x="53975" y="257175"/>
                  </a:lnTo>
                  <a:lnTo>
                    <a:pt x="76200" y="244475"/>
                  </a:lnTo>
                  <a:lnTo>
                    <a:pt x="82550" y="238125"/>
                  </a:lnTo>
                  <a:lnTo>
                    <a:pt x="88900" y="234950"/>
                  </a:lnTo>
                  <a:lnTo>
                    <a:pt x="101600" y="222250"/>
                  </a:lnTo>
                  <a:lnTo>
                    <a:pt x="107950" y="219075"/>
                  </a:lnTo>
                  <a:lnTo>
                    <a:pt x="114300" y="209550"/>
                  </a:lnTo>
                  <a:lnTo>
                    <a:pt x="120650" y="187325"/>
                  </a:lnTo>
                  <a:lnTo>
                    <a:pt x="127000" y="187325"/>
                  </a:lnTo>
                  <a:lnTo>
                    <a:pt x="130175" y="177800"/>
                  </a:lnTo>
                  <a:lnTo>
                    <a:pt x="133350" y="168275"/>
                  </a:lnTo>
                  <a:lnTo>
                    <a:pt x="136525" y="158750"/>
                  </a:lnTo>
                  <a:close/>
                  <a:moveTo>
                    <a:pt x="155575" y="0"/>
                  </a:moveTo>
                  <a:lnTo>
                    <a:pt x="171450" y="0"/>
                  </a:lnTo>
                  <a:lnTo>
                    <a:pt x="177800" y="6350"/>
                  </a:lnTo>
                  <a:lnTo>
                    <a:pt x="180975" y="9525"/>
                  </a:lnTo>
                  <a:lnTo>
                    <a:pt x="184150" y="15875"/>
                  </a:lnTo>
                  <a:lnTo>
                    <a:pt x="187325" y="19050"/>
                  </a:lnTo>
                  <a:lnTo>
                    <a:pt x="184150" y="22225"/>
                  </a:lnTo>
                  <a:lnTo>
                    <a:pt x="184150" y="25400"/>
                  </a:lnTo>
                  <a:lnTo>
                    <a:pt x="190500" y="38100"/>
                  </a:lnTo>
                  <a:lnTo>
                    <a:pt x="190500" y="47625"/>
                  </a:lnTo>
                  <a:lnTo>
                    <a:pt x="200025" y="53975"/>
                  </a:lnTo>
                  <a:lnTo>
                    <a:pt x="203200" y="60325"/>
                  </a:lnTo>
                  <a:lnTo>
                    <a:pt x="206375" y="60325"/>
                  </a:lnTo>
                  <a:lnTo>
                    <a:pt x="209550" y="60325"/>
                  </a:lnTo>
                  <a:lnTo>
                    <a:pt x="206375" y="50800"/>
                  </a:lnTo>
                  <a:lnTo>
                    <a:pt x="203200" y="41275"/>
                  </a:lnTo>
                  <a:lnTo>
                    <a:pt x="209550" y="44450"/>
                  </a:lnTo>
                  <a:lnTo>
                    <a:pt x="215900" y="50800"/>
                  </a:lnTo>
                  <a:lnTo>
                    <a:pt x="215900" y="63500"/>
                  </a:lnTo>
                  <a:lnTo>
                    <a:pt x="219075" y="69850"/>
                  </a:lnTo>
                  <a:lnTo>
                    <a:pt x="228600" y="76200"/>
                  </a:lnTo>
                  <a:lnTo>
                    <a:pt x="241300" y="82550"/>
                  </a:lnTo>
                  <a:lnTo>
                    <a:pt x="250825" y="79375"/>
                  </a:lnTo>
                  <a:lnTo>
                    <a:pt x="254000" y="73025"/>
                  </a:lnTo>
                  <a:lnTo>
                    <a:pt x="260350" y="69850"/>
                  </a:lnTo>
                  <a:lnTo>
                    <a:pt x="269875" y="73025"/>
                  </a:lnTo>
                  <a:lnTo>
                    <a:pt x="269875" y="85725"/>
                  </a:lnTo>
                  <a:lnTo>
                    <a:pt x="263525" y="101600"/>
                  </a:lnTo>
                  <a:lnTo>
                    <a:pt x="257175" y="111125"/>
                  </a:lnTo>
                  <a:lnTo>
                    <a:pt x="254000" y="111125"/>
                  </a:lnTo>
                  <a:lnTo>
                    <a:pt x="241300" y="114300"/>
                  </a:lnTo>
                  <a:lnTo>
                    <a:pt x="238125" y="130175"/>
                  </a:lnTo>
                  <a:lnTo>
                    <a:pt x="241300" y="127000"/>
                  </a:lnTo>
                  <a:lnTo>
                    <a:pt x="241300" y="133350"/>
                  </a:lnTo>
                  <a:lnTo>
                    <a:pt x="234950" y="146050"/>
                  </a:lnTo>
                  <a:lnTo>
                    <a:pt x="228600" y="152400"/>
                  </a:lnTo>
                  <a:lnTo>
                    <a:pt x="228600" y="155575"/>
                  </a:lnTo>
                  <a:lnTo>
                    <a:pt x="219075" y="165100"/>
                  </a:lnTo>
                  <a:lnTo>
                    <a:pt x="203200" y="184150"/>
                  </a:lnTo>
                  <a:lnTo>
                    <a:pt x="200025" y="180975"/>
                  </a:lnTo>
                  <a:lnTo>
                    <a:pt x="193675" y="177800"/>
                  </a:lnTo>
                  <a:lnTo>
                    <a:pt x="187325" y="174625"/>
                  </a:lnTo>
                  <a:lnTo>
                    <a:pt x="190500" y="168275"/>
                  </a:lnTo>
                  <a:lnTo>
                    <a:pt x="200025" y="155575"/>
                  </a:lnTo>
                  <a:lnTo>
                    <a:pt x="200025" y="139700"/>
                  </a:lnTo>
                  <a:lnTo>
                    <a:pt x="190500" y="133350"/>
                  </a:lnTo>
                  <a:lnTo>
                    <a:pt x="177800" y="127000"/>
                  </a:lnTo>
                  <a:lnTo>
                    <a:pt x="168275" y="120650"/>
                  </a:lnTo>
                  <a:lnTo>
                    <a:pt x="174625" y="111125"/>
                  </a:lnTo>
                  <a:lnTo>
                    <a:pt x="180975" y="107950"/>
                  </a:lnTo>
                  <a:lnTo>
                    <a:pt x="184150" y="107950"/>
                  </a:lnTo>
                  <a:lnTo>
                    <a:pt x="190500" y="95250"/>
                  </a:lnTo>
                  <a:lnTo>
                    <a:pt x="193675" y="82550"/>
                  </a:lnTo>
                  <a:lnTo>
                    <a:pt x="190500" y="66675"/>
                  </a:lnTo>
                  <a:lnTo>
                    <a:pt x="190500" y="57150"/>
                  </a:lnTo>
                  <a:lnTo>
                    <a:pt x="187325" y="53975"/>
                  </a:lnTo>
                  <a:lnTo>
                    <a:pt x="184150" y="50800"/>
                  </a:lnTo>
                  <a:lnTo>
                    <a:pt x="180975" y="44450"/>
                  </a:lnTo>
                  <a:lnTo>
                    <a:pt x="180975" y="41275"/>
                  </a:lnTo>
                  <a:lnTo>
                    <a:pt x="174625" y="34925"/>
                  </a:lnTo>
                  <a:lnTo>
                    <a:pt x="168275" y="28575"/>
                  </a:lnTo>
                  <a:lnTo>
                    <a:pt x="161925" y="19050"/>
                  </a:lnTo>
                  <a:lnTo>
                    <a:pt x="158750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" name="Google Shape;621;p35">
              <a:extLst>
                <a:ext uri="{FF2B5EF4-FFF2-40B4-BE49-F238E27FC236}">
                  <a16:creationId xmlns:a16="http://schemas.microsoft.com/office/drawing/2014/main" id="{F49FF304-0EB4-BC62-AA99-09BAC4D9ECD7}"/>
                </a:ext>
              </a:extLst>
            </p:cNvPr>
            <p:cNvSpPr/>
            <p:nvPr/>
          </p:nvSpPr>
          <p:spPr>
            <a:xfrm>
              <a:off x="9063117" y="5115957"/>
              <a:ext cx="57150" cy="48577"/>
            </a:xfrm>
            <a:custGeom>
              <a:avLst/>
              <a:gdLst/>
              <a:ahLst/>
              <a:cxnLst/>
              <a:rect l="l" t="t" r="r" b="b"/>
              <a:pathLst>
                <a:path w="40" h="34" extrusionOk="0">
                  <a:moveTo>
                    <a:pt x="38" y="30"/>
                  </a:moveTo>
                  <a:lnTo>
                    <a:pt x="14" y="10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12"/>
                  </a:lnTo>
                  <a:lnTo>
                    <a:pt x="16" y="20"/>
                  </a:lnTo>
                  <a:lnTo>
                    <a:pt x="18" y="24"/>
                  </a:lnTo>
                  <a:lnTo>
                    <a:pt x="28" y="30"/>
                  </a:lnTo>
                  <a:lnTo>
                    <a:pt x="34" y="32"/>
                  </a:lnTo>
                  <a:lnTo>
                    <a:pt x="40" y="34"/>
                  </a:lnTo>
                  <a:lnTo>
                    <a:pt x="38" y="3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" name="Google Shape;622;p35">
              <a:extLst>
                <a:ext uri="{FF2B5EF4-FFF2-40B4-BE49-F238E27FC236}">
                  <a16:creationId xmlns:a16="http://schemas.microsoft.com/office/drawing/2014/main" id="{C8A0EE8D-AA60-D3E9-A165-887918217ACB}"/>
                </a:ext>
              </a:extLst>
            </p:cNvPr>
            <p:cNvSpPr/>
            <p:nvPr/>
          </p:nvSpPr>
          <p:spPr>
            <a:xfrm>
              <a:off x="8883095" y="4827350"/>
              <a:ext cx="148590" cy="122872"/>
            </a:xfrm>
            <a:custGeom>
              <a:avLst/>
              <a:gdLst/>
              <a:ahLst/>
              <a:cxnLst/>
              <a:rect l="l" t="t" r="r" b="b"/>
              <a:pathLst>
                <a:path w="165100" h="136525" extrusionOk="0">
                  <a:moveTo>
                    <a:pt x="114300" y="130175"/>
                  </a:moveTo>
                  <a:lnTo>
                    <a:pt x="123825" y="133350"/>
                  </a:lnTo>
                  <a:lnTo>
                    <a:pt x="123825" y="136525"/>
                  </a:lnTo>
                  <a:lnTo>
                    <a:pt x="114300" y="133350"/>
                  </a:lnTo>
                  <a:close/>
                  <a:moveTo>
                    <a:pt x="142875" y="101600"/>
                  </a:moveTo>
                  <a:lnTo>
                    <a:pt x="149225" y="107950"/>
                  </a:lnTo>
                  <a:lnTo>
                    <a:pt x="155575" y="107950"/>
                  </a:lnTo>
                  <a:lnTo>
                    <a:pt x="158750" y="107950"/>
                  </a:lnTo>
                  <a:lnTo>
                    <a:pt x="161925" y="114300"/>
                  </a:lnTo>
                  <a:lnTo>
                    <a:pt x="165100" y="117475"/>
                  </a:lnTo>
                  <a:lnTo>
                    <a:pt x="155575" y="114300"/>
                  </a:lnTo>
                  <a:lnTo>
                    <a:pt x="142875" y="107950"/>
                  </a:lnTo>
                  <a:close/>
                  <a:moveTo>
                    <a:pt x="107950" y="82550"/>
                  </a:moveTo>
                  <a:lnTo>
                    <a:pt x="117475" y="85725"/>
                  </a:lnTo>
                  <a:lnTo>
                    <a:pt x="123825" y="85725"/>
                  </a:lnTo>
                  <a:lnTo>
                    <a:pt x="130175" y="92075"/>
                  </a:lnTo>
                  <a:lnTo>
                    <a:pt x="130175" y="95250"/>
                  </a:lnTo>
                  <a:lnTo>
                    <a:pt x="120650" y="95250"/>
                  </a:lnTo>
                  <a:lnTo>
                    <a:pt x="111125" y="92075"/>
                  </a:lnTo>
                  <a:lnTo>
                    <a:pt x="104775" y="88900"/>
                  </a:lnTo>
                  <a:close/>
                  <a:moveTo>
                    <a:pt x="69850" y="66675"/>
                  </a:moveTo>
                  <a:lnTo>
                    <a:pt x="73025" y="69850"/>
                  </a:lnTo>
                  <a:lnTo>
                    <a:pt x="66675" y="69850"/>
                  </a:lnTo>
                  <a:close/>
                  <a:moveTo>
                    <a:pt x="130175" y="60325"/>
                  </a:moveTo>
                  <a:lnTo>
                    <a:pt x="133350" y="66675"/>
                  </a:lnTo>
                  <a:lnTo>
                    <a:pt x="139700" y="76200"/>
                  </a:lnTo>
                  <a:lnTo>
                    <a:pt x="142875" y="82550"/>
                  </a:lnTo>
                  <a:lnTo>
                    <a:pt x="142875" y="88900"/>
                  </a:lnTo>
                  <a:lnTo>
                    <a:pt x="139700" y="85725"/>
                  </a:lnTo>
                  <a:lnTo>
                    <a:pt x="136525" y="82550"/>
                  </a:lnTo>
                  <a:lnTo>
                    <a:pt x="130175" y="79375"/>
                  </a:lnTo>
                  <a:lnTo>
                    <a:pt x="130175" y="73025"/>
                  </a:lnTo>
                  <a:lnTo>
                    <a:pt x="127000" y="69850"/>
                  </a:lnTo>
                  <a:lnTo>
                    <a:pt x="127000" y="66675"/>
                  </a:lnTo>
                  <a:lnTo>
                    <a:pt x="130175" y="66675"/>
                  </a:lnTo>
                  <a:close/>
                  <a:moveTo>
                    <a:pt x="60325" y="53975"/>
                  </a:moveTo>
                  <a:lnTo>
                    <a:pt x="66675" y="63500"/>
                  </a:lnTo>
                  <a:lnTo>
                    <a:pt x="66675" y="66675"/>
                  </a:lnTo>
                  <a:lnTo>
                    <a:pt x="63500" y="66675"/>
                  </a:lnTo>
                  <a:lnTo>
                    <a:pt x="53975" y="60325"/>
                  </a:lnTo>
                  <a:close/>
                  <a:moveTo>
                    <a:pt x="79375" y="44450"/>
                  </a:moveTo>
                  <a:lnTo>
                    <a:pt x="101600" y="53975"/>
                  </a:lnTo>
                  <a:lnTo>
                    <a:pt x="107950" y="60325"/>
                  </a:lnTo>
                  <a:lnTo>
                    <a:pt x="111125" y="60325"/>
                  </a:lnTo>
                  <a:lnTo>
                    <a:pt x="111125" y="66675"/>
                  </a:lnTo>
                  <a:lnTo>
                    <a:pt x="104775" y="63500"/>
                  </a:lnTo>
                  <a:lnTo>
                    <a:pt x="92075" y="57150"/>
                  </a:lnTo>
                  <a:lnTo>
                    <a:pt x="85725" y="50800"/>
                  </a:lnTo>
                  <a:close/>
                  <a:moveTo>
                    <a:pt x="38100" y="25400"/>
                  </a:moveTo>
                  <a:lnTo>
                    <a:pt x="50800" y="31750"/>
                  </a:lnTo>
                  <a:lnTo>
                    <a:pt x="57150" y="38100"/>
                  </a:lnTo>
                  <a:lnTo>
                    <a:pt x="60325" y="41275"/>
                  </a:lnTo>
                  <a:lnTo>
                    <a:pt x="44450" y="34925"/>
                  </a:lnTo>
                  <a:close/>
                  <a:moveTo>
                    <a:pt x="0" y="0"/>
                  </a:moveTo>
                  <a:lnTo>
                    <a:pt x="9525" y="6350"/>
                  </a:lnTo>
                  <a:lnTo>
                    <a:pt x="19050" y="12700"/>
                  </a:lnTo>
                  <a:lnTo>
                    <a:pt x="25400" y="22225"/>
                  </a:lnTo>
                  <a:lnTo>
                    <a:pt x="22225" y="28575"/>
                  </a:lnTo>
                  <a:lnTo>
                    <a:pt x="15875" y="28575"/>
                  </a:lnTo>
                  <a:lnTo>
                    <a:pt x="9525" y="22225"/>
                  </a:lnTo>
                  <a:lnTo>
                    <a:pt x="0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" name="Google Shape;623;p35">
              <a:extLst>
                <a:ext uri="{FF2B5EF4-FFF2-40B4-BE49-F238E27FC236}">
                  <a16:creationId xmlns:a16="http://schemas.microsoft.com/office/drawing/2014/main" id="{D6154F21-F660-8A0A-01C6-96FB66EFEC61}"/>
                </a:ext>
              </a:extLst>
            </p:cNvPr>
            <p:cNvSpPr/>
            <p:nvPr/>
          </p:nvSpPr>
          <p:spPr>
            <a:xfrm>
              <a:off x="9320292" y="4984512"/>
              <a:ext cx="220027" cy="157163"/>
            </a:xfrm>
            <a:custGeom>
              <a:avLst/>
              <a:gdLst/>
              <a:ahLst/>
              <a:cxnLst/>
              <a:rect l="l" t="t" r="r" b="b"/>
              <a:pathLst>
                <a:path w="244475" h="174625" extrusionOk="0">
                  <a:moveTo>
                    <a:pt x="161925" y="171450"/>
                  </a:moveTo>
                  <a:lnTo>
                    <a:pt x="165100" y="171450"/>
                  </a:lnTo>
                  <a:lnTo>
                    <a:pt x="165100" y="174625"/>
                  </a:lnTo>
                  <a:close/>
                  <a:moveTo>
                    <a:pt x="15875" y="123825"/>
                  </a:moveTo>
                  <a:lnTo>
                    <a:pt x="19050" y="123825"/>
                  </a:lnTo>
                  <a:lnTo>
                    <a:pt x="25400" y="123825"/>
                  </a:lnTo>
                  <a:lnTo>
                    <a:pt x="19050" y="127000"/>
                  </a:lnTo>
                  <a:close/>
                  <a:moveTo>
                    <a:pt x="22225" y="85725"/>
                  </a:moveTo>
                  <a:lnTo>
                    <a:pt x="28575" y="92075"/>
                  </a:lnTo>
                  <a:lnTo>
                    <a:pt x="31750" y="101600"/>
                  </a:lnTo>
                  <a:lnTo>
                    <a:pt x="25400" y="101600"/>
                  </a:lnTo>
                  <a:lnTo>
                    <a:pt x="15875" y="104775"/>
                  </a:lnTo>
                  <a:lnTo>
                    <a:pt x="3175" y="101600"/>
                  </a:lnTo>
                  <a:lnTo>
                    <a:pt x="0" y="98425"/>
                  </a:lnTo>
                  <a:lnTo>
                    <a:pt x="6350" y="88900"/>
                  </a:lnTo>
                  <a:close/>
                  <a:moveTo>
                    <a:pt x="60325" y="60325"/>
                  </a:moveTo>
                  <a:lnTo>
                    <a:pt x="53975" y="63500"/>
                  </a:lnTo>
                  <a:lnTo>
                    <a:pt x="53975" y="66675"/>
                  </a:lnTo>
                  <a:lnTo>
                    <a:pt x="53975" y="73025"/>
                  </a:lnTo>
                  <a:lnTo>
                    <a:pt x="41275" y="73025"/>
                  </a:lnTo>
                  <a:lnTo>
                    <a:pt x="34925" y="76200"/>
                  </a:lnTo>
                  <a:lnTo>
                    <a:pt x="28575" y="76200"/>
                  </a:lnTo>
                  <a:lnTo>
                    <a:pt x="25400" y="73025"/>
                  </a:lnTo>
                  <a:lnTo>
                    <a:pt x="31750" y="66675"/>
                  </a:lnTo>
                  <a:close/>
                  <a:moveTo>
                    <a:pt x="231775" y="6350"/>
                  </a:moveTo>
                  <a:lnTo>
                    <a:pt x="234950" y="6350"/>
                  </a:lnTo>
                  <a:lnTo>
                    <a:pt x="244475" y="9525"/>
                  </a:lnTo>
                  <a:lnTo>
                    <a:pt x="238125" y="12700"/>
                  </a:lnTo>
                  <a:close/>
                  <a:moveTo>
                    <a:pt x="215900" y="0"/>
                  </a:moveTo>
                  <a:lnTo>
                    <a:pt x="228600" y="0"/>
                  </a:lnTo>
                  <a:lnTo>
                    <a:pt x="228600" y="3175"/>
                  </a:lnTo>
                  <a:lnTo>
                    <a:pt x="228600" y="6350"/>
                  </a:lnTo>
                  <a:lnTo>
                    <a:pt x="225425" y="6350"/>
                  </a:lnTo>
                  <a:lnTo>
                    <a:pt x="22225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" name="Google Shape;624;p35">
              <a:extLst>
                <a:ext uri="{FF2B5EF4-FFF2-40B4-BE49-F238E27FC236}">
                  <a16:creationId xmlns:a16="http://schemas.microsoft.com/office/drawing/2014/main" id="{3E8316C6-1C9D-ECCF-65C7-017D22600FEE}"/>
                </a:ext>
              </a:extLst>
            </p:cNvPr>
            <p:cNvSpPr/>
            <p:nvPr/>
          </p:nvSpPr>
          <p:spPr>
            <a:xfrm>
              <a:off x="9111695" y="5007371"/>
              <a:ext cx="54293" cy="131445"/>
            </a:xfrm>
            <a:custGeom>
              <a:avLst/>
              <a:gdLst/>
              <a:ahLst/>
              <a:cxnLst/>
              <a:rect l="l" t="t" r="r" b="b"/>
              <a:pathLst>
                <a:path w="60325" h="146050" extrusionOk="0">
                  <a:moveTo>
                    <a:pt x="15875" y="136525"/>
                  </a:moveTo>
                  <a:lnTo>
                    <a:pt x="19050" y="142875"/>
                  </a:lnTo>
                  <a:lnTo>
                    <a:pt x="19050" y="146050"/>
                  </a:lnTo>
                  <a:lnTo>
                    <a:pt x="12700" y="139700"/>
                  </a:lnTo>
                  <a:close/>
                  <a:moveTo>
                    <a:pt x="53975" y="88900"/>
                  </a:moveTo>
                  <a:lnTo>
                    <a:pt x="57150" y="92075"/>
                  </a:lnTo>
                  <a:lnTo>
                    <a:pt x="60325" y="95250"/>
                  </a:lnTo>
                  <a:lnTo>
                    <a:pt x="57150" y="95250"/>
                  </a:lnTo>
                  <a:lnTo>
                    <a:pt x="53975" y="92075"/>
                  </a:lnTo>
                  <a:close/>
                  <a:moveTo>
                    <a:pt x="38100" y="63500"/>
                  </a:moveTo>
                  <a:lnTo>
                    <a:pt x="44450" y="66675"/>
                  </a:lnTo>
                  <a:lnTo>
                    <a:pt x="41275" y="69850"/>
                  </a:lnTo>
                  <a:lnTo>
                    <a:pt x="34925" y="69850"/>
                  </a:lnTo>
                  <a:close/>
                  <a:moveTo>
                    <a:pt x="31750" y="34925"/>
                  </a:moveTo>
                  <a:lnTo>
                    <a:pt x="38100" y="34925"/>
                  </a:lnTo>
                  <a:lnTo>
                    <a:pt x="38100" y="38100"/>
                  </a:lnTo>
                  <a:lnTo>
                    <a:pt x="31750" y="38100"/>
                  </a:lnTo>
                  <a:close/>
                  <a:moveTo>
                    <a:pt x="12700" y="28575"/>
                  </a:moveTo>
                  <a:lnTo>
                    <a:pt x="22225" y="31750"/>
                  </a:lnTo>
                  <a:lnTo>
                    <a:pt x="25400" y="38100"/>
                  </a:lnTo>
                  <a:lnTo>
                    <a:pt x="28575" y="41275"/>
                  </a:lnTo>
                  <a:lnTo>
                    <a:pt x="19050" y="41275"/>
                  </a:lnTo>
                  <a:close/>
                  <a:moveTo>
                    <a:pt x="3175" y="0"/>
                  </a:moveTo>
                  <a:lnTo>
                    <a:pt x="6350" y="6350"/>
                  </a:lnTo>
                  <a:lnTo>
                    <a:pt x="6350" y="12700"/>
                  </a:lnTo>
                  <a:lnTo>
                    <a:pt x="9525" y="9525"/>
                  </a:lnTo>
                  <a:lnTo>
                    <a:pt x="12700" y="6350"/>
                  </a:lnTo>
                  <a:lnTo>
                    <a:pt x="15875" y="15875"/>
                  </a:lnTo>
                  <a:lnTo>
                    <a:pt x="12700" y="19050"/>
                  </a:lnTo>
                  <a:lnTo>
                    <a:pt x="9525" y="22225"/>
                  </a:lnTo>
                  <a:lnTo>
                    <a:pt x="3175" y="15875"/>
                  </a:lnTo>
                  <a:lnTo>
                    <a:pt x="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" name="Google Shape;625;p35">
              <a:extLst>
                <a:ext uri="{FF2B5EF4-FFF2-40B4-BE49-F238E27FC236}">
                  <a16:creationId xmlns:a16="http://schemas.microsoft.com/office/drawing/2014/main" id="{F7A43593-1669-BB21-3346-849843221D13}"/>
                </a:ext>
              </a:extLst>
            </p:cNvPr>
            <p:cNvSpPr/>
            <p:nvPr/>
          </p:nvSpPr>
          <p:spPr>
            <a:xfrm>
              <a:off x="8614490" y="4758770"/>
              <a:ext cx="237173" cy="168593"/>
            </a:xfrm>
            <a:custGeom>
              <a:avLst/>
              <a:gdLst/>
              <a:ahLst/>
              <a:cxnLst/>
              <a:rect l="l" t="t" r="r" b="b"/>
              <a:pathLst>
                <a:path w="263525" h="187325" extrusionOk="0">
                  <a:moveTo>
                    <a:pt x="212725" y="171450"/>
                  </a:moveTo>
                  <a:lnTo>
                    <a:pt x="222250" y="174625"/>
                  </a:lnTo>
                  <a:lnTo>
                    <a:pt x="225425" y="177800"/>
                  </a:lnTo>
                  <a:lnTo>
                    <a:pt x="219075" y="177800"/>
                  </a:lnTo>
                  <a:lnTo>
                    <a:pt x="215900" y="174625"/>
                  </a:lnTo>
                  <a:close/>
                  <a:moveTo>
                    <a:pt x="206375" y="158750"/>
                  </a:moveTo>
                  <a:lnTo>
                    <a:pt x="212725" y="161925"/>
                  </a:lnTo>
                  <a:lnTo>
                    <a:pt x="215900" y="165100"/>
                  </a:lnTo>
                  <a:lnTo>
                    <a:pt x="212725" y="168275"/>
                  </a:lnTo>
                  <a:lnTo>
                    <a:pt x="206375" y="165100"/>
                  </a:lnTo>
                  <a:lnTo>
                    <a:pt x="206375" y="161925"/>
                  </a:lnTo>
                  <a:close/>
                  <a:moveTo>
                    <a:pt x="244475" y="47625"/>
                  </a:moveTo>
                  <a:lnTo>
                    <a:pt x="247650" y="63500"/>
                  </a:lnTo>
                  <a:lnTo>
                    <a:pt x="241300" y="73025"/>
                  </a:lnTo>
                  <a:lnTo>
                    <a:pt x="234950" y="79375"/>
                  </a:lnTo>
                  <a:lnTo>
                    <a:pt x="215900" y="88900"/>
                  </a:lnTo>
                  <a:lnTo>
                    <a:pt x="206375" y="92075"/>
                  </a:lnTo>
                  <a:lnTo>
                    <a:pt x="196850" y="95250"/>
                  </a:lnTo>
                  <a:lnTo>
                    <a:pt x="187325" y="92075"/>
                  </a:lnTo>
                  <a:lnTo>
                    <a:pt x="177800" y="88900"/>
                  </a:lnTo>
                  <a:lnTo>
                    <a:pt x="168275" y="85725"/>
                  </a:lnTo>
                  <a:lnTo>
                    <a:pt x="158750" y="79375"/>
                  </a:lnTo>
                  <a:lnTo>
                    <a:pt x="174625" y="76200"/>
                  </a:lnTo>
                  <a:lnTo>
                    <a:pt x="193675" y="76200"/>
                  </a:lnTo>
                  <a:lnTo>
                    <a:pt x="200025" y="76200"/>
                  </a:lnTo>
                  <a:lnTo>
                    <a:pt x="209550" y="76200"/>
                  </a:lnTo>
                  <a:lnTo>
                    <a:pt x="215900" y="76200"/>
                  </a:lnTo>
                  <a:lnTo>
                    <a:pt x="219075" y="69850"/>
                  </a:lnTo>
                  <a:lnTo>
                    <a:pt x="222250" y="66675"/>
                  </a:lnTo>
                  <a:lnTo>
                    <a:pt x="228600" y="57150"/>
                  </a:lnTo>
                  <a:close/>
                  <a:moveTo>
                    <a:pt x="212725" y="12700"/>
                  </a:moveTo>
                  <a:lnTo>
                    <a:pt x="219075" y="15875"/>
                  </a:lnTo>
                  <a:lnTo>
                    <a:pt x="225425" y="19050"/>
                  </a:lnTo>
                  <a:lnTo>
                    <a:pt x="234950" y="25400"/>
                  </a:lnTo>
                  <a:lnTo>
                    <a:pt x="254000" y="41275"/>
                  </a:lnTo>
                  <a:lnTo>
                    <a:pt x="260350" y="44450"/>
                  </a:lnTo>
                  <a:lnTo>
                    <a:pt x="263525" y="50800"/>
                  </a:lnTo>
                  <a:lnTo>
                    <a:pt x="260350" y="57150"/>
                  </a:lnTo>
                  <a:lnTo>
                    <a:pt x="260350" y="63500"/>
                  </a:lnTo>
                  <a:lnTo>
                    <a:pt x="254000" y="60325"/>
                  </a:lnTo>
                  <a:lnTo>
                    <a:pt x="254000" y="50800"/>
                  </a:lnTo>
                  <a:lnTo>
                    <a:pt x="247650" y="38100"/>
                  </a:lnTo>
                  <a:lnTo>
                    <a:pt x="225425" y="22225"/>
                  </a:lnTo>
                  <a:lnTo>
                    <a:pt x="215900" y="19050"/>
                  </a:lnTo>
                  <a:close/>
                  <a:moveTo>
                    <a:pt x="3175" y="12700"/>
                  </a:moveTo>
                  <a:lnTo>
                    <a:pt x="9525" y="15875"/>
                  </a:lnTo>
                  <a:lnTo>
                    <a:pt x="25400" y="22225"/>
                  </a:lnTo>
                  <a:lnTo>
                    <a:pt x="50800" y="31750"/>
                  </a:lnTo>
                  <a:lnTo>
                    <a:pt x="76200" y="41275"/>
                  </a:lnTo>
                  <a:lnTo>
                    <a:pt x="85725" y="47625"/>
                  </a:lnTo>
                  <a:lnTo>
                    <a:pt x="92075" y="50800"/>
                  </a:lnTo>
                  <a:lnTo>
                    <a:pt x="95250" y="53975"/>
                  </a:lnTo>
                  <a:lnTo>
                    <a:pt x="104775" y="60325"/>
                  </a:lnTo>
                  <a:lnTo>
                    <a:pt x="104775" y="66675"/>
                  </a:lnTo>
                  <a:lnTo>
                    <a:pt x="104775" y="76200"/>
                  </a:lnTo>
                  <a:lnTo>
                    <a:pt x="111125" y="76200"/>
                  </a:lnTo>
                  <a:lnTo>
                    <a:pt x="123825" y="82550"/>
                  </a:lnTo>
                  <a:lnTo>
                    <a:pt x="136525" y="85725"/>
                  </a:lnTo>
                  <a:lnTo>
                    <a:pt x="139700" y="85725"/>
                  </a:lnTo>
                  <a:lnTo>
                    <a:pt x="142875" y="88900"/>
                  </a:lnTo>
                  <a:lnTo>
                    <a:pt x="149225" y="98425"/>
                  </a:lnTo>
                  <a:lnTo>
                    <a:pt x="146050" y="101600"/>
                  </a:lnTo>
                  <a:lnTo>
                    <a:pt x="142875" y="104775"/>
                  </a:lnTo>
                  <a:lnTo>
                    <a:pt x="136525" y="104775"/>
                  </a:lnTo>
                  <a:lnTo>
                    <a:pt x="133350" y="101600"/>
                  </a:lnTo>
                  <a:lnTo>
                    <a:pt x="130175" y="104775"/>
                  </a:lnTo>
                  <a:lnTo>
                    <a:pt x="136525" y="117475"/>
                  </a:lnTo>
                  <a:lnTo>
                    <a:pt x="146050" y="127000"/>
                  </a:lnTo>
                  <a:lnTo>
                    <a:pt x="149225" y="130175"/>
                  </a:lnTo>
                  <a:lnTo>
                    <a:pt x="155575" y="133350"/>
                  </a:lnTo>
                  <a:lnTo>
                    <a:pt x="155575" y="139700"/>
                  </a:lnTo>
                  <a:lnTo>
                    <a:pt x="158750" y="142875"/>
                  </a:lnTo>
                  <a:lnTo>
                    <a:pt x="165100" y="152400"/>
                  </a:lnTo>
                  <a:lnTo>
                    <a:pt x="180975" y="161925"/>
                  </a:lnTo>
                  <a:lnTo>
                    <a:pt x="190500" y="165100"/>
                  </a:lnTo>
                  <a:lnTo>
                    <a:pt x="193675" y="165100"/>
                  </a:lnTo>
                  <a:lnTo>
                    <a:pt x="193675" y="168275"/>
                  </a:lnTo>
                  <a:lnTo>
                    <a:pt x="193675" y="174625"/>
                  </a:lnTo>
                  <a:lnTo>
                    <a:pt x="200025" y="177800"/>
                  </a:lnTo>
                  <a:lnTo>
                    <a:pt x="209550" y="180975"/>
                  </a:lnTo>
                  <a:lnTo>
                    <a:pt x="209550" y="184150"/>
                  </a:lnTo>
                  <a:lnTo>
                    <a:pt x="209550" y="187325"/>
                  </a:lnTo>
                  <a:lnTo>
                    <a:pt x="200025" y="187325"/>
                  </a:lnTo>
                  <a:lnTo>
                    <a:pt x="193675" y="187325"/>
                  </a:lnTo>
                  <a:lnTo>
                    <a:pt x="196850" y="184150"/>
                  </a:lnTo>
                  <a:lnTo>
                    <a:pt x="174625" y="177800"/>
                  </a:lnTo>
                  <a:lnTo>
                    <a:pt x="158750" y="177800"/>
                  </a:lnTo>
                  <a:lnTo>
                    <a:pt x="146050" y="174625"/>
                  </a:lnTo>
                  <a:lnTo>
                    <a:pt x="133350" y="165100"/>
                  </a:lnTo>
                  <a:lnTo>
                    <a:pt x="127000" y="155575"/>
                  </a:lnTo>
                  <a:lnTo>
                    <a:pt x="120650" y="142875"/>
                  </a:lnTo>
                  <a:lnTo>
                    <a:pt x="111125" y="133350"/>
                  </a:lnTo>
                  <a:lnTo>
                    <a:pt x="98425" y="127000"/>
                  </a:lnTo>
                  <a:lnTo>
                    <a:pt x="85725" y="127000"/>
                  </a:lnTo>
                  <a:lnTo>
                    <a:pt x="79375" y="123825"/>
                  </a:lnTo>
                  <a:lnTo>
                    <a:pt x="79375" y="120650"/>
                  </a:lnTo>
                  <a:lnTo>
                    <a:pt x="76200" y="120650"/>
                  </a:lnTo>
                  <a:lnTo>
                    <a:pt x="73025" y="123825"/>
                  </a:lnTo>
                  <a:lnTo>
                    <a:pt x="63500" y="123825"/>
                  </a:lnTo>
                  <a:lnTo>
                    <a:pt x="66675" y="130175"/>
                  </a:lnTo>
                  <a:lnTo>
                    <a:pt x="57150" y="133350"/>
                  </a:lnTo>
                  <a:lnTo>
                    <a:pt x="41275" y="136525"/>
                  </a:lnTo>
                  <a:lnTo>
                    <a:pt x="50800" y="142875"/>
                  </a:lnTo>
                  <a:lnTo>
                    <a:pt x="53975" y="152400"/>
                  </a:lnTo>
                  <a:lnTo>
                    <a:pt x="47625" y="155575"/>
                  </a:lnTo>
                  <a:lnTo>
                    <a:pt x="34925" y="158750"/>
                  </a:lnTo>
                  <a:lnTo>
                    <a:pt x="28575" y="155575"/>
                  </a:lnTo>
                  <a:lnTo>
                    <a:pt x="22225" y="155575"/>
                  </a:lnTo>
                  <a:lnTo>
                    <a:pt x="9525" y="158750"/>
                  </a:lnTo>
                  <a:lnTo>
                    <a:pt x="3175" y="155575"/>
                  </a:lnTo>
                  <a:lnTo>
                    <a:pt x="3175" y="107950"/>
                  </a:lnTo>
                  <a:lnTo>
                    <a:pt x="0" y="101600"/>
                  </a:lnTo>
                  <a:lnTo>
                    <a:pt x="0" y="95250"/>
                  </a:lnTo>
                  <a:lnTo>
                    <a:pt x="3175" y="95250"/>
                  </a:lnTo>
                  <a:close/>
                  <a:moveTo>
                    <a:pt x="203200" y="9525"/>
                  </a:moveTo>
                  <a:lnTo>
                    <a:pt x="206375" y="15875"/>
                  </a:lnTo>
                  <a:lnTo>
                    <a:pt x="200025" y="15875"/>
                  </a:lnTo>
                  <a:lnTo>
                    <a:pt x="193675" y="12700"/>
                  </a:lnTo>
                  <a:close/>
                  <a:moveTo>
                    <a:pt x="120650" y="0"/>
                  </a:moveTo>
                  <a:lnTo>
                    <a:pt x="127000" y="0"/>
                  </a:lnTo>
                  <a:lnTo>
                    <a:pt x="139700" y="0"/>
                  </a:lnTo>
                  <a:lnTo>
                    <a:pt x="133350" y="6350"/>
                  </a:lnTo>
                  <a:lnTo>
                    <a:pt x="127000" y="6350"/>
                  </a:lnTo>
                  <a:lnTo>
                    <a:pt x="12065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" name="Google Shape;626;p35">
              <a:extLst>
                <a:ext uri="{FF2B5EF4-FFF2-40B4-BE49-F238E27FC236}">
                  <a16:creationId xmlns:a16="http://schemas.microsoft.com/office/drawing/2014/main" id="{46A4D859-CF0A-6DC8-0BB0-68E76785274B}"/>
                </a:ext>
              </a:extLst>
            </p:cNvPr>
            <p:cNvSpPr/>
            <p:nvPr/>
          </p:nvSpPr>
          <p:spPr>
            <a:xfrm>
              <a:off x="8285876" y="4881642"/>
              <a:ext cx="62865" cy="22860"/>
            </a:xfrm>
            <a:custGeom>
              <a:avLst/>
              <a:gdLst/>
              <a:ahLst/>
              <a:cxnLst/>
              <a:rect l="l" t="t" r="r" b="b"/>
              <a:pathLst>
                <a:path w="69850" h="25400" extrusionOk="0">
                  <a:moveTo>
                    <a:pt x="9525" y="19050"/>
                  </a:moveTo>
                  <a:lnTo>
                    <a:pt x="6350" y="25400"/>
                  </a:lnTo>
                  <a:lnTo>
                    <a:pt x="3175" y="25400"/>
                  </a:lnTo>
                  <a:lnTo>
                    <a:pt x="0" y="22225"/>
                  </a:lnTo>
                  <a:close/>
                  <a:moveTo>
                    <a:pt x="66675" y="0"/>
                  </a:moveTo>
                  <a:lnTo>
                    <a:pt x="69850" y="3175"/>
                  </a:lnTo>
                  <a:lnTo>
                    <a:pt x="63500" y="9525"/>
                  </a:lnTo>
                  <a:lnTo>
                    <a:pt x="53975" y="12700"/>
                  </a:lnTo>
                  <a:lnTo>
                    <a:pt x="44450" y="15875"/>
                  </a:lnTo>
                  <a:lnTo>
                    <a:pt x="25400" y="25400"/>
                  </a:lnTo>
                  <a:lnTo>
                    <a:pt x="19050" y="15875"/>
                  </a:lnTo>
                  <a:lnTo>
                    <a:pt x="22225" y="9525"/>
                  </a:lnTo>
                  <a:lnTo>
                    <a:pt x="28575" y="6350"/>
                  </a:lnTo>
                  <a:lnTo>
                    <a:pt x="38100" y="3175"/>
                  </a:lnTo>
                  <a:lnTo>
                    <a:pt x="50800" y="3175"/>
                  </a:lnTo>
                  <a:lnTo>
                    <a:pt x="57150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Google Shape;627;p35">
              <a:extLst>
                <a:ext uri="{FF2B5EF4-FFF2-40B4-BE49-F238E27FC236}">
                  <a16:creationId xmlns:a16="http://schemas.microsoft.com/office/drawing/2014/main" id="{D9B9B621-5BD9-EAE4-A188-DF136C9C3F81}"/>
                </a:ext>
              </a:extLst>
            </p:cNvPr>
            <p:cNvSpPr/>
            <p:nvPr/>
          </p:nvSpPr>
          <p:spPr>
            <a:xfrm>
              <a:off x="8325881" y="3910091"/>
              <a:ext cx="68580" cy="131445"/>
            </a:xfrm>
            <a:custGeom>
              <a:avLst/>
              <a:gdLst/>
              <a:ahLst/>
              <a:cxnLst/>
              <a:rect l="l" t="t" r="r" b="b"/>
              <a:pathLst>
                <a:path w="76200" h="146050" extrusionOk="0">
                  <a:moveTo>
                    <a:pt x="15875" y="136525"/>
                  </a:moveTo>
                  <a:lnTo>
                    <a:pt x="19050" y="139700"/>
                  </a:lnTo>
                  <a:lnTo>
                    <a:pt x="12700" y="142875"/>
                  </a:lnTo>
                  <a:lnTo>
                    <a:pt x="3175" y="146050"/>
                  </a:lnTo>
                  <a:close/>
                  <a:moveTo>
                    <a:pt x="69850" y="107950"/>
                  </a:moveTo>
                  <a:lnTo>
                    <a:pt x="73025" y="107950"/>
                  </a:lnTo>
                  <a:lnTo>
                    <a:pt x="73025" y="111125"/>
                  </a:lnTo>
                  <a:lnTo>
                    <a:pt x="69850" y="117475"/>
                  </a:lnTo>
                  <a:lnTo>
                    <a:pt x="69850" y="114300"/>
                  </a:lnTo>
                  <a:close/>
                  <a:moveTo>
                    <a:pt x="50800" y="0"/>
                  </a:moveTo>
                  <a:lnTo>
                    <a:pt x="63500" y="28575"/>
                  </a:lnTo>
                  <a:lnTo>
                    <a:pt x="73025" y="50800"/>
                  </a:lnTo>
                  <a:lnTo>
                    <a:pt x="76200" y="69850"/>
                  </a:lnTo>
                  <a:lnTo>
                    <a:pt x="73025" y="82550"/>
                  </a:lnTo>
                  <a:lnTo>
                    <a:pt x="69850" y="95250"/>
                  </a:lnTo>
                  <a:lnTo>
                    <a:pt x="60325" y="95250"/>
                  </a:lnTo>
                  <a:lnTo>
                    <a:pt x="50800" y="101600"/>
                  </a:lnTo>
                  <a:lnTo>
                    <a:pt x="44450" y="101600"/>
                  </a:lnTo>
                  <a:lnTo>
                    <a:pt x="41275" y="98425"/>
                  </a:lnTo>
                  <a:lnTo>
                    <a:pt x="38100" y="101600"/>
                  </a:lnTo>
                  <a:lnTo>
                    <a:pt x="38100" y="104775"/>
                  </a:lnTo>
                  <a:lnTo>
                    <a:pt x="28575" y="111125"/>
                  </a:lnTo>
                  <a:lnTo>
                    <a:pt x="25400" y="111125"/>
                  </a:lnTo>
                  <a:lnTo>
                    <a:pt x="15875" y="114300"/>
                  </a:lnTo>
                  <a:lnTo>
                    <a:pt x="9525" y="117475"/>
                  </a:lnTo>
                  <a:lnTo>
                    <a:pt x="6350" y="104775"/>
                  </a:lnTo>
                  <a:lnTo>
                    <a:pt x="3175" y="95250"/>
                  </a:lnTo>
                  <a:lnTo>
                    <a:pt x="6350" y="88900"/>
                  </a:lnTo>
                  <a:lnTo>
                    <a:pt x="12700" y="73025"/>
                  </a:lnTo>
                  <a:lnTo>
                    <a:pt x="9525" y="60325"/>
                  </a:lnTo>
                  <a:lnTo>
                    <a:pt x="9525" y="57150"/>
                  </a:lnTo>
                  <a:lnTo>
                    <a:pt x="3175" y="53975"/>
                  </a:lnTo>
                  <a:lnTo>
                    <a:pt x="0" y="50800"/>
                  </a:lnTo>
                  <a:lnTo>
                    <a:pt x="15875" y="47625"/>
                  </a:lnTo>
                  <a:lnTo>
                    <a:pt x="12700" y="28575"/>
                  </a:lnTo>
                  <a:lnTo>
                    <a:pt x="9525" y="25400"/>
                  </a:lnTo>
                  <a:lnTo>
                    <a:pt x="12700" y="25400"/>
                  </a:lnTo>
                  <a:lnTo>
                    <a:pt x="12700" y="22225"/>
                  </a:lnTo>
                  <a:lnTo>
                    <a:pt x="22225" y="12700"/>
                  </a:lnTo>
                  <a:lnTo>
                    <a:pt x="34925" y="9525"/>
                  </a:lnTo>
                  <a:lnTo>
                    <a:pt x="44450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" name="Google Shape;628;p35">
              <a:extLst>
                <a:ext uri="{FF2B5EF4-FFF2-40B4-BE49-F238E27FC236}">
                  <a16:creationId xmlns:a16="http://schemas.microsoft.com/office/drawing/2014/main" id="{E6621859-5101-CE4C-42E0-F9B74BAEF0E5}"/>
                </a:ext>
              </a:extLst>
            </p:cNvPr>
            <p:cNvSpPr/>
            <p:nvPr/>
          </p:nvSpPr>
          <p:spPr>
            <a:xfrm>
              <a:off x="8154431" y="4358720"/>
              <a:ext cx="182880" cy="254318"/>
            </a:xfrm>
            <a:custGeom>
              <a:avLst/>
              <a:gdLst/>
              <a:ahLst/>
              <a:cxnLst/>
              <a:rect l="l" t="t" r="r" b="b"/>
              <a:pathLst>
                <a:path w="203200" h="282575" extrusionOk="0">
                  <a:moveTo>
                    <a:pt x="82550" y="273050"/>
                  </a:moveTo>
                  <a:lnTo>
                    <a:pt x="85725" y="273050"/>
                  </a:lnTo>
                  <a:lnTo>
                    <a:pt x="88900" y="273050"/>
                  </a:lnTo>
                  <a:lnTo>
                    <a:pt x="88900" y="276225"/>
                  </a:lnTo>
                  <a:lnTo>
                    <a:pt x="79375" y="276225"/>
                  </a:lnTo>
                  <a:close/>
                  <a:moveTo>
                    <a:pt x="104775" y="257175"/>
                  </a:moveTo>
                  <a:lnTo>
                    <a:pt x="107950" y="260350"/>
                  </a:lnTo>
                  <a:lnTo>
                    <a:pt x="101600" y="266700"/>
                  </a:lnTo>
                  <a:lnTo>
                    <a:pt x="98425" y="260350"/>
                  </a:lnTo>
                  <a:close/>
                  <a:moveTo>
                    <a:pt x="177800" y="193675"/>
                  </a:moveTo>
                  <a:lnTo>
                    <a:pt x="180975" y="193675"/>
                  </a:lnTo>
                  <a:lnTo>
                    <a:pt x="184150" y="196850"/>
                  </a:lnTo>
                  <a:lnTo>
                    <a:pt x="190500" y="203200"/>
                  </a:lnTo>
                  <a:lnTo>
                    <a:pt x="193675" y="203200"/>
                  </a:lnTo>
                  <a:lnTo>
                    <a:pt x="203200" y="238125"/>
                  </a:lnTo>
                  <a:lnTo>
                    <a:pt x="203200" y="247650"/>
                  </a:lnTo>
                  <a:lnTo>
                    <a:pt x="196850" y="254000"/>
                  </a:lnTo>
                  <a:lnTo>
                    <a:pt x="193675" y="260350"/>
                  </a:lnTo>
                  <a:lnTo>
                    <a:pt x="190500" y="257175"/>
                  </a:lnTo>
                  <a:lnTo>
                    <a:pt x="184150" y="247650"/>
                  </a:lnTo>
                  <a:lnTo>
                    <a:pt x="180975" y="247650"/>
                  </a:lnTo>
                  <a:lnTo>
                    <a:pt x="177800" y="254000"/>
                  </a:lnTo>
                  <a:lnTo>
                    <a:pt x="177800" y="260350"/>
                  </a:lnTo>
                  <a:lnTo>
                    <a:pt x="177800" y="263525"/>
                  </a:lnTo>
                  <a:lnTo>
                    <a:pt x="180975" y="266700"/>
                  </a:lnTo>
                  <a:lnTo>
                    <a:pt x="180975" y="276225"/>
                  </a:lnTo>
                  <a:lnTo>
                    <a:pt x="174625" y="282575"/>
                  </a:lnTo>
                  <a:lnTo>
                    <a:pt x="171450" y="279400"/>
                  </a:lnTo>
                  <a:lnTo>
                    <a:pt x="168275" y="276225"/>
                  </a:lnTo>
                  <a:lnTo>
                    <a:pt x="158750" y="273050"/>
                  </a:lnTo>
                  <a:lnTo>
                    <a:pt x="149225" y="266700"/>
                  </a:lnTo>
                  <a:lnTo>
                    <a:pt x="146050" y="257175"/>
                  </a:lnTo>
                  <a:lnTo>
                    <a:pt x="149225" y="247650"/>
                  </a:lnTo>
                  <a:lnTo>
                    <a:pt x="139700" y="234950"/>
                  </a:lnTo>
                  <a:lnTo>
                    <a:pt x="133350" y="234950"/>
                  </a:lnTo>
                  <a:lnTo>
                    <a:pt x="133350" y="244475"/>
                  </a:lnTo>
                  <a:lnTo>
                    <a:pt x="120650" y="241300"/>
                  </a:lnTo>
                  <a:lnTo>
                    <a:pt x="117475" y="234950"/>
                  </a:lnTo>
                  <a:lnTo>
                    <a:pt x="114300" y="238125"/>
                  </a:lnTo>
                  <a:lnTo>
                    <a:pt x="111125" y="241300"/>
                  </a:lnTo>
                  <a:lnTo>
                    <a:pt x="104775" y="254000"/>
                  </a:lnTo>
                  <a:lnTo>
                    <a:pt x="101600" y="250825"/>
                  </a:lnTo>
                  <a:lnTo>
                    <a:pt x="104775" y="238125"/>
                  </a:lnTo>
                  <a:lnTo>
                    <a:pt x="107950" y="231775"/>
                  </a:lnTo>
                  <a:lnTo>
                    <a:pt x="133350" y="215900"/>
                  </a:lnTo>
                  <a:lnTo>
                    <a:pt x="142875" y="222250"/>
                  </a:lnTo>
                  <a:lnTo>
                    <a:pt x="142875" y="225425"/>
                  </a:lnTo>
                  <a:lnTo>
                    <a:pt x="142875" y="228600"/>
                  </a:lnTo>
                  <a:lnTo>
                    <a:pt x="149225" y="225425"/>
                  </a:lnTo>
                  <a:lnTo>
                    <a:pt x="152400" y="225425"/>
                  </a:lnTo>
                  <a:lnTo>
                    <a:pt x="152400" y="222250"/>
                  </a:lnTo>
                  <a:lnTo>
                    <a:pt x="155575" y="219075"/>
                  </a:lnTo>
                  <a:lnTo>
                    <a:pt x="161925" y="219075"/>
                  </a:lnTo>
                  <a:lnTo>
                    <a:pt x="161925" y="215900"/>
                  </a:lnTo>
                  <a:lnTo>
                    <a:pt x="168275" y="212725"/>
                  </a:lnTo>
                  <a:lnTo>
                    <a:pt x="174625" y="209550"/>
                  </a:lnTo>
                  <a:lnTo>
                    <a:pt x="177800" y="203200"/>
                  </a:lnTo>
                  <a:close/>
                  <a:moveTo>
                    <a:pt x="190500" y="187325"/>
                  </a:moveTo>
                  <a:lnTo>
                    <a:pt x="193675" y="190500"/>
                  </a:lnTo>
                  <a:lnTo>
                    <a:pt x="190500" y="190500"/>
                  </a:lnTo>
                  <a:close/>
                  <a:moveTo>
                    <a:pt x="155575" y="184150"/>
                  </a:moveTo>
                  <a:lnTo>
                    <a:pt x="158750" y="190500"/>
                  </a:lnTo>
                  <a:lnTo>
                    <a:pt x="155575" y="193675"/>
                  </a:lnTo>
                  <a:lnTo>
                    <a:pt x="146050" y="196850"/>
                  </a:lnTo>
                  <a:lnTo>
                    <a:pt x="142875" y="187325"/>
                  </a:lnTo>
                  <a:close/>
                  <a:moveTo>
                    <a:pt x="180975" y="177800"/>
                  </a:moveTo>
                  <a:lnTo>
                    <a:pt x="180975" y="180975"/>
                  </a:lnTo>
                  <a:lnTo>
                    <a:pt x="180975" y="184150"/>
                  </a:lnTo>
                  <a:lnTo>
                    <a:pt x="184150" y="190500"/>
                  </a:lnTo>
                  <a:lnTo>
                    <a:pt x="177800" y="184150"/>
                  </a:lnTo>
                  <a:close/>
                  <a:moveTo>
                    <a:pt x="130175" y="165100"/>
                  </a:moveTo>
                  <a:lnTo>
                    <a:pt x="136525" y="168275"/>
                  </a:lnTo>
                  <a:lnTo>
                    <a:pt x="133350" y="177800"/>
                  </a:lnTo>
                  <a:lnTo>
                    <a:pt x="127000" y="190500"/>
                  </a:lnTo>
                  <a:lnTo>
                    <a:pt x="127000" y="196850"/>
                  </a:lnTo>
                  <a:lnTo>
                    <a:pt x="130175" y="203200"/>
                  </a:lnTo>
                  <a:lnTo>
                    <a:pt x="123825" y="206375"/>
                  </a:lnTo>
                  <a:lnTo>
                    <a:pt x="117475" y="200025"/>
                  </a:lnTo>
                  <a:lnTo>
                    <a:pt x="111125" y="193675"/>
                  </a:lnTo>
                  <a:lnTo>
                    <a:pt x="114300" y="187325"/>
                  </a:lnTo>
                  <a:lnTo>
                    <a:pt x="117475" y="187325"/>
                  </a:lnTo>
                  <a:lnTo>
                    <a:pt x="120650" y="187325"/>
                  </a:lnTo>
                  <a:lnTo>
                    <a:pt x="120650" y="180975"/>
                  </a:lnTo>
                  <a:lnTo>
                    <a:pt x="123825" y="171450"/>
                  </a:lnTo>
                  <a:close/>
                  <a:moveTo>
                    <a:pt x="146050" y="161925"/>
                  </a:moveTo>
                  <a:lnTo>
                    <a:pt x="146050" y="180975"/>
                  </a:lnTo>
                  <a:lnTo>
                    <a:pt x="130175" y="200025"/>
                  </a:lnTo>
                  <a:lnTo>
                    <a:pt x="133350" y="190500"/>
                  </a:lnTo>
                  <a:lnTo>
                    <a:pt x="136525" y="180975"/>
                  </a:lnTo>
                  <a:close/>
                  <a:moveTo>
                    <a:pt x="47625" y="155575"/>
                  </a:moveTo>
                  <a:lnTo>
                    <a:pt x="50800" y="161925"/>
                  </a:lnTo>
                  <a:lnTo>
                    <a:pt x="50800" y="177800"/>
                  </a:lnTo>
                  <a:lnTo>
                    <a:pt x="44450" y="180975"/>
                  </a:lnTo>
                  <a:lnTo>
                    <a:pt x="31750" y="196850"/>
                  </a:lnTo>
                  <a:lnTo>
                    <a:pt x="15875" y="212725"/>
                  </a:lnTo>
                  <a:lnTo>
                    <a:pt x="3175" y="219075"/>
                  </a:lnTo>
                  <a:lnTo>
                    <a:pt x="0" y="222250"/>
                  </a:lnTo>
                  <a:lnTo>
                    <a:pt x="12700" y="203200"/>
                  </a:lnTo>
                  <a:lnTo>
                    <a:pt x="15875" y="203200"/>
                  </a:lnTo>
                  <a:lnTo>
                    <a:pt x="22225" y="200025"/>
                  </a:lnTo>
                  <a:lnTo>
                    <a:pt x="28575" y="190500"/>
                  </a:lnTo>
                  <a:lnTo>
                    <a:pt x="38100" y="180975"/>
                  </a:lnTo>
                  <a:lnTo>
                    <a:pt x="47625" y="171450"/>
                  </a:lnTo>
                  <a:lnTo>
                    <a:pt x="44450" y="165100"/>
                  </a:lnTo>
                  <a:lnTo>
                    <a:pt x="47625" y="158750"/>
                  </a:lnTo>
                  <a:close/>
                  <a:moveTo>
                    <a:pt x="152400" y="152400"/>
                  </a:moveTo>
                  <a:lnTo>
                    <a:pt x="161925" y="155575"/>
                  </a:lnTo>
                  <a:lnTo>
                    <a:pt x="168275" y="165100"/>
                  </a:lnTo>
                  <a:lnTo>
                    <a:pt x="171450" y="177800"/>
                  </a:lnTo>
                  <a:lnTo>
                    <a:pt x="171450" y="180975"/>
                  </a:lnTo>
                  <a:lnTo>
                    <a:pt x="168275" y="187325"/>
                  </a:lnTo>
                  <a:lnTo>
                    <a:pt x="165100" y="184150"/>
                  </a:lnTo>
                  <a:lnTo>
                    <a:pt x="161925" y="180975"/>
                  </a:lnTo>
                  <a:lnTo>
                    <a:pt x="155575" y="168275"/>
                  </a:lnTo>
                  <a:lnTo>
                    <a:pt x="152400" y="158750"/>
                  </a:lnTo>
                  <a:close/>
                  <a:moveTo>
                    <a:pt x="101600" y="146050"/>
                  </a:moveTo>
                  <a:lnTo>
                    <a:pt x="107950" y="149225"/>
                  </a:lnTo>
                  <a:lnTo>
                    <a:pt x="111125" y="149225"/>
                  </a:lnTo>
                  <a:lnTo>
                    <a:pt x="123825" y="152400"/>
                  </a:lnTo>
                  <a:lnTo>
                    <a:pt x="127000" y="155575"/>
                  </a:lnTo>
                  <a:lnTo>
                    <a:pt x="127000" y="161925"/>
                  </a:lnTo>
                  <a:lnTo>
                    <a:pt x="117475" y="171450"/>
                  </a:lnTo>
                  <a:lnTo>
                    <a:pt x="101600" y="177800"/>
                  </a:lnTo>
                  <a:lnTo>
                    <a:pt x="101600" y="171450"/>
                  </a:lnTo>
                  <a:lnTo>
                    <a:pt x="104775" y="155575"/>
                  </a:lnTo>
                  <a:lnTo>
                    <a:pt x="101600" y="149225"/>
                  </a:lnTo>
                  <a:lnTo>
                    <a:pt x="98425" y="149225"/>
                  </a:lnTo>
                  <a:close/>
                  <a:moveTo>
                    <a:pt x="57150" y="136525"/>
                  </a:moveTo>
                  <a:lnTo>
                    <a:pt x="66675" y="139700"/>
                  </a:lnTo>
                  <a:lnTo>
                    <a:pt x="66675" y="142875"/>
                  </a:lnTo>
                  <a:lnTo>
                    <a:pt x="57150" y="142875"/>
                  </a:lnTo>
                  <a:close/>
                  <a:moveTo>
                    <a:pt x="152400" y="130175"/>
                  </a:moveTo>
                  <a:lnTo>
                    <a:pt x="165100" y="133350"/>
                  </a:lnTo>
                  <a:lnTo>
                    <a:pt x="174625" y="136525"/>
                  </a:lnTo>
                  <a:lnTo>
                    <a:pt x="177800" y="136525"/>
                  </a:lnTo>
                  <a:lnTo>
                    <a:pt x="177800" y="139700"/>
                  </a:lnTo>
                  <a:lnTo>
                    <a:pt x="177800" y="149225"/>
                  </a:lnTo>
                  <a:lnTo>
                    <a:pt x="184150" y="165100"/>
                  </a:lnTo>
                  <a:lnTo>
                    <a:pt x="174625" y="161925"/>
                  </a:lnTo>
                  <a:lnTo>
                    <a:pt x="171450" y="161925"/>
                  </a:lnTo>
                  <a:lnTo>
                    <a:pt x="165100" y="155575"/>
                  </a:lnTo>
                  <a:lnTo>
                    <a:pt x="165100" y="149225"/>
                  </a:lnTo>
                  <a:lnTo>
                    <a:pt x="155575" y="139700"/>
                  </a:lnTo>
                  <a:close/>
                  <a:moveTo>
                    <a:pt x="130175" y="130175"/>
                  </a:moveTo>
                  <a:lnTo>
                    <a:pt x="142875" y="136525"/>
                  </a:lnTo>
                  <a:lnTo>
                    <a:pt x="146050" y="142875"/>
                  </a:lnTo>
                  <a:lnTo>
                    <a:pt x="146050" y="149225"/>
                  </a:lnTo>
                  <a:lnTo>
                    <a:pt x="133350" y="139700"/>
                  </a:lnTo>
                  <a:lnTo>
                    <a:pt x="130175" y="133350"/>
                  </a:lnTo>
                  <a:close/>
                  <a:moveTo>
                    <a:pt x="66675" y="111125"/>
                  </a:moveTo>
                  <a:lnTo>
                    <a:pt x="73025" y="111125"/>
                  </a:lnTo>
                  <a:lnTo>
                    <a:pt x="85725" y="114300"/>
                  </a:lnTo>
                  <a:lnTo>
                    <a:pt x="92075" y="117475"/>
                  </a:lnTo>
                  <a:lnTo>
                    <a:pt x="92075" y="123825"/>
                  </a:lnTo>
                  <a:lnTo>
                    <a:pt x="88900" y="136525"/>
                  </a:lnTo>
                  <a:lnTo>
                    <a:pt x="85725" y="139700"/>
                  </a:lnTo>
                  <a:lnTo>
                    <a:pt x="79375" y="133350"/>
                  </a:lnTo>
                  <a:lnTo>
                    <a:pt x="76200" y="123825"/>
                  </a:lnTo>
                  <a:lnTo>
                    <a:pt x="73025" y="117475"/>
                  </a:lnTo>
                  <a:lnTo>
                    <a:pt x="69850" y="117475"/>
                  </a:lnTo>
                  <a:close/>
                  <a:moveTo>
                    <a:pt x="149225" y="98425"/>
                  </a:moveTo>
                  <a:lnTo>
                    <a:pt x="152400" y="98425"/>
                  </a:lnTo>
                  <a:lnTo>
                    <a:pt x="155575" y="101600"/>
                  </a:lnTo>
                  <a:lnTo>
                    <a:pt x="152400" y="107950"/>
                  </a:lnTo>
                  <a:lnTo>
                    <a:pt x="146050" y="107950"/>
                  </a:lnTo>
                  <a:lnTo>
                    <a:pt x="149225" y="104775"/>
                  </a:lnTo>
                  <a:lnTo>
                    <a:pt x="149225" y="101600"/>
                  </a:lnTo>
                  <a:close/>
                  <a:moveTo>
                    <a:pt x="73025" y="0"/>
                  </a:moveTo>
                  <a:lnTo>
                    <a:pt x="95250" y="3175"/>
                  </a:lnTo>
                  <a:lnTo>
                    <a:pt x="101600" y="3175"/>
                  </a:lnTo>
                  <a:lnTo>
                    <a:pt x="104775" y="15875"/>
                  </a:lnTo>
                  <a:lnTo>
                    <a:pt x="107950" y="22225"/>
                  </a:lnTo>
                  <a:lnTo>
                    <a:pt x="107950" y="25400"/>
                  </a:lnTo>
                  <a:lnTo>
                    <a:pt x="114300" y="31750"/>
                  </a:lnTo>
                  <a:lnTo>
                    <a:pt x="111125" y="38100"/>
                  </a:lnTo>
                  <a:lnTo>
                    <a:pt x="104775" y="50800"/>
                  </a:lnTo>
                  <a:lnTo>
                    <a:pt x="95250" y="57150"/>
                  </a:lnTo>
                  <a:lnTo>
                    <a:pt x="92075" y="66675"/>
                  </a:lnTo>
                  <a:lnTo>
                    <a:pt x="92075" y="79375"/>
                  </a:lnTo>
                  <a:lnTo>
                    <a:pt x="95250" y="92075"/>
                  </a:lnTo>
                  <a:lnTo>
                    <a:pt x="101600" y="98425"/>
                  </a:lnTo>
                  <a:lnTo>
                    <a:pt x="107950" y="98425"/>
                  </a:lnTo>
                  <a:lnTo>
                    <a:pt x="107950" y="95250"/>
                  </a:lnTo>
                  <a:lnTo>
                    <a:pt x="114300" y="92075"/>
                  </a:lnTo>
                  <a:lnTo>
                    <a:pt x="123825" y="98425"/>
                  </a:lnTo>
                  <a:lnTo>
                    <a:pt x="133350" y="101600"/>
                  </a:lnTo>
                  <a:lnTo>
                    <a:pt x="139700" y="101600"/>
                  </a:lnTo>
                  <a:lnTo>
                    <a:pt x="142875" y="104775"/>
                  </a:lnTo>
                  <a:lnTo>
                    <a:pt x="142875" y="114300"/>
                  </a:lnTo>
                  <a:lnTo>
                    <a:pt x="139700" y="117475"/>
                  </a:lnTo>
                  <a:lnTo>
                    <a:pt x="149225" y="120650"/>
                  </a:lnTo>
                  <a:lnTo>
                    <a:pt x="149225" y="130175"/>
                  </a:lnTo>
                  <a:lnTo>
                    <a:pt x="139700" y="123825"/>
                  </a:lnTo>
                  <a:lnTo>
                    <a:pt x="133350" y="117475"/>
                  </a:lnTo>
                  <a:lnTo>
                    <a:pt x="127000" y="111125"/>
                  </a:lnTo>
                  <a:lnTo>
                    <a:pt x="114300" y="101600"/>
                  </a:lnTo>
                  <a:lnTo>
                    <a:pt x="111125" y="101600"/>
                  </a:lnTo>
                  <a:lnTo>
                    <a:pt x="114300" y="107950"/>
                  </a:lnTo>
                  <a:lnTo>
                    <a:pt x="107950" y="107950"/>
                  </a:lnTo>
                  <a:lnTo>
                    <a:pt x="104775" y="104775"/>
                  </a:lnTo>
                  <a:lnTo>
                    <a:pt x="95250" y="101600"/>
                  </a:lnTo>
                  <a:lnTo>
                    <a:pt x="92075" y="101600"/>
                  </a:lnTo>
                  <a:lnTo>
                    <a:pt x="92075" y="104775"/>
                  </a:lnTo>
                  <a:lnTo>
                    <a:pt x="85725" y="104775"/>
                  </a:lnTo>
                  <a:lnTo>
                    <a:pt x="79375" y="104775"/>
                  </a:lnTo>
                  <a:lnTo>
                    <a:pt x="79375" y="101600"/>
                  </a:lnTo>
                  <a:lnTo>
                    <a:pt x="73025" y="101600"/>
                  </a:lnTo>
                  <a:lnTo>
                    <a:pt x="73025" y="95250"/>
                  </a:lnTo>
                  <a:lnTo>
                    <a:pt x="79375" y="88900"/>
                  </a:lnTo>
                  <a:lnTo>
                    <a:pt x="79375" y="85725"/>
                  </a:lnTo>
                  <a:lnTo>
                    <a:pt x="73025" y="82550"/>
                  </a:lnTo>
                  <a:lnTo>
                    <a:pt x="73025" y="88900"/>
                  </a:lnTo>
                  <a:lnTo>
                    <a:pt x="69850" y="88900"/>
                  </a:lnTo>
                  <a:lnTo>
                    <a:pt x="63500" y="82550"/>
                  </a:lnTo>
                  <a:lnTo>
                    <a:pt x="60325" y="66675"/>
                  </a:lnTo>
                  <a:lnTo>
                    <a:pt x="53975" y="50800"/>
                  </a:lnTo>
                  <a:lnTo>
                    <a:pt x="57150" y="47625"/>
                  </a:lnTo>
                  <a:lnTo>
                    <a:pt x="57150" y="50800"/>
                  </a:lnTo>
                  <a:lnTo>
                    <a:pt x="66675" y="53975"/>
                  </a:lnTo>
                  <a:lnTo>
                    <a:pt x="69850" y="41275"/>
                  </a:lnTo>
                  <a:lnTo>
                    <a:pt x="69850" y="28575"/>
                  </a:lnTo>
                  <a:lnTo>
                    <a:pt x="66675" y="15875"/>
                  </a:lnTo>
                  <a:lnTo>
                    <a:pt x="6985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" name="Google Shape;629;p35">
              <a:extLst>
                <a:ext uri="{FF2B5EF4-FFF2-40B4-BE49-F238E27FC236}">
                  <a16:creationId xmlns:a16="http://schemas.microsoft.com/office/drawing/2014/main" id="{38A9594B-0A7F-7E84-4534-6E3C7C3A12CE}"/>
                </a:ext>
              </a:extLst>
            </p:cNvPr>
            <p:cNvSpPr/>
            <p:nvPr/>
          </p:nvSpPr>
          <p:spPr>
            <a:xfrm>
              <a:off x="8005842" y="4590177"/>
              <a:ext cx="188595" cy="114300"/>
            </a:xfrm>
            <a:custGeom>
              <a:avLst/>
              <a:gdLst/>
              <a:ahLst/>
              <a:cxnLst/>
              <a:rect l="l" t="t" r="r" b="b"/>
              <a:pathLst>
                <a:path w="132" h="80" extrusionOk="0">
                  <a:moveTo>
                    <a:pt x="2" y="70"/>
                  </a:moveTo>
                  <a:lnTo>
                    <a:pt x="8" y="76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8" y="78"/>
                  </a:lnTo>
                  <a:lnTo>
                    <a:pt x="22" y="78"/>
                  </a:lnTo>
                  <a:lnTo>
                    <a:pt x="26" y="78"/>
                  </a:lnTo>
                  <a:lnTo>
                    <a:pt x="30" y="78"/>
                  </a:lnTo>
                  <a:lnTo>
                    <a:pt x="34" y="76"/>
                  </a:lnTo>
                  <a:lnTo>
                    <a:pt x="36" y="72"/>
                  </a:lnTo>
                  <a:lnTo>
                    <a:pt x="44" y="70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54" y="74"/>
                  </a:lnTo>
                  <a:lnTo>
                    <a:pt x="58" y="72"/>
                  </a:lnTo>
                  <a:lnTo>
                    <a:pt x="62" y="72"/>
                  </a:lnTo>
                  <a:lnTo>
                    <a:pt x="68" y="72"/>
                  </a:lnTo>
                  <a:lnTo>
                    <a:pt x="70" y="68"/>
                  </a:lnTo>
                  <a:lnTo>
                    <a:pt x="72" y="64"/>
                  </a:lnTo>
                  <a:lnTo>
                    <a:pt x="70" y="62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0"/>
                  </a:lnTo>
                  <a:lnTo>
                    <a:pt x="82" y="40"/>
                  </a:lnTo>
                  <a:lnTo>
                    <a:pt x="86" y="32"/>
                  </a:lnTo>
                  <a:lnTo>
                    <a:pt x="98" y="32"/>
                  </a:lnTo>
                  <a:lnTo>
                    <a:pt x="104" y="34"/>
                  </a:lnTo>
                  <a:lnTo>
                    <a:pt x="108" y="36"/>
                  </a:lnTo>
                  <a:lnTo>
                    <a:pt x="110" y="32"/>
                  </a:lnTo>
                  <a:lnTo>
                    <a:pt x="116" y="34"/>
                  </a:lnTo>
                  <a:lnTo>
                    <a:pt x="120" y="34"/>
                  </a:lnTo>
                  <a:lnTo>
                    <a:pt x="122" y="30"/>
                  </a:lnTo>
                  <a:lnTo>
                    <a:pt x="116" y="26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8" y="24"/>
                  </a:lnTo>
                  <a:lnTo>
                    <a:pt x="132" y="20"/>
                  </a:lnTo>
                  <a:lnTo>
                    <a:pt x="126" y="16"/>
                  </a:lnTo>
                  <a:lnTo>
                    <a:pt x="118" y="12"/>
                  </a:lnTo>
                  <a:lnTo>
                    <a:pt x="112" y="12"/>
                  </a:lnTo>
                  <a:lnTo>
                    <a:pt x="110" y="8"/>
                  </a:lnTo>
                  <a:lnTo>
                    <a:pt x="110" y="4"/>
                  </a:lnTo>
                  <a:lnTo>
                    <a:pt x="108" y="4"/>
                  </a:lnTo>
                  <a:lnTo>
                    <a:pt x="98" y="0"/>
                  </a:lnTo>
                  <a:lnTo>
                    <a:pt x="92" y="4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2" y="16"/>
                  </a:lnTo>
                  <a:lnTo>
                    <a:pt x="80" y="18"/>
                  </a:lnTo>
                  <a:lnTo>
                    <a:pt x="78" y="20"/>
                  </a:lnTo>
                  <a:lnTo>
                    <a:pt x="82" y="22"/>
                  </a:lnTo>
                  <a:lnTo>
                    <a:pt x="76" y="26"/>
                  </a:lnTo>
                  <a:lnTo>
                    <a:pt x="78" y="32"/>
                  </a:lnTo>
                  <a:lnTo>
                    <a:pt x="76" y="32"/>
                  </a:lnTo>
                  <a:lnTo>
                    <a:pt x="74" y="28"/>
                  </a:lnTo>
                  <a:lnTo>
                    <a:pt x="70" y="28"/>
                  </a:lnTo>
                  <a:lnTo>
                    <a:pt x="72" y="34"/>
                  </a:lnTo>
                  <a:lnTo>
                    <a:pt x="68" y="38"/>
                  </a:lnTo>
                  <a:lnTo>
                    <a:pt x="64" y="32"/>
                  </a:lnTo>
                  <a:lnTo>
                    <a:pt x="62" y="30"/>
                  </a:lnTo>
                  <a:lnTo>
                    <a:pt x="54" y="40"/>
                  </a:lnTo>
                  <a:lnTo>
                    <a:pt x="48" y="48"/>
                  </a:lnTo>
                  <a:lnTo>
                    <a:pt x="42" y="50"/>
                  </a:lnTo>
                  <a:lnTo>
                    <a:pt x="34" y="52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2" y="58"/>
                  </a:lnTo>
                  <a:lnTo>
                    <a:pt x="22" y="64"/>
                  </a:lnTo>
                  <a:lnTo>
                    <a:pt x="20" y="70"/>
                  </a:lnTo>
                  <a:lnTo>
                    <a:pt x="22" y="72"/>
                  </a:lnTo>
                  <a:lnTo>
                    <a:pt x="8" y="68"/>
                  </a:lnTo>
                  <a:lnTo>
                    <a:pt x="6" y="68"/>
                  </a:lnTo>
                  <a:lnTo>
                    <a:pt x="2" y="68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7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9" name="Google Shape;630;p35">
              <a:extLst>
                <a:ext uri="{FF2B5EF4-FFF2-40B4-BE49-F238E27FC236}">
                  <a16:creationId xmlns:a16="http://schemas.microsoft.com/office/drawing/2014/main" id="{F4EF8DE5-D5BD-18DE-8DA6-D0F9AA5CC86D}"/>
                </a:ext>
              </a:extLst>
            </p:cNvPr>
            <p:cNvSpPr/>
            <p:nvPr/>
          </p:nvSpPr>
          <p:spPr>
            <a:xfrm>
              <a:off x="8094425" y="4627325"/>
              <a:ext cx="22860" cy="17145"/>
            </a:xfrm>
            <a:custGeom>
              <a:avLst/>
              <a:gdLst/>
              <a:ahLst/>
              <a:cxnLst/>
              <a:rect l="l" t="t" r="r" b="b"/>
              <a:pathLst>
                <a:path w="16" h="12" extrusionOk="0">
                  <a:moveTo>
                    <a:pt x="6" y="12"/>
                  </a:moveTo>
                  <a:lnTo>
                    <a:pt x="10" y="8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4" y="0"/>
                  </a:lnTo>
                  <a:lnTo>
                    <a:pt x="6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0" name="Google Shape;631;p35">
              <a:extLst>
                <a:ext uri="{FF2B5EF4-FFF2-40B4-BE49-F238E27FC236}">
                  <a16:creationId xmlns:a16="http://schemas.microsoft.com/office/drawing/2014/main" id="{9CF00E56-043B-8969-3FB0-6342581B4AE4}"/>
                </a:ext>
              </a:extLst>
            </p:cNvPr>
            <p:cNvSpPr/>
            <p:nvPr/>
          </p:nvSpPr>
          <p:spPr>
            <a:xfrm>
              <a:off x="7674371" y="4458730"/>
              <a:ext cx="942976" cy="474345"/>
            </a:xfrm>
            <a:custGeom>
              <a:avLst/>
              <a:gdLst/>
              <a:ahLst/>
              <a:cxnLst/>
              <a:rect l="l" t="t" r="r" b="b"/>
              <a:pathLst>
                <a:path w="1047751" h="527050" extrusionOk="0">
                  <a:moveTo>
                    <a:pt x="663575" y="517525"/>
                  </a:moveTo>
                  <a:lnTo>
                    <a:pt x="666750" y="517525"/>
                  </a:lnTo>
                  <a:lnTo>
                    <a:pt x="666750" y="520700"/>
                  </a:lnTo>
                  <a:lnTo>
                    <a:pt x="657225" y="527050"/>
                  </a:lnTo>
                  <a:lnTo>
                    <a:pt x="654050" y="527050"/>
                  </a:lnTo>
                  <a:lnTo>
                    <a:pt x="654050" y="523875"/>
                  </a:lnTo>
                  <a:close/>
                  <a:moveTo>
                    <a:pt x="577850" y="492125"/>
                  </a:moveTo>
                  <a:lnTo>
                    <a:pt x="584200" y="492125"/>
                  </a:lnTo>
                  <a:lnTo>
                    <a:pt x="590550" y="492125"/>
                  </a:lnTo>
                  <a:lnTo>
                    <a:pt x="603250" y="498475"/>
                  </a:lnTo>
                  <a:lnTo>
                    <a:pt x="609600" y="508000"/>
                  </a:lnTo>
                  <a:lnTo>
                    <a:pt x="603250" y="514350"/>
                  </a:lnTo>
                  <a:lnTo>
                    <a:pt x="593725" y="511175"/>
                  </a:lnTo>
                  <a:lnTo>
                    <a:pt x="590550" y="504825"/>
                  </a:lnTo>
                  <a:lnTo>
                    <a:pt x="584200" y="501650"/>
                  </a:lnTo>
                  <a:lnTo>
                    <a:pt x="571500" y="501650"/>
                  </a:lnTo>
                  <a:lnTo>
                    <a:pt x="571500" y="495300"/>
                  </a:lnTo>
                  <a:close/>
                  <a:moveTo>
                    <a:pt x="698501" y="485776"/>
                  </a:moveTo>
                  <a:lnTo>
                    <a:pt x="704851" y="495301"/>
                  </a:lnTo>
                  <a:lnTo>
                    <a:pt x="701676" y="498476"/>
                  </a:lnTo>
                  <a:lnTo>
                    <a:pt x="695326" y="504826"/>
                  </a:lnTo>
                  <a:lnTo>
                    <a:pt x="685801" y="511176"/>
                  </a:lnTo>
                  <a:lnTo>
                    <a:pt x="669926" y="514351"/>
                  </a:lnTo>
                  <a:lnTo>
                    <a:pt x="669926" y="511176"/>
                  </a:lnTo>
                  <a:lnTo>
                    <a:pt x="669926" y="504826"/>
                  </a:lnTo>
                  <a:lnTo>
                    <a:pt x="673101" y="498476"/>
                  </a:lnTo>
                  <a:lnTo>
                    <a:pt x="679451" y="492126"/>
                  </a:lnTo>
                  <a:lnTo>
                    <a:pt x="682626" y="495301"/>
                  </a:lnTo>
                  <a:lnTo>
                    <a:pt x="685801" y="495301"/>
                  </a:lnTo>
                  <a:lnTo>
                    <a:pt x="688976" y="488951"/>
                  </a:lnTo>
                  <a:close/>
                  <a:moveTo>
                    <a:pt x="666751" y="469901"/>
                  </a:moveTo>
                  <a:lnTo>
                    <a:pt x="673101" y="469901"/>
                  </a:lnTo>
                  <a:lnTo>
                    <a:pt x="669926" y="476251"/>
                  </a:lnTo>
                  <a:lnTo>
                    <a:pt x="663576" y="476251"/>
                  </a:lnTo>
                  <a:close/>
                  <a:moveTo>
                    <a:pt x="514350" y="469900"/>
                  </a:moveTo>
                  <a:lnTo>
                    <a:pt x="523875" y="473075"/>
                  </a:lnTo>
                  <a:lnTo>
                    <a:pt x="520700" y="479425"/>
                  </a:lnTo>
                  <a:lnTo>
                    <a:pt x="514350" y="482600"/>
                  </a:lnTo>
                  <a:lnTo>
                    <a:pt x="504825" y="479425"/>
                  </a:lnTo>
                  <a:close/>
                  <a:moveTo>
                    <a:pt x="688976" y="466726"/>
                  </a:moveTo>
                  <a:lnTo>
                    <a:pt x="695326" y="466726"/>
                  </a:lnTo>
                  <a:lnTo>
                    <a:pt x="701676" y="466726"/>
                  </a:lnTo>
                  <a:lnTo>
                    <a:pt x="704851" y="469901"/>
                  </a:lnTo>
                  <a:lnTo>
                    <a:pt x="701676" y="473076"/>
                  </a:lnTo>
                  <a:lnTo>
                    <a:pt x="692151" y="473076"/>
                  </a:lnTo>
                  <a:lnTo>
                    <a:pt x="685801" y="473076"/>
                  </a:lnTo>
                  <a:close/>
                  <a:moveTo>
                    <a:pt x="685801" y="466726"/>
                  </a:moveTo>
                  <a:lnTo>
                    <a:pt x="682626" y="473076"/>
                  </a:lnTo>
                  <a:lnTo>
                    <a:pt x="679451" y="476251"/>
                  </a:lnTo>
                  <a:lnTo>
                    <a:pt x="679451" y="469901"/>
                  </a:lnTo>
                  <a:close/>
                  <a:moveTo>
                    <a:pt x="657225" y="466725"/>
                  </a:moveTo>
                  <a:lnTo>
                    <a:pt x="657225" y="473075"/>
                  </a:lnTo>
                  <a:lnTo>
                    <a:pt x="654050" y="476250"/>
                  </a:lnTo>
                  <a:lnTo>
                    <a:pt x="644525" y="479425"/>
                  </a:lnTo>
                  <a:lnTo>
                    <a:pt x="631825" y="482600"/>
                  </a:lnTo>
                  <a:lnTo>
                    <a:pt x="615950" y="485775"/>
                  </a:lnTo>
                  <a:lnTo>
                    <a:pt x="606425" y="482600"/>
                  </a:lnTo>
                  <a:lnTo>
                    <a:pt x="593725" y="482600"/>
                  </a:lnTo>
                  <a:lnTo>
                    <a:pt x="587375" y="476250"/>
                  </a:lnTo>
                  <a:lnTo>
                    <a:pt x="600075" y="469900"/>
                  </a:lnTo>
                  <a:lnTo>
                    <a:pt x="606425" y="469900"/>
                  </a:lnTo>
                  <a:lnTo>
                    <a:pt x="612775" y="469900"/>
                  </a:lnTo>
                  <a:lnTo>
                    <a:pt x="619125" y="473075"/>
                  </a:lnTo>
                  <a:lnTo>
                    <a:pt x="622300" y="476250"/>
                  </a:lnTo>
                  <a:lnTo>
                    <a:pt x="625475" y="476250"/>
                  </a:lnTo>
                  <a:lnTo>
                    <a:pt x="628650" y="473075"/>
                  </a:lnTo>
                  <a:lnTo>
                    <a:pt x="635000" y="473075"/>
                  </a:lnTo>
                  <a:lnTo>
                    <a:pt x="638175" y="476250"/>
                  </a:lnTo>
                  <a:lnTo>
                    <a:pt x="644525" y="476250"/>
                  </a:lnTo>
                  <a:lnTo>
                    <a:pt x="647700" y="476250"/>
                  </a:lnTo>
                  <a:lnTo>
                    <a:pt x="654050" y="469900"/>
                  </a:lnTo>
                  <a:close/>
                  <a:moveTo>
                    <a:pt x="549275" y="466725"/>
                  </a:moveTo>
                  <a:lnTo>
                    <a:pt x="555625" y="466725"/>
                  </a:lnTo>
                  <a:lnTo>
                    <a:pt x="571500" y="469900"/>
                  </a:lnTo>
                  <a:lnTo>
                    <a:pt x="571500" y="476250"/>
                  </a:lnTo>
                  <a:lnTo>
                    <a:pt x="574675" y="476250"/>
                  </a:lnTo>
                  <a:lnTo>
                    <a:pt x="571500" y="479425"/>
                  </a:lnTo>
                  <a:lnTo>
                    <a:pt x="568325" y="482600"/>
                  </a:lnTo>
                  <a:lnTo>
                    <a:pt x="558800" y="482600"/>
                  </a:lnTo>
                  <a:lnTo>
                    <a:pt x="533400" y="485775"/>
                  </a:lnTo>
                  <a:lnTo>
                    <a:pt x="527050" y="488950"/>
                  </a:lnTo>
                  <a:lnTo>
                    <a:pt x="523875" y="482600"/>
                  </a:lnTo>
                  <a:lnTo>
                    <a:pt x="527050" y="476250"/>
                  </a:lnTo>
                  <a:lnTo>
                    <a:pt x="533400" y="473075"/>
                  </a:lnTo>
                  <a:lnTo>
                    <a:pt x="542925" y="479425"/>
                  </a:lnTo>
                  <a:lnTo>
                    <a:pt x="552450" y="479425"/>
                  </a:lnTo>
                  <a:lnTo>
                    <a:pt x="552450" y="476250"/>
                  </a:lnTo>
                  <a:lnTo>
                    <a:pt x="549275" y="473075"/>
                  </a:lnTo>
                  <a:lnTo>
                    <a:pt x="546100" y="469900"/>
                  </a:lnTo>
                  <a:close/>
                  <a:moveTo>
                    <a:pt x="488950" y="463550"/>
                  </a:moveTo>
                  <a:lnTo>
                    <a:pt x="501650" y="473075"/>
                  </a:lnTo>
                  <a:lnTo>
                    <a:pt x="492125" y="479425"/>
                  </a:lnTo>
                  <a:lnTo>
                    <a:pt x="488950" y="479425"/>
                  </a:lnTo>
                  <a:lnTo>
                    <a:pt x="482600" y="476250"/>
                  </a:lnTo>
                  <a:lnTo>
                    <a:pt x="476250" y="469900"/>
                  </a:lnTo>
                  <a:lnTo>
                    <a:pt x="473075" y="466725"/>
                  </a:lnTo>
                  <a:lnTo>
                    <a:pt x="485775" y="466725"/>
                  </a:lnTo>
                  <a:close/>
                  <a:moveTo>
                    <a:pt x="733426" y="454026"/>
                  </a:moveTo>
                  <a:lnTo>
                    <a:pt x="739776" y="457201"/>
                  </a:lnTo>
                  <a:lnTo>
                    <a:pt x="736601" y="460376"/>
                  </a:lnTo>
                  <a:lnTo>
                    <a:pt x="720726" y="463551"/>
                  </a:lnTo>
                  <a:lnTo>
                    <a:pt x="720726" y="457201"/>
                  </a:lnTo>
                  <a:lnTo>
                    <a:pt x="730251" y="457201"/>
                  </a:lnTo>
                  <a:close/>
                  <a:moveTo>
                    <a:pt x="844551" y="444501"/>
                  </a:moveTo>
                  <a:lnTo>
                    <a:pt x="841376" y="457201"/>
                  </a:lnTo>
                  <a:lnTo>
                    <a:pt x="838201" y="463551"/>
                  </a:lnTo>
                  <a:lnTo>
                    <a:pt x="831851" y="463551"/>
                  </a:lnTo>
                  <a:lnTo>
                    <a:pt x="831851" y="460376"/>
                  </a:lnTo>
                  <a:lnTo>
                    <a:pt x="835026" y="457201"/>
                  </a:lnTo>
                  <a:close/>
                  <a:moveTo>
                    <a:pt x="441325" y="441325"/>
                  </a:moveTo>
                  <a:lnTo>
                    <a:pt x="454025" y="441325"/>
                  </a:lnTo>
                  <a:lnTo>
                    <a:pt x="463550" y="441325"/>
                  </a:lnTo>
                  <a:lnTo>
                    <a:pt x="463550" y="444500"/>
                  </a:lnTo>
                  <a:lnTo>
                    <a:pt x="444500" y="447675"/>
                  </a:lnTo>
                  <a:lnTo>
                    <a:pt x="434975" y="444500"/>
                  </a:lnTo>
                  <a:close/>
                  <a:moveTo>
                    <a:pt x="898526" y="425451"/>
                  </a:moveTo>
                  <a:lnTo>
                    <a:pt x="904876" y="431801"/>
                  </a:lnTo>
                  <a:lnTo>
                    <a:pt x="901701" y="441326"/>
                  </a:lnTo>
                  <a:lnTo>
                    <a:pt x="895351" y="434976"/>
                  </a:lnTo>
                  <a:close/>
                  <a:moveTo>
                    <a:pt x="292100" y="419100"/>
                  </a:moveTo>
                  <a:lnTo>
                    <a:pt x="307975" y="422275"/>
                  </a:lnTo>
                  <a:lnTo>
                    <a:pt x="320675" y="419100"/>
                  </a:lnTo>
                  <a:lnTo>
                    <a:pt x="327025" y="425450"/>
                  </a:lnTo>
                  <a:lnTo>
                    <a:pt x="336550" y="425450"/>
                  </a:lnTo>
                  <a:lnTo>
                    <a:pt x="339725" y="425450"/>
                  </a:lnTo>
                  <a:lnTo>
                    <a:pt x="342900" y="428625"/>
                  </a:lnTo>
                  <a:lnTo>
                    <a:pt x="346075" y="434975"/>
                  </a:lnTo>
                  <a:lnTo>
                    <a:pt x="352425" y="438150"/>
                  </a:lnTo>
                  <a:lnTo>
                    <a:pt x="368300" y="441325"/>
                  </a:lnTo>
                  <a:lnTo>
                    <a:pt x="384175" y="441325"/>
                  </a:lnTo>
                  <a:lnTo>
                    <a:pt x="390525" y="434975"/>
                  </a:lnTo>
                  <a:lnTo>
                    <a:pt x="393700" y="434975"/>
                  </a:lnTo>
                  <a:lnTo>
                    <a:pt x="400050" y="431800"/>
                  </a:lnTo>
                  <a:lnTo>
                    <a:pt x="415925" y="438150"/>
                  </a:lnTo>
                  <a:lnTo>
                    <a:pt x="425450" y="441325"/>
                  </a:lnTo>
                  <a:lnTo>
                    <a:pt x="431800" y="444500"/>
                  </a:lnTo>
                  <a:lnTo>
                    <a:pt x="434975" y="447675"/>
                  </a:lnTo>
                  <a:lnTo>
                    <a:pt x="438150" y="454025"/>
                  </a:lnTo>
                  <a:lnTo>
                    <a:pt x="447675" y="460375"/>
                  </a:lnTo>
                  <a:lnTo>
                    <a:pt x="454025" y="457200"/>
                  </a:lnTo>
                  <a:lnTo>
                    <a:pt x="463550" y="457200"/>
                  </a:lnTo>
                  <a:lnTo>
                    <a:pt x="473075" y="460375"/>
                  </a:lnTo>
                  <a:lnTo>
                    <a:pt x="473075" y="466725"/>
                  </a:lnTo>
                  <a:lnTo>
                    <a:pt x="473075" y="469900"/>
                  </a:lnTo>
                  <a:lnTo>
                    <a:pt x="473075" y="476250"/>
                  </a:lnTo>
                  <a:lnTo>
                    <a:pt x="476250" y="479425"/>
                  </a:lnTo>
                  <a:lnTo>
                    <a:pt x="469900" y="479425"/>
                  </a:lnTo>
                  <a:lnTo>
                    <a:pt x="444500" y="469900"/>
                  </a:lnTo>
                  <a:lnTo>
                    <a:pt x="441325" y="473075"/>
                  </a:lnTo>
                  <a:lnTo>
                    <a:pt x="434975" y="473075"/>
                  </a:lnTo>
                  <a:lnTo>
                    <a:pt x="428625" y="469900"/>
                  </a:lnTo>
                  <a:lnTo>
                    <a:pt x="419100" y="469900"/>
                  </a:lnTo>
                  <a:lnTo>
                    <a:pt x="409575" y="469900"/>
                  </a:lnTo>
                  <a:lnTo>
                    <a:pt x="393700" y="469900"/>
                  </a:lnTo>
                  <a:lnTo>
                    <a:pt x="384175" y="463550"/>
                  </a:lnTo>
                  <a:lnTo>
                    <a:pt x="368300" y="460375"/>
                  </a:lnTo>
                  <a:lnTo>
                    <a:pt x="358775" y="457200"/>
                  </a:lnTo>
                  <a:lnTo>
                    <a:pt x="349250" y="457200"/>
                  </a:lnTo>
                  <a:lnTo>
                    <a:pt x="346075" y="457200"/>
                  </a:lnTo>
                  <a:lnTo>
                    <a:pt x="346075" y="460375"/>
                  </a:lnTo>
                  <a:lnTo>
                    <a:pt x="339725" y="460375"/>
                  </a:lnTo>
                  <a:lnTo>
                    <a:pt x="327025" y="457200"/>
                  </a:lnTo>
                  <a:lnTo>
                    <a:pt x="314325" y="450850"/>
                  </a:lnTo>
                  <a:lnTo>
                    <a:pt x="298450" y="450850"/>
                  </a:lnTo>
                  <a:lnTo>
                    <a:pt x="298450" y="447675"/>
                  </a:lnTo>
                  <a:lnTo>
                    <a:pt x="298450" y="444500"/>
                  </a:lnTo>
                  <a:lnTo>
                    <a:pt x="292100" y="438150"/>
                  </a:lnTo>
                  <a:lnTo>
                    <a:pt x="285750" y="438150"/>
                  </a:lnTo>
                  <a:lnTo>
                    <a:pt x="279400" y="438150"/>
                  </a:lnTo>
                  <a:lnTo>
                    <a:pt x="285750" y="425450"/>
                  </a:lnTo>
                  <a:close/>
                  <a:moveTo>
                    <a:pt x="904876" y="409576"/>
                  </a:moveTo>
                  <a:lnTo>
                    <a:pt x="911226" y="419101"/>
                  </a:lnTo>
                  <a:lnTo>
                    <a:pt x="908051" y="428626"/>
                  </a:lnTo>
                  <a:lnTo>
                    <a:pt x="901701" y="425451"/>
                  </a:lnTo>
                  <a:lnTo>
                    <a:pt x="901701" y="422276"/>
                  </a:lnTo>
                  <a:lnTo>
                    <a:pt x="901701" y="415926"/>
                  </a:lnTo>
                  <a:close/>
                  <a:moveTo>
                    <a:pt x="650876" y="390526"/>
                  </a:moveTo>
                  <a:lnTo>
                    <a:pt x="650876" y="403226"/>
                  </a:lnTo>
                  <a:lnTo>
                    <a:pt x="647701" y="406401"/>
                  </a:lnTo>
                  <a:lnTo>
                    <a:pt x="644526" y="406401"/>
                  </a:lnTo>
                  <a:lnTo>
                    <a:pt x="644526" y="396876"/>
                  </a:lnTo>
                  <a:close/>
                  <a:moveTo>
                    <a:pt x="657226" y="387351"/>
                  </a:moveTo>
                  <a:lnTo>
                    <a:pt x="660401" y="387351"/>
                  </a:lnTo>
                  <a:lnTo>
                    <a:pt x="663576" y="393701"/>
                  </a:lnTo>
                  <a:lnTo>
                    <a:pt x="663576" y="406401"/>
                  </a:lnTo>
                  <a:lnTo>
                    <a:pt x="660401" y="409576"/>
                  </a:lnTo>
                  <a:lnTo>
                    <a:pt x="654051" y="415926"/>
                  </a:lnTo>
                  <a:lnTo>
                    <a:pt x="650876" y="409576"/>
                  </a:lnTo>
                  <a:lnTo>
                    <a:pt x="654051" y="396876"/>
                  </a:lnTo>
                  <a:close/>
                  <a:moveTo>
                    <a:pt x="511176" y="361951"/>
                  </a:moveTo>
                  <a:lnTo>
                    <a:pt x="514351" y="361951"/>
                  </a:lnTo>
                  <a:lnTo>
                    <a:pt x="514351" y="374651"/>
                  </a:lnTo>
                  <a:lnTo>
                    <a:pt x="511176" y="377826"/>
                  </a:lnTo>
                  <a:lnTo>
                    <a:pt x="508001" y="377826"/>
                  </a:lnTo>
                  <a:lnTo>
                    <a:pt x="508001" y="368301"/>
                  </a:lnTo>
                  <a:close/>
                  <a:moveTo>
                    <a:pt x="723901" y="358776"/>
                  </a:moveTo>
                  <a:lnTo>
                    <a:pt x="742951" y="358776"/>
                  </a:lnTo>
                  <a:lnTo>
                    <a:pt x="749301" y="365126"/>
                  </a:lnTo>
                  <a:lnTo>
                    <a:pt x="746126" y="371476"/>
                  </a:lnTo>
                  <a:lnTo>
                    <a:pt x="736601" y="374651"/>
                  </a:lnTo>
                  <a:lnTo>
                    <a:pt x="727076" y="368301"/>
                  </a:lnTo>
                  <a:lnTo>
                    <a:pt x="723901" y="361951"/>
                  </a:lnTo>
                  <a:close/>
                  <a:moveTo>
                    <a:pt x="781051" y="352426"/>
                  </a:moveTo>
                  <a:lnTo>
                    <a:pt x="790576" y="355601"/>
                  </a:lnTo>
                  <a:lnTo>
                    <a:pt x="800101" y="352426"/>
                  </a:lnTo>
                  <a:lnTo>
                    <a:pt x="812801" y="355601"/>
                  </a:lnTo>
                  <a:lnTo>
                    <a:pt x="822326" y="358776"/>
                  </a:lnTo>
                  <a:lnTo>
                    <a:pt x="828676" y="368301"/>
                  </a:lnTo>
                  <a:lnTo>
                    <a:pt x="825501" y="374651"/>
                  </a:lnTo>
                  <a:lnTo>
                    <a:pt x="822326" y="371476"/>
                  </a:lnTo>
                  <a:lnTo>
                    <a:pt x="812801" y="368301"/>
                  </a:lnTo>
                  <a:lnTo>
                    <a:pt x="809626" y="365126"/>
                  </a:lnTo>
                  <a:lnTo>
                    <a:pt x="790576" y="365126"/>
                  </a:lnTo>
                  <a:lnTo>
                    <a:pt x="787401" y="365126"/>
                  </a:lnTo>
                  <a:lnTo>
                    <a:pt x="781051" y="365126"/>
                  </a:lnTo>
                  <a:lnTo>
                    <a:pt x="765176" y="361951"/>
                  </a:lnTo>
                  <a:lnTo>
                    <a:pt x="765176" y="368301"/>
                  </a:lnTo>
                  <a:lnTo>
                    <a:pt x="762001" y="358776"/>
                  </a:lnTo>
                  <a:lnTo>
                    <a:pt x="768351" y="358776"/>
                  </a:lnTo>
                  <a:close/>
                  <a:moveTo>
                    <a:pt x="165100" y="352425"/>
                  </a:moveTo>
                  <a:lnTo>
                    <a:pt x="171450" y="358775"/>
                  </a:lnTo>
                  <a:lnTo>
                    <a:pt x="171450" y="361950"/>
                  </a:lnTo>
                  <a:lnTo>
                    <a:pt x="168275" y="361950"/>
                  </a:lnTo>
                  <a:lnTo>
                    <a:pt x="168275" y="358775"/>
                  </a:lnTo>
                  <a:lnTo>
                    <a:pt x="165100" y="355600"/>
                  </a:lnTo>
                  <a:close/>
                  <a:moveTo>
                    <a:pt x="327025" y="346075"/>
                  </a:moveTo>
                  <a:lnTo>
                    <a:pt x="339725" y="352425"/>
                  </a:lnTo>
                  <a:lnTo>
                    <a:pt x="336550" y="361950"/>
                  </a:lnTo>
                  <a:lnTo>
                    <a:pt x="327025" y="361950"/>
                  </a:lnTo>
                  <a:lnTo>
                    <a:pt x="323850" y="355600"/>
                  </a:lnTo>
                  <a:close/>
                  <a:moveTo>
                    <a:pt x="711201" y="330201"/>
                  </a:moveTo>
                  <a:lnTo>
                    <a:pt x="717551" y="330201"/>
                  </a:lnTo>
                  <a:lnTo>
                    <a:pt x="730251" y="330201"/>
                  </a:lnTo>
                  <a:lnTo>
                    <a:pt x="714376" y="333376"/>
                  </a:lnTo>
                  <a:lnTo>
                    <a:pt x="708026" y="333376"/>
                  </a:lnTo>
                  <a:close/>
                  <a:moveTo>
                    <a:pt x="927101" y="327026"/>
                  </a:moveTo>
                  <a:lnTo>
                    <a:pt x="942976" y="327026"/>
                  </a:lnTo>
                  <a:lnTo>
                    <a:pt x="955676" y="330201"/>
                  </a:lnTo>
                  <a:lnTo>
                    <a:pt x="949326" y="333376"/>
                  </a:lnTo>
                  <a:lnTo>
                    <a:pt x="939801" y="330201"/>
                  </a:lnTo>
                  <a:lnTo>
                    <a:pt x="930276" y="330201"/>
                  </a:lnTo>
                  <a:close/>
                  <a:moveTo>
                    <a:pt x="815976" y="327026"/>
                  </a:moveTo>
                  <a:lnTo>
                    <a:pt x="815976" y="336551"/>
                  </a:lnTo>
                  <a:lnTo>
                    <a:pt x="806451" y="333376"/>
                  </a:lnTo>
                  <a:lnTo>
                    <a:pt x="806451" y="330201"/>
                  </a:lnTo>
                  <a:close/>
                  <a:moveTo>
                    <a:pt x="688976" y="327026"/>
                  </a:moveTo>
                  <a:lnTo>
                    <a:pt x="701676" y="327026"/>
                  </a:lnTo>
                  <a:lnTo>
                    <a:pt x="708026" y="333376"/>
                  </a:lnTo>
                  <a:lnTo>
                    <a:pt x="695326" y="333376"/>
                  </a:lnTo>
                  <a:lnTo>
                    <a:pt x="688976" y="336551"/>
                  </a:lnTo>
                  <a:lnTo>
                    <a:pt x="685801" y="330201"/>
                  </a:lnTo>
                  <a:close/>
                  <a:moveTo>
                    <a:pt x="288925" y="323850"/>
                  </a:moveTo>
                  <a:lnTo>
                    <a:pt x="292100" y="330200"/>
                  </a:lnTo>
                  <a:lnTo>
                    <a:pt x="295275" y="342900"/>
                  </a:lnTo>
                  <a:lnTo>
                    <a:pt x="304800" y="346075"/>
                  </a:lnTo>
                  <a:lnTo>
                    <a:pt x="304800" y="352425"/>
                  </a:lnTo>
                  <a:lnTo>
                    <a:pt x="301625" y="355600"/>
                  </a:lnTo>
                  <a:lnTo>
                    <a:pt x="292100" y="352425"/>
                  </a:lnTo>
                  <a:lnTo>
                    <a:pt x="288925" y="349250"/>
                  </a:lnTo>
                  <a:lnTo>
                    <a:pt x="288925" y="342900"/>
                  </a:lnTo>
                  <a:lnTo>
                    <a:pt x="285750" y="339725"/>
                  </a:lnTo>
                  <a:lnTo>
                    <a:pt x="276225" y="336550"/>
                  </a:lnTo>
                  <a:lnTo>
                    <a:pt x="273050" y="336550"/>
                  </a:lnTo>
                  <a:lnTo>
                    <a:pt x="273050" y="330200"/>
                  </a:lnTo>
                  <a:lnTo>
                    <a:pt x="282575" y="327025"/>
                  </a:lnTo>
                  <a:close/>
                  <a:moveTo>
                    <a:pt x="758826" y="320676"/>
                  </a:moveTo>
                  <a:lnTo>
                    <a:pt x="765176" y="323851"/>
                  </a:lnTo>
                  <a:lnTo>
                    <a:pt x="768351" y="330201"/>
                  </a:lnTo>
                  <a:lnTo>
                    <a:pt x="762001" y="330201"/>
                  </a:lnTo>
                  <a:lnTo>
                    <a:pt x="755651" y="330201"/>
                  </a:lnTo>
                  <a:lnTo>
                    <a:pt x="752476" y="327026"/>
                  </a:lnTo>
                  <a:lnTo>
                    <a:pt x="752476" y="323851"/>
                  </a:lnTo>
                  <a:close/>
                  <a:moveTo>
                    <a:pt x="657226" y="317501"/>
                  </a:moveTo>
                  <a:lnTo>
                    <a:pt x="663576" y="317501"/>
                  </a:lnTo>
                  <a:lnTo>
                    <a:pt x="669926" y="320676"/>
                  </a:lnTo>
                  <a:lnTo>
                    <a:pt x="660401" y="323851"/>
                  </a:lnTo>
                  <a:lnTo>
                    <a:pt x="657226" y="327026"/>
                  </a:lnTo>
                  <a:lnTo>
                    <a:pt x="654051" y="323851"/>
                  </a:lnTo>
                  <a:close/>
                  <a:moveTo>
                    <a:pt x="365125" y="314325"/>
                  </a:moveTo>
                  <a:lnTo>
                    <a:pt x="371475" y="314325"/>
                  </a:lnTo>
                  <a:lnTo>
                    <a:pt x="368300" y="317500"/>
                  </a:lnTo>
                  <a:lnTo>
                    <a:pt x="361950" y="317500"/>
                  </a:lnTo>
                  <a:close/>
                  <a:moveTo>
                    <a:pt x="828676" y="311151"/>
                  </a:moveTo>
                  <a:lnTo>
                    <a:pt x="831851" y="317501"/>
                  </a:lnTo>
                  <a:lnTo>
                    <a:pt x="828676" y="320676"/>
                  </a:lnTo>
                  <a:lnTo>
                    <a:pt x="822326" y="314326"/>
                  </a:lnTo>
                  <a:close/>
                  <a:moveTo>
                    <a:pt x="133350" y="311150"/>
                  </a:moveTo>
                  <a:lnTo>
                    <a:pt x="142875" y="317500"/>
                  </a:lnTo>
                  <a:lnTo>
                    <a:pt x="146050" y="327025"/>
                  </a:lnTo>
                  <a:lnTo>
                    <a:pt x="142875" y="330200"/>
                  </a:lnTo>
                  <a:lnTo>
                    <a:pt x="133350" y="323850"/>
                  </a:lnTo>
                  <a:lnTo>
                    <a:pt x="130175" y="317500"/>
                  </a:lnTo>
                  <a:close/>
                  <a:moveTo>
                    <a:pt x="819151" y="307976"/>
                  </a:moveTo>
                  <a:lnTo>
                    <a:pt x="828676" y="307976"/>
                  </a:lnTo>
                  <a:lnTo>
                    <a:pt x="825501" y="311151"/>
                  </a:lnTo>
                  <a:lnTo>
                    <a:pt x="819151" y="311151"/>
                  </a:lnTo>
                  <a:close/>
                  <a:moveTo>
                    <a:pt x="927101" y="304801"/>
                  </a:moveTo>
                  <a:lnTo>
                    <a:pt x="933451" y="307976"/>
                  </a:lnTo>
                  <a:lnTo>
                    <a:pt x="939801" y="311151"/>
                  </a:lnTo>
                  <a:lnTo>
                    <a:pt x="946151" y="314326"/>
                  </a:lnTo>
                  <a:lnTo>
                    <a:pt x="942976" y="317501"/>
                  </a:lnTo>
                  <a:lnTo>
                    <a:pt x="930276" y="311151"/>
                  </a:lnTo>
                  <a:lnTo>
                    <a:pt x="927101" y="307976"/>
                  </a:lnTo>
                  <a:close/>
                  <a:moveTo>
                    <a:pt x="860426" y="298451"/>
                  </a:moveTo>
                  <a:lnTo>
                    <a:pt x="876301" y="301626"/>
                  </a:lnTo>
                  <a:lnTo>
                    <a:pt x="879476" y="304801"/>
                  </a:lnTo>
                  <a:lnTo>
                    <a:pt x="885826" y="307976"/>
                  </a:lnTo>
                  <a:lnTo>
                    <a:pt x="892176" y="307976"/>
                  </a:lnTo>
                  <a:lnTo>
                    <a:pt x="898526" y="307976"/>
                  </a:lnTo>
                  <a:lnTo>
                    <a:pt x="898526" y="314326"/>
                  </a:lnTo>
                  <a:lnTo>
                    <a:pt x="901701" y="323851"/>
                  </a:lnTo>
                  <a:lnTo>
                    <a:pt x="898526" y="323851"/>
                  </a:lnTo>
                  <a:lnTo>
                    <a:pt x="898526" y="327026"/>
                  </a:lnTo>
                  <a:lnTo>
                    <a:pt x="898526" y="333376"/>
                  </a:lnTo>
                  <a:lnTo>
                    <a:pt x="901701" y="346076"/>
                  </a:lnTo>
                  <a:lnTo>
                    <a:pt x="911226" y="355601"/>
                  </a:lnTo>
                  <a:lnTo>
                    <a:pt x="917576" y="365126"/>
                  </a:lnTo>
                  <a:lnTo>
                    <a:pt x="927101" y="361951"/>
                  </a:lnTo>
                  <a:lnTo>
                    <a:pt x="933451" y="358776"/>
                  </a:lnTo>
                  <a:lnTo>
                    <a:pt x="936626" y="355601"/>
                  </a:lnTo>
                  <a:lnTo>
                    <a:pt x="946151" y="342901"/>
                  </a:lnTo>
                  <a:lnTo>
                    <a:pt x="949326" y="339726"/>
                  </a:lnTo>
                  <a:lnTo>
                    <a:pt x="955676" y="339726"/>
                  </a:lnTo>
                  <a:lnTo>
                    <a:pt x="965201" y="333376"/>
                  </a:lnTo>
                  <a:lnTo>
                    <a:pt x="965201" y="330201"/>
                  </a:lnTo>
                  <a:lnTo>
                    <a:pt x="971551" y="327026"/>
                  </a:lnTo>
                  <a:lnTo>
                    <a:pt x="981076" y="323851"/>
                  </a:lnTo>
                  <a:lnTo>
                    <a:pt x="993776" y="330201"/>
                  </a:lnTo>
                  <a:lnTo>
                    <a:pt x="1019176" y="342901"/>
                  </a:lnTo>
                  <a:lnTo>
                    <a:pt x="1022351" y="342901"/>
                  </a:lnTo>
                  <a:lnTo>
                    <a:pt x="1028701" y="342901"/>
                  </a:lnTo>
                  <a:lnTo>
                    <a:pt x="1041401" y="346076"/>
                  </a:lnTo>
                  <a:lnTo>
                    <a:pt x="1047751" y="346076"/>
                  </a:lnTo>
                  <a:lnTo>
                    <a:pt x="1047751" y="428626"/>
                  </a:lnTo>
                  <a:lnTo>
                    <a:pt x="1044576" y="428626"/>
                  </a:lnTo>
                  <a:lnTo>
                    <a:pt x="1044576" y="434976"/>
                  </a:lnTo>
                  <a:lnTo>
                    <a:pt x="1047751" y="441326"/>
                  </a:lnTo>
                  <a:lnTo>
                    <a:pt x="1047751" y="488951"/>
                  </a:lnTo>
                  <a:lnTo>
                    <a:pt x="1038226" y="482601"/>
                  </a:lnTo>
                  <a:lnTo>
                    <a:pt x="1025526" y="469901"/>
                  </a:lnTo>
                  <a:lnTo>
                    <a:pt x="1025526" y="466726"/>
                  </a:lnTo>
                  <a:lnTo>
                    <a:pt x="1022351" y="466726"/>
                  </a:lnTo>
                  <a:lnTo>
                    <a:pt x="1019176" y="466726"/>
                  </a:lnTo>
                  <a:lnTo>
                    <a:pt x="1006476" y="469901"/>
                  </a:lnTo>
                  <a:lnTo>
                    <a:pt x="1000126" y="466726"/>
                  </a:lnTo>
                  <a:lnTo>
                    <a:pt x="1000126" y="463551"/>
                  </a:lnTo>
                  <a:lnTo>
                    <a:pt x="990601" y="473076"/>
                  </a:lnTo>
                  <a:lnTo>
                    <a:pt x="977901" y="473076"/>
                  </a:lnTo>
                  <a:lnTo>
                    <a:pt x="974726" y="469901"/>
                  </a:lnTo>
                  <a:lnTo>
                    <a:pt x="977901" y="460376"/>
                  </a:lnTo>
                  <a:lnTo>
                    <a:pt x="990601" y="450851"/>
                  </a:lnTo>
                  <a:lnTo>
                    <a:pt x="1000126" y="454026"/>
                  </a:lnTo>
                  <a:lnTo>
                    <a:pt x="1002508" y="456407"/>
                  </a:lnTo>
                  <a:lnTo>
                    <a:pt x="1003301" y="454026"/>
                  </a:lnTo>
                  <a:lnTo>
                    <a:pt x="1003301" y="450851"/>
                  </a:lnTo>
                  <a:lnTo>
                    <a:pt x="996951" y="444501"/>
                  </a:lnTo>
                  <a:lnTo>
                    <a:pt x="993776" y="438151"/>
                  </a:lnTo>
                  <a:lnTo>
                    <a:pt x="996951" y="434976"/>
                  </a:lnTo>
                  <a:lnTo>
                    <a:pt x="987426" y="419101"/>
                  </a:lnTo>
                  <a:lnTo>
                    <a:pt x="981076" y="409576"/>
                  </a:lnTo>
                  <a:lnTo>
                    <a:pt x="968376" y="400051"/>
                  </a:lnTo>
                  <a:lnTo>
                    <a:pt x="955676" y="396876"/>
                  </a:lnTo>
                  <a:lnTo>
                    <a:pt x="942976" y="393701"/>
                  </a:lnTo>
                  <a:lnTo>
                    <a:pt x="939801" y="390526"/>
                  </a:lnTo>
                  <a:lnTo>
                    <a:pt x="936626" y="387351"/>
                  </a:lnTo>
                  <a:lnTo>
                    <a:pt x="927101" y="387351"/>
                  </a:lnTo>
                  <a:lnTo>
                    <a:pt x="920751" y="387351"/>
                  </a:lnTo>
                  <a:lnTo>
                    <a:pt x="917576" y="387351"/>
                  </a:lnTo>
                  <a:lnTo>
                    <a:pt x="911226" y="384176"/>
                  </a:lnTo>
                  <a:lnTo>
                    <a:pt x="908051" y="381001"/>
                  </a:lnTo>
                  <a:lnTo>
                    <a:pt x="895351" y="371476"/>
                  </a:lnTo>
                  <a:lnTo>
                    <a:pt x="889001" y="371476"/>
                  </a:lnTo>
                  <a:lnTo>
                    <a:pt x="882651" y="374651"/>
                  </a:lnTo>
                  <a:lnTo>
                    <a:pt x="879476" y="377826"/>
                  </a:lnTo>
                  <a:lnTo>
                    <a:pt x="873126" y="381001"/>
                  </a:lnTo>
                  <a:lnTo>
                    <a:pt x="869951" y="371476"/>
                  </a:lnTo>
                  <a:lnTo>
                    <a:pt x="869951" y="368301"/>
                  </a:lnTo>
                  <a:lnTo>
                    <a:pt x="869951" y="365126"/>
                  </a:lnTo>
                  <a:lnTo>
                    <a:pt x="860426" y="355601"/>
                  </a:lnTo>
                  <a:lnTo>
                    <a:pt x="854076" y="355601"/>
                  </a:lnTo>
                  <a:lnTo>
                    <a:pt x="850901" y="352426"/>
                  </a:lnTo>
                  <a:lnTo>
                    <a:pt x="860426" y="349251"/>
                  </a:lnTo>
                  <a:lnTo>
                    <a:pt x="873126" y="346076"/>
                  </a:lnTo>
                  <a:lnTo>
                    <a:pt x="879476" y="342901"/>
                  </a:lnTo>
                  <a:lnTo>
                    <a:pt x="892176" y="349251"/>
                  </a:lnTo>
                  <a:lnTo>
                    <a:pt x="892176" y="336551"/>
                  </a:lnTo>
                  <a:lnTo>
                    <a:pt x="889001" y="339726"/>
                  </a:lnTo>
                  <a:lnTo>
                    <a:pt x="882651" y="339726"/>
                  </a:lnTo>
                  <a:lnTo>
                    <a:pt x="873126" y="339726"/>
                  </a:lnTo>
                  <a:lnTo>
                    <a:pt x="869951" y="339726"/>
                  </a:lnTo>
                  <a:lnTo>
                    <a:pt x="866776" y="339726"/>
                  </a:lnTo>
                  <a:lnTo>
                    <a:pt x="860426" y="339726"/>
                  </a:lnTo>
                  <a:lnTo>
                    <a:pt x="854076" y="336551"/>
                  </a:lnTo>
                  <a:lnTo>
                    <a:pt x="850901" y="330201"/>
                  </a:lnTo>
                  <a:lnTo>
                    <a:pt x="847726" y="327026"/>
                  </a:lnTo>
                  <a:lnTo>
                    <a:pt x="838201" y="323851"/>
                  </a:lnTo>
                  <a:lnTo>
                    <a:pt x="828676" y="320676"/>
                  </a:lnTo>
                  <a:lnTo>
                    <a:pt x="841376" y="311151"/>
                  </a:lnTo>
                  <a:lnTo>
                    <a:pt x="850901" y="301626"/>
                  </a:lnTo>
                  <a:close/>
                  <a:moveTo>
                    <a:pt x="755651" y="298451"/>
                  </a:moveTo>
                  <a:lnTo>
                    <a:pt x="762001" y="307976"/>
                  </a:lnTo>
                  <a:lnTo>
                    <a:pt x="758826" y="311151"/>
                  </a:lnTo>
                  <a:lnTo>
                    <a:pt x="752476" y="307976"/>
                  </a:lnTo>
                  <a:lnTo>
                    <a:pt x="749301" y="301626"/>
                  </a:lnTo>
                  <a:close/>
                  <a:moveTo>
                    <a:pt x="825501" y="292101"/>
                  </a:moveTo>
                  <a:lnTo>
                    <a:pt x="838201" y="295276"/>
                  </a:lnTo>
                  <a:lnTo>
                    <a:pt x="835026" y="301626"/>
                  </a:lnTo>
                  <a:lnTo>
                    <a:pt x="825501" y="295276"/>
                  </a:lnTo>
                  <a:lnTo>
                    <a:pt x="828676" y="298451"/>
                  </a:lnTo>
                  <a:lnTo>
                    <a:pt x="822326" y="301626"/>
                  </a:lnTo>
                  <a:lnTo>
                    <a:pt x="812801" y="295276"/>
                  </a:lnTo>
                  <a:lnTo>
                    <a:pt x="815976" y="295276"/>
                  </a:lnTo>
                  <a:lnTo>
                    <a:pt x="819151" y="295276"/>
                  </a:lnTo>
                  <a:close/>
                  <a:moveTo>
                    <a:pt x="260350" y="292100"/>
                  </a:moveTo>
                  <a:lnTo>
                    <a:pt x="269875" y="298450"/>
                  </a:lnTo>
                  <a:lnTo>
                    <a:pt x="260350" y="298450"/>
                  </a:lnTo>
                  <a:lnTo>
                    <a:pt x="257175" y="295275"/>
                  </a:lnTo>
                  <a:close/>
                  <a:moveTo>
                    <a:pt x="250825" y="269875"/>
                  </a:moveTo>
                  <a:lnTo>
                    <a:pt x="263525" y="269875"/>
                  </a:lnTo>
                  <a:lnTo>
                    <a:pt x="257175" y="273050"/>
                  </a:lnTo>
                  <a:close/>
                  <a:moveTo>
                    <a:pt x="212725" y="266700"/>
                  </a:moveTo>
                  <a:lnTo>
                    <a:pt x="225425" y="273050"/>
                  </a:lnTo>
                  <a:lnTo>
                    <a:pt x="215900" y="273050"/>
                  </a:lnTo>
                  <a:close/>
                  <a:moveTo>
                    <a:pt x="222250" y="263525"/>
                  </a:moveTo>
                  <a:lnTo>
                    <a:pt x="231775" y="269875"/>
                  </a:lnTo>
                  <a:lnTo>
                    <a:pt x="225425" y="269875"/>
                  </a:lnTo>
                  <a:close/>
                  <a:moveTo>
                    <a:pt x="101600" y="260350"/>
                  </a:moveTo>
                  <a:lnTo>
                    <a:pt x="107950" y="260350"/>
                  </a:lnTo>
                  <a:lnTo>
                    <a:pt x="117475" y="273050"/>
                  </a:lnTo>
                  <a:lnTo>
                    <a:pt x="111125" y="279400"/>
                  </a:lnTo>
                  <a:lnTo>
                    <a:pt x="107950" y="273050"/>
                  </a:lnTo>
                  <a:lnTo>
                    <a:pt x="101600" y="263525"/>
                  </a:lnTo>
                  <a:close/>
                  <a:moveTo>
                    <a:pt x="701676" y="254001"/>
                  </a:moveTo>
                  <a:lnTo>
                    <a:pt x="704851" y="260351"/>
                  </a:lnTo>
                  <a:lnTo>
                    <a:pt x="704851" y="263526"/>
                  </a:lnTo>
                  <a:lnTo>
                    <a:pt x="695326" y="273051"/>
                  </a:lnTo>
                  <a:lnTo>
                    <a:pt x="685801" y="282576"/>
                  </a:lnTo>
                  <a:lnTo>
                    <a:pt x="682626" y="282576"/>
                  </a:lnTo>
                  <a:lnTo>
                    <a:pt x="676276" y="285751"/>
                  </a:lnTo>
                  <a:lnTo>
                    <a:pt x="663576" y="285751"/>
                  </a:lnTo>
                  <a:lnTo>
                    <a:pt x="660401" y="282576"/>
                  </a:lnTo>
                  <a:lnTo>
                    <a:pt x="654051" y="282576"/>
                  </a:lnTo>
                  <a:lnTo>
                    <a:pt x="641351" y="282576"/>
                  </a:lnTo>
                  <a:lnTo>
                    <a:pt x="631826" y="282576"/>
                  </a:lnTo>
                  <a:lnTo>
                    <a:pt x="628651" y="279401"/>
                  </a:lnTo>
                  <a:lnTo>
                    <a:pt x="622301" y="282576"/>
                  </a:lnTo>
                  <a:lnTo>
                    <a:pt x="615951" y="282576"/>
                  </a:lnTo>
                  <a:lnTo>
                    <a:pt x="609601" y="279401"/>
                  </a:lnTo>
                  <a:lnTo>
                    <a:pt x="600076" y="282576"/>
                  </a:lnTo>
                  <a:lnTo>
                    <a:pt x="593726" y="292101"/>
                  </a:lnTo>
                  <a:lnTo>
                    <a:pt x="593726" y="304801"/>
                  </a:lnTo>
                  <a:lnTo>
                    <a:pt x="600076" y="311151"/>
                  </a:lnTo>
                  <a:lnTo>
                    <a:pt x="606426" y="317501"/>
                  </a:lnTo>
                  <a:lnTo>
                    <a:pt x="609601" y="320676"/>
                  </a:lnTo>
                  <a:lnTo>
                    <a:pt x="619126" y="317501"/>
                  </a:lnTo>
                  <a:lnTo>
                    <a:pt x="625476" y="311151"/>
                  </a:lnTo>
                  <a:lnTo>
                    <a:pt x="628651" y="307976"/>
                  </a:lnTo>
                  <a:lnTo>
                    <a:pt x="647701" y="307976"/>
                  </a:lnTo>
                  <a:lnTo>
                    <a:pt x="654051" y="304801"/>
                  </a:lnTo>
                  <a:lnTo>
                    <a:pt x="657226" y="304801"/>
                  </a:lnTo>
                  <a:lnTo>
                    <a:pt x="660401" y="304801"/>
                  </a:lnTo>
                  <a:lnTo>
                    <a:pt x="666751" y="311151"/>
                  </a:lnTo>
                  <a:lnTo>
                    <a:pt x="663576" y="314326"/>
                  </a:lnTo>
                  <a:lnTo>
                    <a:pt x="660401" y="311151"/>
                  </a:lnTo>
                  <a:lnTo>
                    <a:pt x="657226" y="311151"/>
                  </a:lnTo>
                  <a:lnTo>
                    <a:pt x="654051" y="311151"/>
                  </a:lnTo>
                  <a:lnTo>
                    <a:pt x="631826" y="327026"/>
                  </a:lnTo>
                  <a:lnTo>
                    <a:pt x="625476" y="333376"/>
                  </a:lnTo>
                  <a:lnTo>
                    <a:pt x="635001" y="346076"/>
                  </a:lnTo>
                  <a:lnTo>
                    <a:pt x="641351" y="352426"/>
                  </a:lnTo>
                  <a:lnTo>
                    <a:pt x="644526" y="361951"/>
                  </a:lnTo>
                  <a:lnTo>
                    <a:pt x="641351" y="365126"/>
                  </a:lnTo>
                  <a:lnTo>
                    <a:pt x="641351" y="368301"/>
                  </a:lnTo>
                  <a:lnTo>
                    <a:pt x="644526" y="371476"/>
                  </a:lnTo>
                  <a:lnTo>
                    <a:pt x="650876" y="381001"/>
                  </a:lnTo>
                  <a:lnTo>
                    <a:pt x="654051" y="377826"/>
                  </a:lnTo>
                  <a:lnTo>
                    <a:pt x="654051" y="387351"/>
                  </a:lnTo>
                  <a:lnTo>
                    <a:pt x="650876" y="387351"/>
                  </a:lnTo>
                  <a:lnTo>
                    <a:pt x="647701" y="387351"/>
                  </a:lnTo>
                  <a:lnTo>
                    <a:pt x="638176" y="390526"/>
                  </a:lnTo>
                  <a:lnTo>
                    <a:pt x="638176" y="393701"/>
                  </a:lnTo>
                  <a:lnTo>
                    <a:pt x="628651" y="393701"/>
                  </a:lnTo>
                  <a:lnTo>
                    <a:pt x="625476" y="387351"/>
                  </a:lnTo>
                  <a:lnTo>
                    <a:pt x="625476" y="384176"/>
                  </a:lnTo>
                  <a:lnTo>
                    <a:pt x="625476" y="377826"/>
                  </a:lnTo>
                  <a:lnTo>
                    <a:pt x="615951" y="371476"/>
                  </a:lnTo>
                  <a:lnTo>
                    <a:pt x="612776" y="365126"/>
                  </a:lnTo>
                  <a:lnTo>
                    <a:pt x="615951" y="361951"/>
                  </a:lnTo>
                  <a:lnTo>
                    <a:pt x="615951" y="355601"/>
                  </a:lnTo>
                  <a:lnTo>
                    <a:pt x="615951" y="349251"/>
                  </a:lnTo>
                  <a:lnTo>
                    <a:pt x="606426" y="349251"/>
                  </a:lnTo>
                  <a:lnTo>
                    <a:pt x="596901" y="355601"/>
                  </a:lnTo>
                  <a:lnTo>
                    <a:pt x="600076" y="361951"/>
                  </a:lnTo>
                  <a:lnTo>
                    <a:pt x="600076" y="368301"/>
                  </a:lnTo>
                  <a:lnTo>
                    <a:pt x="600076" y="381001"/>
                  </a:lnTo>
                  <a:lnTo>
                    <a:pt x="600076" y="409576"/>
                  </a:lnTo>
                  <a:lnTo>
                    <a:pt x="587376" y="412751"/>
                  </a:lnTo>
                  <a:lnTo>
                    <a:pt x="577851" y="409576"/>
                  </a:lnTo>
                  <a:lnTo>
                    <a:pt x="581026" y="400051"/>
                  </a:lnTo>
                  <a:lnTo>
                    <a:pt x="584201" y="387351"/>
                  </a:lnTo>
                  <a:lnTo>
                    <a:pt x="584201" y="381001"/>
                  </a:lnTo>
                  <a:lnTo>
                    <a:pt x="581026" y="368301"/>
                  </a:lnTo>
                  <a:lnTo>
                    <a:pt x="577851" y="365126"/>
                  </a:lnTo>
                  <a:lnTo>
                    <a:pt x="571501" y="368301"/>
                  </a:lnTo>
                  <a:lnTo>
                    <a:pt x="568326" y="365126"/>
                  </a:lnTo>
                  <a:lnTo>
                    <a:pt x="568326" y="358776"/>
                  </a:lnTo>
                  <a:lnTo>
                    <a:pt x="571501" y="346076"/>
                  </a:lnTo>
                  <a:lnTo>
                    <a:pt x="574676" y="342901"/>
                  </a:lnTo>
                  <a:lnTo>
                    <a:pt x="577851" y="336551"/>
                  </a:lnTo>
                  <a:lnTo>
                    <a:pt x="577851" y="330201"/>
                  </a:lnTo>
                  <a:lnTo>
                    <a:pt x="577851" y="320676"/>
                  </a:lnTo>
                  <a:lnTo>
                    <a:pt x="584201" y="311151"/>
                  </a:lnTo>
                  <a:lnTo>
                    <a:pt x="587376" y="304801"/>
                  </a:lnTo>
                  <a:lnTo>
                    <a:pt x="590551" y="285751"/>
                  </a:lnTo>
                  <a:lnTo>
                    <a:pt x="596901" y="273051"/>
                  </a:lnTo>
                  <a:lnTo>
                    <a:pt x="600076" y="273051"/>
                  </a:lnTo>
                  <a:lnTo>
                    <a:pt x="606426" y="276226"/>
                  </a:lnTo>
                  <a:lnTo>
                    <a:pt x="609601" y="269876"/>
                  </a:lnTo>
                  <a:lnTo>
                    <a:pt x="609601" y="266701"/>
                  </a:lnTo>
                  <a:lnTo>
                    <a:pt x="615951" y="263526"/>
                  </a:lnTo>
                  <a:lnTo>
                    <a:pt x="641351" y="269876"/>
                  </a:lnTo>
                  <a:lnTo>
                    <a:pt x="647701" y="269876"/>
                  </a:lnTo>
                  <a:lnTo>
                    <a:pt x="663576" y="273051"/>
                  </a:lnTo>
                  <a:lnTo>
                    <a:pt x="673101" y="273051"/>
                  </a:lnTo>
                  <a:lnTo>
                    <a:pt x="685801" y="269876"/>
                  </a:lnTo>
                  <a:lnTo>
                    <a:pt x="685801" y="266701"/>
                  </a:lnTo>
                  <a:lnTo>
                    <a:pt x="692151" y="263526"/>
                  </a:lnTo>
                  <a:lnTo>
                    <a:pt x="698501" y="257176"/>
                  </a:lnTo>
                  <a:close/>
                  <a:moveTo>
                    <a:pt x="203200" y="254000"/>
                  </a:moveTo>
                  <a:lnTo>
                    <a:pt x="209550" y="254000"/>
                  </a:lnTo>
                  <a:lnTo>
                    <a:pt x="215900" y="257175"/>
                  </a:lnTo>
                  <a:lnTo>
                    <a:pt x="215900" y="260350"/>
                  </a:lnTo>
                  <a:lnTo>
                    <a:pt x="209550" y="260350"/>
                  </a:lnTo>
                  <a:close/>
                  <a:moveTo>
                    <a:pt x="193675" y="247650"/>
                  </a:moveTo>
                  <a:lnTo>
                    <a:pt x="203200" y="247650"/>
                  </a:lnTo>
                  <a:lnTo>
                    <a:pt x="196850" y="250825"/>
                  </a:lnTo>
                  <a:close/>
                  <a:moveTo>
                    <a:pt x="765176" y="244476"/>
                  </a:moveTo>
                  <a:lnTo>
                    <a:pt x="765176" y="254001"/>
                  </a:lnTo>
                  <a:lnTo>
                    <a:pt x="765176" y="266701"/>
                  </a:lnTo>
                  <a:lnTo>
                    <a:pt x="758826" y="273051"/>
                  </a:lnTo>
                  <a:lnTo>
                    <a:pt x="765176" y="273051"/>
                  </a:lnTo>
                  <a:lnTo>
                    <a:pt x="768351" y="263526"/>
                  </a:lnTo>
                  <a:lnTo>
                    <a:pt x="774701" y="260351"/>
                  </a:lnTo>
                  <a:lnTo>
                    <a:pt x="781051" y="257176"/>
                  </a:lnTo>
                  <a:lnTo>
                    <a:pt x="781051" y="260351"/>
                  </a:lnTo>
                  <a:lnTo>
                    <a:pt x="781051" y="263526"/>
                  </a:lnTo>
                  <a:lnTo>
                    <a:pt x="781051" y="269876"/>
                  </a:lnTo>
                  <a:lnTo>
                    <a:pt x="774701" y="273051"/>
                  </a:lnTo>
                  <a:lnTo>
                    <a:pt x="771526" y="276226"/>
                  </a:lnTo>
                  <a:lnTo>
                    <a:pt x="774701" y="279401"/>
                  </a:lnTo>
                  <a:lnTo>
                    <a:pt x="784226" y="285751"/>
                  </a:lnTo>
                  <a:lnTo>
                    <a:pt x="777876" y="285751"/>
                  </a:lnTo>
                  <a:lnTo>
                    <a:pt x="774701" y="282576"/>
                  </a:lnTo>
                  <a:lnTo>
                    <a:pt x="765176" y="282576"/>
                  </a:lnTo>
                  <a:lnTo>
                    <a:pt x="771526" y="307976"/>
                  </a:lnTo>
                  <a:lnTo>
                    <a:pt x="758826" y="295276"/>
                  </a:lnTo>
                  <a:lnTo>
                    <a:pt x="758826" y="292101"/>
                  </a:lnTo>
                  <a:lnTo>
                    <a:pt x="755651" y="279401"/>
                  </a:lnTo>
                  <a:lnTo>
                    <a:pt x="755651" y="266701"/>
                  </a:lnTo>
                  <a:lnTo>
                    <a:pt x="758826" y="254001"/>
                  </a:lnTo>
                  <a:close/>
                  <a:moveTo>
                    <a:pt x="777876" y="234951"/>
                  </a:moveTo>
                  <a:lnTo>
                    <a:pt x="781051" y="238126"/>
                  </a:lnTo>
                  <a:lnTo>
                    <a:pt x="777876" y="244476"/>
                  </a:lnTo>
                  <a:lnTo>
                    <a:pt x="771526" y="247651"/>
                  </a:lnTo>
                  <a:lnTo>
                    <a:pt x="771526" y="238126"/>
                  </a:lnTo>
                  <a:close/>
                  <a:moveTo>
                    <a:pt x="69850" y="228600"/>
                  </a:moveTo>
                  <a:lnTo>
                    <a:pt x="73025" y="231775"/>
                  </a:lnTo>
                  <a:lnTo>
                    <a:pt x="76200" y="231775"/>
                  </a:lnTo>
                  <a:lnTo>
                    <a:pt x="82550" y="238125"/>
                  </a:lnTo>
                  <a:lnTo>
                    <a:pt x="85725" y="241300"/>
                  </a:lnTo>
                  <a:lnTo>
                    <a:pt x="79375" y="238125"/>
                  </a:lnTo>
                  <a:lnTo>
                    <a:pt x="69850" y="234950"/>
                  </a:lnTo>
                  <a:lnTo>
                    <a:pt x="69850" y="231775"/>
                  </a:lnTo>
                  <a:close/>
                  <a:moveTo>
                    <a:pt x="336551" y="203201"/>
                  </a:moveTo>
                  <a:lnTo>
                    <a:pt x="339726" y="203201"/>
                  </a:lnTo>
                  <a:lnTo>
                    <a:pt x="342901" y="206376"/>
                  </a:lnTo>
                  <a:lnTo>
                    <a:pt x="339726" y="212726"/>
                  </a:lnTo>
                  <a:lnTo>
                    <a:pt x="336551" y="209551"/>
                  </a:lnTo>
                  <a:close/>
                  <a:moveTo>
                    <a:pt x="504825" y="196850"/>
                  </a:moveTo>
                  <a:lnTo>
                    <a:pt x="523875" y="196850"/>
                  </a:lnTo>
                  <a:lnTo>
                    <a:pt x="533400" y="200025"/>
                  </a:lnTo>
                  <a:lnTo>
                    <a:pt x="539750" y="203200"/>
                  </a:lnTo>
                  <a:lnTo>
                    <a:pt x="542925" y="206375"/>
                  </a:lnTo>
                  <a:lnTo>
                    <a:pt x="546100" y="212725"/>
                  </a:lnTo>
                  <a:lnTo>
                    <a:pt x="536575" y="212725"/>
                  </a:lnTo>
                  <a:lnTo>
                    <a:pt x="530225" y="212725"/>
                  </a:lnTo>
                  <a:lnTo>
                    <a:pt x="530225" y="215900"/>
                  </a:lnTo>
                  <a:lnTo>
                    <a:pt x="542925" y="228600"/>
                  </a:lnTo>
                  <a:lnTo>
                    <a:pt x="549275" y="241300"/>
                  </a:lnTo>
                  <a:lnTo>
                    <a:pt x="549275" y="247650"/>
                  </a:lnTo>
                  <a:lnTo>
                    <a:pt x="549275" y="250825"/>
                  </a:lnTo>
                  <a:lnTo>
                    <a:pt x="558800" y="260350"/>
                  </a:lnTo>
                  <a:lnTo>
                    <a:pt x="571500" y="266700"/>
                  </a:lnTo>
                  <a:lnTo>
                    <a:pt x="571500" y="273050"/>
                  </a:lnTo>
                  <a:lnTo>
                    <a:pt x="561975" y="273050"/>
                  </a:lnTo>
                  <a:lnTo>
                    <a:pt x="555625" y="273050"/>
                  </a:lnTo>
                  <a:lnTo>
                    <a:pt x="546100" y="273050"/>
                  </a:lnTo>
                  <a:lnTo>
                    <a:pt x="542925" y="279400"/>
                  </a:lnTo>
                  <a:lnTo>
                    <a:pt x="539750" y="285750"/>
                  </a:lnTo>
                  <a:lnTo>
                    <a:pt x="536575" y="298450"/>
                  </a:lnTo>
                  <a:lnTo>
                    <a:pt x="536575" y="301625"/>
                  </a:lnTo>
                  <a:lnTo>
                    <a:pt x="542925" y="301625"/>
                  </a:lnTo>
                  <a:lnTo>
                    <a:pt x="542925" y="307975"/>
                  </a:lnTo>
                  <a:lnTo>
                    <a:pt x="533400" y="311150"/>
                  </a:lnTo>
                  <a:lnTo>
                    <a:pt x="520700" y="323850"/>
                  </a:lnTo>
                  <a:lnTo>
                    <a:pt x="514350" y="330200"/>
                  </a:lnTo>
                  <a:lnTo>
                    <a:pt x="517525" y="336550"/>
                  </a:lnTo>
                  <a:lnTo>
                    <a:pt x="520700" y="339725"/>
                  </a:lnTo>
                  <a:lnTo>
                    <a:pt x="517525" y="349250"/>
                  </a:lnTo>
                  <a:lnTo>
                    <a:pt x="511175" y="361950"/>
                  </a:lnTo>
                  <a:lnTo>
                    <a:pt x="508000" y="368300"/>
                  </a:lnTo>
                  <a:lnTo>
                    <a:pt x="501650" y="371475"/>
                  </a:lnTo>
                  <a:lnTo>
                    <a:pt x="488950" y="377825"/>
                  </a:lnTo>
                  <a:lnTo>
                    <a:pt x="479425" y="381000"/>
                  </a:lnTo>
                  <a:lnTo>
                    <a:pt x="476250" y="377825"/>
                  </a:lnTo>
                  <a:lnTo>
                    <a:pt x="473075" y="368300"/>
                  </a:lnTo>
                  <a:lnTo>
                    <a:pt x="466725" y="365125"/>
                  </a:lnTo>
                  <a:lnTo>
                    <a:pt x="454025" y="365125"/>
                  </a:lnTo>
                  <a:lnTo>
                    <a:pt x="447675" y="361950"/>
                  </a:lnTo>
                  <a:lnTo>
                    <a:pt x="444500" y="358775"/>
                  </a:lnTo>
                  <a:lnTo>
                    <a:pt x="431800" y="365125"/>
                  </a:lnTo>
                  <a:lnTo>
                    <a:pt x="415925" y="365125"/>
                  </a:lnTo>
                  <a:lnTo>
                    <a:pt x="415925" y="352425"/>
                  </a:lnTo>
                  <a:lnTo>
                    <a:pt x="412750" y="352425"/>
                  </a:lnTo>
                  <a:lnTo>
                    <a:pt x="406400" y="355600"/>
                  </a:lnTo>
                  <a:lnTo>
                    <a:pt x="393700" y="358775"/>
                  </a:lnTo>
                  <a:lnTo>
                    <a:pt x="381000" y="352425"/>
                  </a:lnTo>
                  <a:lnTo>
                    <a:pt x="381000" y="339725"/>
                  </a:lnTo>
                  <a:lnTo>
                    <a:pt x="377825" y="323850"/>
                  </a:lnTo>
                  <a:lnTo>
                    <a:pt x="374650" y="314325"/>
                  </a:lnTo>
                  <a:lnTo>
                    <a:pt x="365125" y="304800"/>
                  </a:lnTo>
                  <a:lnTo>
                    <a:pt x="361950" y="304800"/>
                  </a:lnTo>
                  <a:lnTo>
                    <a:pt x="358775" y="295275"/>
                  </a:lnTo>
                  <a:lnTo>
                    <a:pt x="355600" y="282575"/>
                  </a:lnTo>
                  <a:lnTo>
                    <a:pt x="355600" y="269875"/>
                  </a:lnTo>
                  <a:lnTo>
                    <a:pt x="358775" y="257175"/>
                  </a:lnTo>
                  <a:lnTo>
                    <a:pt x="368300" y="247650"/>
                  </a:lnTo>
                  <a:lnTo>
                    <a:pt x="368300" y="250825"/>
                  </a:lnTo>
                  <a:lnTo>
                    <a:pt x="371475" y="257175"/>
                  </a:lnTo>
                  <a:lnTo>
                    <a:pt x="381000" y="266700"/>
                  </a:lnTo>
                  <a:lnTo>
                    <a:pt x="390525" y="273050"/>
                  </a:lnTo>
                  <a:lnTo>
                    <a:pt x="393700" y="273050"/>
                  </a:lnTo>
                  <a:lnTo>
                    <a:pt x="396875" y="269875"/>
                  </a:lnTo>
                  <a:lnTo>
                    <a:pt x="403225" y="269875"/>
                  </a:lnTo>
                  <a:lnTo>
                    <a:pt x="409575" y="269875"/>
                  </a:lnTo>
                  <a:lnTo>
                    <a:pt x="415925" y="269875"/>
                  </a:lnTo>
                  <a:lnTo>
                    <a:pt x="422275" y="266700"/>
                  </a:lnTo>
                  <a:lnTo>
                    <a:pt x="425450" y="260350"/>
                  </a:lnTo>
                  <a:lnTo>
                    <a:pt x="438150" y="257175"/>
                  </a:lnTo>
                  <a:lnTo>
                    <a:pt x="444500" y="260350"/>
                  </a:lnTo>
                  <a:lnTo>
                    <a:pt x="454025" y="263525"/>
                  </a:lnTo>
                  <a:lnTo>
                    <a:pt x="460375" y="260350"/>
                  </a:lnTo>
                  <a:lnTo>
                    <a:pt x="466725" y="260350"/>
                  </a:lnTo>
                  <a:lnTo>
                    <a:pt x="476250" y="260350"/>
                  </a:lnTo>
                  <a:lnTo>
                    <a:pt x="479425" y="254000"/>
                  </a:lnTo>
                  <a:lnTo>
                    <a:pt x="482600" y="247650"/>
                  </a:lnTo>
                  <a:lnTo>
                    <a:pt x="479425" y="244475"/>
                  </a:lnTo>
                  <a:lnTo>
                    <a:pt x="488950" y="238125"/>
                  </a:lnTo>
                  <a:lnTo>
                    <a:pt x="488950" y="234950"/>
                  </a:lnTo>
                  <a:lnTo>
                    <a:pt x="488950" y="228600"/>
                  </a:lnTo>
                  <a:lnTo>
                    <a:pt x="495300" y="225425"/>
                  </a:lnTo>
                  <a:lnTo>
                    <a:pt x="498475" y="209550"/>
                  </a:lnTo>
                  <a:close/>
                  <a:moveTo>
                    <a:pt x="739776" y="193676"/>
                  </a:moveTo>
                  <a:lnTo>
                    <a:pt x="739776" y="196851"/>
                  </a:lnTo>
                  <a:lnTo>
                    <a:pt x="739776" y="203201"/>
                  </a:lnTo>
                  <a:lnTo>
                    <a:pt x="736601" y="206376"/>
                  </a:lnTo>
                  <a:close/>
                  <a:moveTo>
                    <a:pt x="60325" y="171450"/>
                  </a:moveTo>
                  <a:lnTo>
                    <a:pt x="69850" y="171450"/>
                  </a:lnTo>
                  <a:lnTo>
                    <a:pt x="73025" y="174625"/>
                  </a:lnTo>
                  <a:lnTo>
                    <a:pt x="76200" y="177800"/>
                  </a:lnTo>
                  <a:lnTo>
                    <a:pt x="88900" y="180975"/>
                  </a:lnTo>
                  <a:lnTo>
                    <a:pt x="92075" y="177800"/>
                  </a:lnTo>
                  <a:lnTo>
                    <a:pt x="98425" y="177800"/>
                  </a:lnTo>
                  <a:lnTo>
                    <a:pt x="107950" y="177800"/>
                  </a:lnTo>
                  <a:lnTo>
                    <a:pt x="111125" y="184150"/>
                  </a:lnTo>
                  <a:lnTo>
                    <a:pt x="120650" y="193675"/>
                  </a:lnTo>
                  <a:lnTo>
                    <a:pt x="127000" y="203200"/>
                  </a:lnTo>
                  <a:lnTo>
                    <a:pt x="139700" y="212725"/>
                  </a:lnTo>
                  <a:lnTo>
                    <a:pt x="149225" y="219075"/>
                  </a:lnTo>
                  <a:lnTo>
                    <a:pt x="158750" y="228600"/>
                  </a:lnTo>
                  <a:lnTo>
                    <a:pt x="168275" y="238125"/>
                  </a:lnTo>
                  <a:lnTo>
                    <a:pt x="177800" y="247650"/>
                  </a:lnTo>
                  <a:lnTo>
                    <a:pt x="180975" y="241300"/>
                  </a:lnTo>
                  <a:lnTo>
                    <a:pt x="184150" y="244475"/>
                  </a:lnTo>
                  <a:lnTo>
                    <a:pt x="203200" y="260350"/>
                  </a:lnTo>
                  <a:lnTo>
                    <a:pt x="209550" y="263525"/>
                  </a:lnTo>
                  <a:lnTo>
                    <a:pt x="209550" y="269875"/>
                  </a:lnTo>
                  <a:lnTo>
                    <a:pt x="219075" y="276225"/>
                  </a:lnTo>
                  <a:lnTo>
                    <a:pt x="238125" y="282575"/>
                  </a:lnTo>
                  <a:lnTo>
                    <a:pt x="244475" y="292100"/>
                  </a:lnTo>
                  <a:lnTo>
                    <a:pt x="241300" y="292100"/>
                  </a:lnTo>
                  <a:lnTo>
                    <a:pt x="238125" y="295275"/>
                  </a:lnTo>
                  <a:lnTo>
                    <a:pt x="234950" y="304800"/>
                  </a:lnTo>
                  <a:lnTo>
                    <a:pt x="241300" y="311150"/>
                  </a:lnTo>
                  <a:lnTo>
                    <a:pt x="250825" y="314325"/>
                  </a:lnTo>
                  <a:lnTo>
                    <a:pt x="257175" y="317500"/>
                  </a:lnTo>
                  <a:lnTo>
                    <a:pt x="257175" y="320675"/>
                  </a:lnTo>
                  <a:lnTo>
                    <a:pt x="260350" y="333375"/>
                  </a:lnTo>
                  <a:lnTo>
                    <a:pt x="266700" y="339725"/>
                  </a:lnTo>
                  <a:lnTo>
                    <a:pt x="276225" y="342900"/>
                  </a:lnTo>
                  <a:lnTo>
                    <a:pt x="282575" y="346075"/>
                  </a:lnTo>
                  <a:lnTo>
                    <a:pt x="285750" y="352425"/>
                  </a:lnTo>
                  <a:lnTo>
                    <a:pt x="285750" y="355600"/>
                  </a:lnTo>
                  <a:lnTo>
                    <a:pt x="288925" y="365125"/>
                  </a:lnTo>
                  <a:lnTo>
                    <a:pt x="285750" y="371475"/>
                  </a:lnTo>
                  <a:lnTo>
                    <a:pt x="285750" y="381000"/>
                  </a:lnTo>
                  <a:lnTo>
                    <a:pt x="288925" y="387350"/>
                  </a:lnTo>
                  <a:lnTo>
                    <a:pt x="288925" y="393700"/>
                  </a:lnTo>
                  <a:lnTo>
                    <a:pt x="285750" y="406400"/>
                  </a:lnTo>
                  <a:lnTo>
                    <a:pt x="285750" y="415925"/>
                  </a:lnTo>
                  <a:lnTo>
                    <a:pt x="279400" y="412750"/>
                  </a:lnTo>
                  <a:lnTo>
                    <a:pt x="276225" y="409575"/>
                  </a:lnTo>
                  <a:lnTo>
                    <a:pt x="269875" y="409575"/>
                  </a:lnTo>
                  <a:lnTo>
                    <a:pt x="263525" y="412750"/>
                  </a:lnTo>
                  <a:lnTo>
                    <a:pt x="260350" y="415925"/>
                  </a:lnTo>
                  <a:lnTo>
                    <a:pt x="238125" y="396875"/>
                  </a:lnTo>
                  <a:lnTo>
                    <a:pt x="212725" y="377825"/>
                  </a:lnTo>
                  <a:lnTo>
                    <a:pt x="209550" y="371475"/>
                  </a:lnTo>
                  <a:lnTo>
                    <a:pt x="203200" y="365125"/>
                  </a:lnTo>
                  <a:lnTo>
                    <a:pt x="187325" y="352425"/>
                  </a:lnTo>
                  <a:lnTo>
                    <a:pt x="180975" y="342900"/>
                  </a:lnTo>
                  <a:lnTo>
                    <a:pt x="177800" y="336550"/>
                  </a:lnTo>
                  <a:lnTo>
                    <a:pt x="180975" y="336550"/>
                  </a:lnTo>
                  <a:lnTo>
                    <a:pt x="177800" y="327025"/>
                  </a:lnTo>
                  <a:lnTo>
                    <a:pt x="168275" y="311150"/>
                  </a:lnTo>
                  <a:lnTo>
                    <a:pt x="165100" y="304800"/>
                  </a:lnTo>
                  <a:lnTo>
                    <a:pt x="155575" y="292100"/>
                  </a:lnTo>
                  <a:lnTo>
                    <a:pt x="146050" y="285750"/>
                  </a:lnTo>
                  <a:lnTo>
                    <a:pt x="139700" y="273050"/>
                  </a:lnTo>
                  <a:lnTo>
                    <a:pt x="133350" y="257175"/>
                  </a:lnTo>
                  <a:lnTo>
                    <a:pt x="133350" y="254000"/>
                  </a:lnTo>
                  <a:lnTo>
                    <a:pt x="127000" y="247650"/>
                  </a:lnTo>
                  <a:lnTo>
                    <a:pt x="120650" y="244475"/>
                  </a:lnTo>
                  <a:lnTo>
                    <a:pt x="117475" y="241300"/>
                  </a:lnTo>
                  <a:lnTo>
                    <a:pt x="107950" y="231775"/>
                  </a:lnTo>
                  <a:lnTo>
                    <a:pt x="98425" y="222250"/>
                  </a:lnTo>
                  <a:lnTo>
                    <a:pt x="92075" y="212725"/>
                  </a:lnTo>
                  <a:lnTo>
                    <a:pt x="82550" y="209550"/>
                  </a:lnTo>
                  <a:lnTo>
                    <a:pt x="73025" y="200025"/>
                  </a:lnTo>
                  <a:lnTo>
                    <a:pt x="63500" y="190500"/>
                  </a:lnTo>
                  <a:lnTo>
                    <a:pt x="57150" y="177800"/>
                  </a:lnTo>
                  <a:close/>
                  <a:moveTo>
                    <a:pt x="25400" y="136525"/>
                  </a:moveTo>
                  <a:lnTo>
                    <a:pt x="28575" y="136525"/>
                  </a:lnTo>
                  <a:lnTo>
                    <a:pt x="28575" y="146050"/>
                  </a:lnTo>
                  <a:lnTo>
                    <a:pt x="25400" y="142875"/>
                  </a:lnTo>
                  <a:close/>
                  <a:moveTo>
                    <a:pt x="6350" y="0"/>
                  </a:moveTo>
                  <a:lnTo>
                    <a:pt x="12700" y="0"/>
                  </a:lnTo>
                  <a:lnTo>
                    <a:pt x="9525" y="9525"/>
                  </a:lnTo>
                  <a:lnTo>
                    <a:pt x="6350" y="25400"/>
                  </a:lnTo>
                  <a:lnTo>
                    <a:pt x="6350" y="34925"/>
                  </a:lnTo>
                  <a:lnTo>
                    <a:pt x="3175" y="44450"/>
                  </a:lnTo>
                  <a:lnTo>
                    <a:pt x="0" y="38100"/>
                  </a:lnTo>
                  <a:lnTo>
                    <a:pt x="3175" y="28575"/>
                  </a:lnTo>
                  <a:lnTo>
                    <a:pt x="6350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" name="Google Shape;632;p35">
              <a:extLst>
                <a:ext uri="{FF2B5EF4-FFF2-40B4-BE49-F238E27FC236}">
                  <a16:creationId xmlns:a16="http://schemas.microsoft.com/office/drawing/2014/main" id="{1840BB12-91D3-04DC-29BE-3B8CF9DDBCE6}"/>
                </a:ext>
              </a:extLst>
            </p:cNvPr>
            <p:cNvSpPr/>
            <p:nvPr/>
          </p:nvSpPr>
          <p:spPr>
            <a:xfrm>
              <a:off x="6717110" y="4941650"/>
              <a:ext cx="25718" cy="20003"/>
            </a:xfrm>
            <a:custGeom>
              <a:avLst/>
              <a:gdLst/>
              <a:ahLst/>
              <a:cxnLst/>
              <a:rect l="l" t="t" r="r" b="b"/>
              <a:pathLst>
                <a:path w="28575" h="22225" extrusionOk="0">
                  <a:moveTo>
                    <a:pt x="25400" y="15875"/>
                  </a:moveTo>
                  <a:lnTo>
                    <a:pt x="28575" y="22225"/>
                  </a:lnTo>
                  <a:lnTo>
                    <a:pt x="22225" y="19050"/>
                  </a:lnTo>
                  <a:close/>
                  <a:moveTo>
                    <a:pt x="0" y="0"/>
                  </a:moveTo>
                  <a:lnTo>
                    <a:pt x="3175" y="3175"/>
                  </a:lnTo>
                  <a:lnTo>
                    <a:pt x="3175" y="9525"/>
                  </a:lnTo>
                  <a:lnTo>
                    <a:pt x="3175" y="12700"/>
                  </a:lnTo>
                  <a:lnTo>
                    <a:pt x="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" name="Google Shape;633;p35">
              <a:extLst>
                <a:ext uri="{FF2B5EF4-FFF2-40B4-BE49-F238E27FC236}">
                  <a16:creationId xmlns:a16="http://schemas.microsoft.com/office/drawing/2014/main" id="{558AF180-EAD9-F4BB-36D2-CBD2EBD7C2D1}"/>
                </a:ext>
              </a:extLst>
            </p:cNvPr>
            <p:cNvSpPr/>
            <p:nvPr/>
          </p:nvSpPr>
          <p:spPr>
            <a:xfrm>
              <a:off x="6951425" y="5115956"/>
              <a:ext cx="48577" cy="28575"/>
            </a:xfrm>
            <a:custGeom>
              <a:avLst/>
              <a:gdLst/>
              <a:ahLst/>
              <a:cxnLst/>
              <a:rect l="l" t="t" r="r" b="b"/>
              <a:pathLst>
                <a:path w="53975" h="31750" extrusionOk="0">
                  <a:moveTo>
                    <a:pt x="9525" y="22225"/>
                  </a:moveTo>
                  <a:lnTo>
                    <a:pt x="12700" y="28575"/>
                  </a:lnTo>
                  <a:lnTo>
                    <a:pt x="6350" y="31750"/>
                  </a:lnTo>
                  <a:lnTo>
                    <a:pt x="0" y="25400"/>
                  </a:lnTo>
                  <a:close/>
                  <a:moveTo>
                    <a:pt x="47625" y="0"/>
                  </a:moveTo>
                  <a:lnTo>
                    <a:pt x="53975" y="3175"/>
                  </a:lnTo>
                  <a:lnTo>
                    <a:pt x="50800" y="9525"/>
                  </a:lnTo>
                  <a:lnTo>
                    <a:pt x="41275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" name="Google Shape;634;p35">
              <a:extLst>
                <a:ext uri="{FF2B5EF4-FFF2-40B4-BE49-F238E27FC236}">
                  <a16:creationId xmlns:a16="http://schemas.microsoft.com/office/drawing/2014/main" id="{7442149A-B7F1-E447-412B-76A44DBD71F0}"/>
                </a:ext>
              </a:extLst>
            </p:cNvPr>
            <p:cNvSpPr/>
            <p:nvPr/>
          </p:nvSpPr>
          <p:spPr>
            <a:xfrm>
              <a:off x="6717110" y="4953080"/>
              <a:ext cx="140017" cy="280035"/>
            </a:xfrm>
            <a:custGeom>
              <a:avLst/>
              <a:gdLst/>
              <a:ahLst/>
              <a:cxnLst/>
              <a:rect l="l" t="t" r="r" b="b"/>
              <a:pathLst>
                <a:path w="98" h="196" extrusionOk="0">
                  <a:moveTo>
                    <a:pt x="94" y="24"/>
                  </a:moveTo>
                  <a:lnTo>
                    <a:pt x="90" y="12"/>
                  </a:lnTo>
                  <a:lnTo>
                    <a:pt x="82" y="0"/>
                  </a:lnTo>
                  <a:lnTo>
                    <a:pt x="78" y="6"/>
                  </a:lnTo>
                  <a:lnTo>
                    <a:pt x="76" y="8"/>
                  </a:lnTo>
                  <a:lnTo>
                    <a:pt x="78" y="12"/>
                  </a:lnTo>
                  <a:lnTo>
                    <a:pt x="76" y="18"/>
                  </a:lnTo>
                  <a:lnTo>
                    <a:pt x="74" y="20"/>
                  </a:lnTo>
                  <a:lnTo>
                    <a:pt x="70" y="22"/>
                  </a:lnTo>
                  <a:lnTo>
                    <a:pt x="66" y="24"/>
                  </a:lnTo>
                  <a:lnTo>
                    <a:pt x="64" y="24"/>
                  </a:lnTo>
                  <a:lnTo>
                    <a:pt x="60" y="34"/>
                  </a:lnTo>
                  <a:lnTo>
                    <a:pt x="62" y="38"/>
                  </a:lnTo>
                  <a:lnTo>
                    <a:pt x="58" y="44"/>
                  </a:lnTo>
                  <a:lnTo>
                    <a:pt x="56" y="44"/>
                  </a:lnTo>
                  <a:lnTo>
                    <a:pt x="58" y="40"/>
                  </a:lnTo>
                  <a:lnTo>
                    <a:pt x="56" y="40"/>
                  </a:lnTo>
                  <a:lnTo>
                    <a:pt x="50" y="46"/>
                  </a:lnTo>
                  <a:lnTo>
                    <a:pt x="42" y="54"/>
                  </a:lnTo>
                  <a:lnTo>
                    <a:pt x="38" y="54"/>
                  </a:lnTo>
                  <a:lnTo>
                    <a:pt x="32" y="54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0" y="76"/>
                  </a:lnTo>
                  <a:lnTo>
                    <a:pt x="10" y="82"/>
                  </a:lnTo>
                  <a:lnTo>
                    <a:pt x="10" y="90"/>
                  </a:lnTo>
                  <a:lnTo>
                    <a:pt x="14" y="98"/>
                  </a:lnTo>
                  <a:lnTo>
                    <a:pt x="16" y="106"/>
                  </a:lnTo>
                  <a:lnTo>
                    <a:pt x="16" y="114"/>
                  </a:lnTo>
                  <a:lnTo>
                    <a:pt x="10" y="124"/>
                  </a:lnTo>
                  <a:lnTo>
                    <a:pt x="8" y="130"/>
                  </a:lnTo>
                  <a:lnTo>
                    <a:pt x="4" y="132"/>
                  </a:lnTo>
                  <a:lnTo>
                    <a:pt x="2" y="136"/>
                  </a:lnTo>
                  <a:lnTo>
                    <a:pt x="0" y="140"/>
                  </a:lnTo>
                  <a:lnTo>
                    <a:pt x="2" y="156"/>
                  </a:lnTo>
                  <a:lnTo>
                    <a:pt x="6" y="166"/>
                  </a:lnTo>
                  <a:lnTo>
                    <a:pt x="6" y="174"/>
                  </a:lnTo>
                  <a:lnTo>
                    <a:pt x="8" y="180"/>
                  </a:lnTo>
                  <a:lnTo>
                    <a:pt x="12" y="188"/>
                  </a:lnTo>
                  <a:lnTo>
                    <a:pt x="20" y="192"/>
                  </a:lnTo>
                  <a:lnTo>
                    <a:pt x="26" y="196"/>
                  </a:lnTo>
                  <a:lnTo>
                    <a:pt x="34" y="192"/>
                  </a:lnTo>
                  <a:lnTo>
                    <a:pt x="42" y="190"/>
                  </a:lnTo>
                  <a:lnTo>
                    <a:pt x="48" y="190"/>
                  </a:lnTo>
                  <a:lnTo>
                    <a:pt x="54" y="184"/>
                  </a:lnTo>
                  <a:lnTo>
                    <a:pt x="60" y="166"/>
                  </a:lnTo>
                  <a:lnTo>
                    <a:pt x="64" y="148"/>
                  </a:lnTo>
                  <a:lnTo>
                    <a:pt x="78" y="104"/>
                  </a:lnTo>
                  <a:lnTo>
                    <a:pt x="84" y="90"/>
                  </a:lnTo>
                  <a:lnTo>
                    <a:pt x="84" y="84"/>
                  </a:lnTo>
                  <a:lnTo>
                    <a:pt x="86" y="80"/>
                  </a:lnTo>
                  <a:lnTo>
                    <a:pt x="84" y="78"/>
                  </a:lnTo>
                  <a:lnTo>
                    <a:pt x="84" y="74"/>
                  </a:lnTo>
                  <a:lnTo>
                    <a:pt x="86" y="70"/>
                  </a:lnTo>
                  <a:lnTo>
                    <a:pt x="88" y="68"/>
                  </a:lnTo>
                  <a:lnTo>
                    <a:pt x="90" y="64"/>
                  </a:lnTo>
                  <a:lnTo>
                    <a:pt x="90" y="60"/>
                  </a:lnTo>
                  <a:lnTo>
                    <a:pt x="88" y="58"/>
                  </a:lnTo>
                  <a:lnTo>
                    <a:pt x="88" y="56"/>
                  </a:lnTo>
                  <a:lnTo>
                    <a:pt x="88" y="48"/>
                  </a:lnTo>
                  <a:lnTo>
                    <a:pt x="90" y="48"/>
                  </a:lnTo>
                  <a:lnTo>
                    <a:pt x="90" y="50"/>
                  </a:lnTo>
                  <a:lnTo>
                    <a:pt x="94" y="56"/>
                  </a:lnTo>
                  <a:lnTo>
                    <a:pt x="96" y="52"/>
                  </a:lnTo>
                  <a:lnTo>
                    <a:pt x="98" y="46"/>
                  </a:lnTo>
                  <a:lnTo>
                    <a:pt x="94" y="36"/>
                  </a:lnTo>
                  <a:lnTo>
                    <a:pt x="94" y="2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" name="Google Shape;635;p35">
              <a:extLst>
                <a:ext uri="{FF2B5EF4-FFF2-40B4-BE49-F238E27FC236}">
                  <a16:creationId xmlns:a16="http://schemas.microsoft.com/office/drawing/2014/main" id="{94AC8285-5866-E7F9-DE0F-945F983A92E8}"/>
                </a:ext>
              </a:extLst>
            </p:cNvPr>
            <p:cNvSpPr/>
            <p:nvPr/>
          </p:nvSpPr>
          <p:spPr>
            <a:xfrm>
              <a:off x="6462792" y="4924505"/>
              <a:ext cx="208597" cy="334327"/>
            </a:xfrm>
            <a:custGeom>
              <a:avLst/>
              <a:gdLst/>
              <a:ahLst/>
              <a:cxnLst/>
              <a:rect l="l" t="t" r="r" b="b"/>
              <a:pathLst>
                <a:path w="146" h="234" extrusionOk="0">
                  <a:moveTo>
                    <a:pt x="126" y="8"/>
                  </a:moveTo>
                  <a:lnTo>
                    <a:pt x="118" y="10"/>
                  </a:lnTo>
                  <a:lnTo>
                    <a:pt x="114" y="14"/>
                  </a:lnTo>
                  <a:lnTo>
                    <a:pt x="106" y="12"/>
                  </a:lnTo>
                  <a:lnTo>
                    <a:pt x="104" y="14"/>
                  </a:lnTo>
                  <a:lnTo>
                    <a:pt x="100" y="18"/>
                  </a:lnTo>
                  <a:lnTo>
                    <a:pt x="96" y="18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88" y="18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4" y="16"/>
                  </a:lnTo>
                  <a:lnTo>
                    <a:pt x="72" y="16"/>
                  </a:lnTo>
                  <a:lnTo>
                    <a:pt x="66" y="16"/>
                  </a:lnTo>
                  <a:lnTo>
                    <a:pt x="60" y="16"/>
                  </a:lnTo>
                  <a:lnTo>
                    <a:pt x="58" y="22"/>
                  </a:lnTo>
                  <a:lnTo>
                    <a:pt x="58" y="26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70" y="50"/>
                  </a:lnTo>
                  <a:lnTo>
                    <a:pt x="78" y="58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6" y="78"/>
                  </a:lnTo>
                  <a:lnTo>
                    <a:pt x="68" y="84"/>
                  </a:lnTo>
                  <a:lnTo>
                    <a:pt x="70" y="92"/>
                  </a:lnTo>
                  <a:lnTo>
                    <a:pt x="66" y="92"/>
                  </a:lnTo>
                  <a:lnTo>
                    <a:pt x="66" y="88"/>
                  </a:lnTo>
                  <a:lnTo>
                    <a:pt x="64" y="86"/>
                  </a:lnTo>
                  <a:lnTo>
                    <a:pt x="60" y="82"/>
                  </a:ln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0" y="56"/>
                  </a:lnTo>
                  <a:lnTo>
                    <a:pt x="46" y="54"/>
                  </a:lnTo>
                  <a:lnTo>
                    <a:pt x="42" y="48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4" y="72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16" y="78"/>
                  </a:lnTo>
                  <a:lnTo>
                    <a:pt x="28" y="82"/>
                  </a:lnTo>
                  <a:lnTo>
                    <a:pt x="36" y="88"/>
                  </a:lnTo>
                  <a:lnTo>
                    <a:pt x="38" y="86"/>
                  </a:lnTo>
                  <a:lnTo>
                    <a:pt x="40" y="96"/>
                  </a:lnTo>
                  <a:lnTo>
                    <a:pt x="38" y="106"/>
                  </a:lnTo>
                  <a:lnTo>
                    <a:pt x="40" y="110"/>
                  </a:lnTo>
                  <a:lnTo>
                    <a:pt x="38" y="110"/>
                  </a:lnTo>
                  <a:lnTo>
                    <a:pt x="38" y="116"/>
                  </a:lnTo>
                  <a:lnTo>
                    <a:pt x="36" y="116"/>
                  </a:lnTo>
                  <a:lnTo>
                    <a:pt x="36" y="118"/>
                  </a:lnTo>
                  <a:lnTo>
                    <a:pt x="36" y="12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38" y="132"/>
                  </a:lnTo>
                  <a:lnTo>
                    <a:pt x="36" y="138"/>
                  </a:lnTo>
                  <a:lnTo>
                    <a:pt x="34" y="142"/>
                  </a:lnTo>
                  <a:lnTo>
                    <a:pt x="32" y="142"/>
                  </a:lnTo>
                  <a:lnTo>
                    <a:pt x="30" y="148"/>
                  </a:lnTo>
                  <a:lnTo>
                    <a:pt x="32" y="154"/>
                  </a:lnTo>
                  <a:lnTo>
                    <a:pt x="30" y="152"/>
                  </a:lnTo>
                  <a:lnTo>
                    <a:pt x="24" y="160"/>
                  </a:lnTo>
                  <a:lnTo>
                    <a:pt x="16" y="168"/>
                  </a:lnTo>
                  <a:lnTo>
                    <a:pt x="18" y="176"/>
                  </a:lnTo>
                  <a:lnTo>
                    <a:pt x="18" y="182"/>
                  </a:lnTo>
                  <a:lnTo>
                    <a:pt x="20" y="188"/>
                  </a:lnTo>
                  <a:lnTo>
                    <a:pt x="24" y="192"/>
                  </a:lnTo>
                  <a:lnTo>
                    <a:pt x="24" y="222"/>
                  </a:lnTo>
                  <a:lnTo>
                    <a:pt x="26" y="228"/>
                  </a:lnTo>
                  <a:lnTo>
                    <a:pt x="26" y="234"/>
                  </a:lnTo>
                  <a:lnTo>
                    <a:pt x="30" y="234"/>
                  </a:lnTo>
                  <a:lnTo>
                    <a:pt x="38" y="234"/>
                  </a:lnTo>
                  <a:lnTo>
                    <a:pt x="36" y="226"/>
                  </a:lnTo>
                  <a:lnTo>
                    <a:pt x="34" y="222"/>
                  </a:lnTo>
                  <a:lnTo>
                    <a:pt x="34" y="220"/>
                  </a:lnTo>
                  <a:lnTo>
                    <a:pt x="46" y="210"/>
                  </a:lnTo>
                  <a:lnTo>
                    <a:pt x="58" y="204"/>
                  </a:lnTo>
                  <a:lnTo>
                    <a:pt x="68" y="200"/>
                  </a:lnTo>
                  <a:lnTo>
                    <a:pt x="72" y="194"/>
                  </a:lnTo>
                  <a:lnTo>
                    <a:pt x="72" y="188"/>
                  </a:lnTo>
                  <a:lnTo>
                    <a:pt x="72" y="182"/>
                  </a:lnTo>
                  <a:lnTo>
                    <a:pt x="72" y="174"/>
                  </a:lnTo>
                  <a:lnTo>
                    <a:pt x="74" y="166"/>
                  </a:lnTo>
                  <a:lnTo>
                    <a:pt x="72" y="166"/>
                  </a:lnTo>
                  <a:lnTo>
                    <a:pt x="72" y="164"/>
                  </a:lnTo>
                  <a:lnTo>
                    <a:pt x="68" y="156"/>
                  </a:lnTo>
                  <a:lnTo>
                    <a:pt x="66" y="152"/>
                  </a:lnTo>
                  <a:lnTo>
                    <a:pt x="68" y="148"/>
                  </a:lnTo>
                  <a:lnTo>
                    <a:pt x="66" y="148"/>
                  </a:lnTo>
                  <a:lnTo>
                    <a:pt x="64" y="144"/>
                  </a:lnTo>
                  <a:lnTo>
                    <a:pt x="62" y="140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74" y="124"/>
                  </a:lnTo>
                  <a:lnTo>
                    <a:pt x="76" y="120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2" y="108"/>
                  </a:lnTo>
                  <a:lnTo>
                    <a:pt x="96" y="102"/>
                  </a:lnTo>
                  <a:lnTo>
                    <a:pt x="110" y="94"/>
                  </a:lnTo>
                  <a:lnTo>
                    <a:pt x="118" y="92"/>
                  </a:lnTo>
                  <a:lnTo>
                    <a:pt x="122" y="90"/>
                  </a:lnTo>
                  <a:lnTo>
                    <a:pt x="126" y="86"/>
                  </a:lnTo>
                  <a:lnTo>
                    <a:pt x="138" y="74"/>
                  </a:lnTo>
                  <a:lnTo>
                    <a:pt x="142" y="68"/>
                  </a:lnTo>
                  <a:lnTo>
                    <a:pt x="142" y="66"/>
                  </a:lnTo>
                  <a:lnTo>
                    <a:pt x="144" y="62"/>
                  </a:lnTo>
                  <a:lnTo>
                    <a:pt x="146" y="58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2" y="44"/>
                  </a:lnTo>
                  <a:lnTo>
                    <a:pt x="142" y="40"/>
                  </a:lnTo>
                  <a:lnTo>
                    <a:pt x="140" y="34"/>
                  </a:lnTo>
                  <a:lnTo>
                    <a:pt x="142" y="32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2" y="28"/>
                  </a:lnTo>
                  <a:lnTo>
                    <a:pt x="140" y="28"/>
                  </a:lnTo>
                  <a:lnTo>
                    <a:pt x="140" y="26"/>
                  </a:lnTo>
                  <a:lnTo>
                    <a:pt x="140" y="22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0" y="10"/>
                  </a:lnTo>
                  <a:lnTo>
                    <a:pt x="142" y="2"/>
                  </a:lnTo>
                  <a:lnTo>
                    <a:pt x="140" y="0"/>
                  </a:lnTo>
                  <a:lnTo>
                    <a:pt x="134" y="4"/>
                  </a:lnTo>
                  <a:lnTo>
                    <a:pt x="126" y="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Google Shape;636;p35">
              <a:extLst>
                <a:ext uri="{FF2B5EF4-FFF2-40B4-BE49-F238E27FC236}">
                  <a16:creationId xmlns:a16="http://schemas.microsoft.com/office/drawing/2014/main" id="{45AFDE07-DADB-5B94-2A5F-0E72BC713B8C}"/>
                </a:ext>
              </a:extLst>
            </p:cNvPr>
            <p:cNvSpPr/>
            <p:nvPr/>
          </p:nvSpPr>
          <p:spPr>
            <a:xfrm>
              <a:off x="6399927" y="5298837"/>
              <a:ext cx="48577" cy="42862"/>
            </a:xfrm>
            <a:custGeom>
              <a:avLst/>
              <a:gdLst/>
              <a:ahLst/>
              <a:cxnLst/>
              <a:rect l="l" t="t" r="r" b="b"/>
              <a:pathLst>
                <a:path w="34" h="30" extrusionOk="0">
                  <a:moveTo>
                    <a:pt x="28" y="4"/>
                  </a:moveTo>
                  <a:lnTo>
                    <a:pt x="24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0" y="16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8" y="26"/>
                  </a:lnTo>
                  <a:lnTo>
                    <a:pt x="22" y="24"/>
                  </a:lnTo>
                  <a:lnTo>
                    <a:pt x="28" y="22"/>
                  </a:lnTo>
                  <a:lnTo>
                    <a:pt x="30" y="20"/>
                  </a:lnTo>
                  <a:lnTo>
                    <a:pt x="32" y="16"/>
                  </a:lnTo>
                  <a:lnTo>
                    <a:pt x="34" y="8"/>
                  </a:lnTo>
                  <a:lnTo>
                    <a:pt x="32" y="6"/>
                  </a:lnTo>
                  <a:lnTo>
                    <a:pt x="28" y="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Google Shape;637;p35">
              <a:extLst>
                <a:ext uri="{FF2B5EF4-FFF2-40B4-BE49-F238E27FC236}">
                  <a16:creationId xmlns:a16="http://schemas.microsoft.com/office/drawing/2014/main" id="{F5EDB6EE-7D8C-B7E0-B79F-0553C06FB518}"/>
                </a:ext>
              </a:extLst>
            </p:cNvPr>
            <p:cNvSpPr/>
            <p:nvPr/>
          </p:nvSpPr>
          <p:spPr>
            <a:xfrm>
              <a:off x="6474222" y="5235972"/>
              <a:ext cx="25717" cy="34290"/>
            </a:xfrm>
            <a:custGeom>
              <a:avLst/>
              <a:gdLst/>
              <a:ahLst/>
              <a:cxnLst/>
              <a:rect l="l" t="t" r="r" b="b"/>
              <a:pathLst>
                <a:path w="18" h="24" extrusionOk="0">
                  <a:moveTo>
                    <a:pt x="8" y="0"/>
                  </a:moveTo>
                  <a:lnTo>
                    <a:pt x="4" y="4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6" y="22"/>
                  </a:lnTo>
                  <a:lnTo>
                    <a:pt x="16" y="24"/>
                  </a:lnTo>
                  <a:lnTo>
                    <a:pt x="18" y="16"/>
                  </a:lnTo>
                  <a:lnTo>
                    <a:pt x="18" y="10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Google Shape;638;p35">
              <a:extLst>
                <a:ext uri="{FF2B5EF4-FFF2-40B4-BE49-F238E27FC236}">
                  <a16:creationId xmlns:a16="http://schemas.microsoft.com/office/drawing/2014/main" id="{CD967CC0-5580-5957-633C-A44DA04178D8}"/>
                </a:ext>
              </a:extLst>
            </p:cNvPr>
            <p:cNvSpPr/>
            <p:nvPr/>
          </p:nvSpPr>
          <p:spPr>
            <a:xfrm>
              <a:off x="6302772" y="4878785"/>
              <a:ext cx="225742" cy="197167"/>
            </a:xfrm>
            <a:custGeom>
              <a:avLst/>
              <a:gdLst/>
              <a:ahLst/>
              <a:cxnLst/>
              <a:rect l="l" t="t" r="r" b="b"/>
              <a:pathLst>
                <a:path w="158" h="138" extrusionOk="0">
                  <a:moveTo>
                    <a:pt x="94" y="10"/>
                  </a:moveTo>
                  <a:lnTo>
                    <a:pt x="92" y="12"/>
                  </a:lnTo>
                  <a:lnTo>
                    <a:pt x="90" y="16"/>
                  </a:lnTo>
                  <a:lnTo>
                    <a:pt x="90" y="20"/>
                  </a:lnTo>
                  <a:lnTo>
                    <a:pt x="90" y="24"/>
                  </a:lnTo>
                  <a:lnTo>
                    <a:pt x="90" y="28"/>
                  </a:lnTo>
                  <a:lnTo>
                    <a:pt x="90" y="30"/>
                  </a:lnTo>
                  <a:lnTo>
                    <a:pt x="90" y="32"/>
                  </a:lnTo>
                  <a:lnTo>
                    <a:pt x="92" y="34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8" y="50"/>
                  </a:lnTo>
                  <a:lnTo>
                    <a:pt x="96" y="56"/>
                  </a:lnTo>
                  <a:lnTo>
                    <a:pt x="102" y="58"/>
                  </a:lnTo>
                  <a:lnTo>
                    <a:pt x="108" y="56"/>
                  </a:lnTo>
                  <a:lnTo>
                    <a:pt x="108" y="74"/>
                  </a:lnTo>
                  <a:lnTo>
                    <a:pt x="104" y="72"/>
                  </a:lnTo>
                  <a:lnTo>
                    <a:pt x="106" y="70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0"/>
                  </a:lnTo>
                  <a:lnTo>
                    <a:pt x="94" y="66"/>
                  </a:lnTo>
                  <a:lnTo>
                    <a:pt x="88" y="60"/>
                  </a:lnTo>
                  <a:lnTo>
                    <a:pt x="84" y="58"/>
                  </a:lnTo>
                  <a:lnTo>
                    <a:pt x="80" y="58"/>
                  </a:lnTo>
                  <a:lnTo>
                    <a:pt x="76" y="54"/>
                  </a:lnTo>
                  <a:lnTo>
                    <a:pt x="72" y="50"/>
                  </a:lnTo>
                  <a:lnTo>
                    <a:pt x="70" y="48"/>
                  </a:lnTo>
                  <a:lnTo>
                    <a:pt x="68" y="52"/>
                  </a:lnTo>
                  <a:lnTo>
                    <a:pt x="62" y="52"/>
                  </a:lnTo>
                  <a:lnTo>
                    <a:pt x="48" y="50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38" y="44"/>
                  </a:lnTo>
                  <a:lnTo>
                    <a:pt x="34" y="46"/>
                  </a:lnTo>
                  <a:lnTo>
                    <a:pt x="34" y="40"/>
                  </a:lnTo>
                  <a:lnTo>
                    <a:pt x="28" y="38"/>
                  </a:lnTo>
                  <a:lnTo>
                    <a:pt x="28" y="50"/>
                  </a:lnTo>
                  <a:lnTo>
                    <a:pt x="28" y="62"/>
                  </a:lnTo>
                  <a:lnTo>
                    <a:pt x="28" y="66"/>
                  </a:lnTo>
                  <a:lnTo>
                    <a:pt x="28" y="68"/>
                  </a:lnTo>
                  <a:lnTo>
                    <a:pt x="1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112"/>
                  </a:lnTo>
                  <a:lnTo>
                    <a:pt x="4" y="118"/>
                  </a:lnTo>
                  <a:lnTo>
                    <a:pt x="10" y="124"/>
                  </a:lnTo>
                  <a:lnTo>
                    <a:pt x="20" y="132"/>
                  </a:lnTo>
                  <a:lnTo>
                    <a:pt x="32" y="130"/>
                  </a:lnTo>
                  <a:lnTo>
                    <a:pt x="46" y="134"/>
                  </a:lnTo>
                  <a:lnTo>
                    <a:pt x="50" y="136"/>
                  </a:lnTo>
                  <a:lnTo>
                    <a:pt x="54" y="136"/>
                  </a:lnTo>
                  <a:lnTo>
                    <a:pt x="68" y="138"/>
                  </a:lnTo>
                  <a:lnTo>
                    <a:pt x="70" y="136"/>
                  </a:lnTo>
                  <a:lnTo>
                    <a:pt x="70" y="136"/>
                  </a:lnTo>
                  <a:lnTo>
                    <a:pt x="80" y="122"/>
                  </a:lnTo>
                  <a:lnTo>
                    <a:pt x="86" y="120"/>
                  </a:lnTo>
                  <a:lnTo>
                    <a:pt x="92" y="116"/>
                  </a:lnTo>
                  <a:lnTo>
                    <a:pt x="96" y="108"/>
                  </a:lnTo>
                  <a:lnTo>
                    <a:pt x="104" y="104"/>
                  </a:lnTo>
                  <a:lnTo>
                    <a:pt x="116" y="104"/>
                  </a:lnTo>
                  <a:lnTo>
                    <a:pt x="114" y="100"/>
                  </a:lnTo>
                  <a:lnTo>
                    <a:pt x="114" y="98"/>
                  </a:lnTo>
                  <a:lnTo>
                    <a:pt x="112" y="94"/>
                  </a:lnTo>
                  <a:lnTo>
                    <a:pt x="154" y="80"/>
                  </a:lnTo>
                  <a:lnTo>
                    <a:pt x="150" y="80"/>
                  </a:lnTo>
                  <a:lnTo>
                    <a:pt x="148" y="76"/>
                  </a:lnTo>
                  <a:lnTo>
                    <a:pt x="148" y="74"/>
                  </a:lnTo>
                  <a:lnTo>
                    <a:pt x="150" y="70"/>
                  </a:lnTo>
                  <a:lnTo>
                    <a:pt x="152" y="62"/>
                  </a:lnTo>
                  <a:lnTo>
                    <a:pt x="154" y="60"/>
                  </a:lnTo>
                  <a:lnTo>
                    <a:pt x="156" y="56"/>
                  </a:lnTo>
                  <a:lnTo>
                    <a:pt x="156" y="38"/>
                  </a:lnTo>
                  <a:lnTo>
                    <a:pt x="156" y="34"/>
                  </a:lnTo>
                  <a:lnTo>
                    <a:pt x="158" y="32"/>
                  </a:lnTo>
                  <a:lnTo>
                    <a:pt x="154" y="22"/>
                  </a:lnTo>
                  <a:lnTo>
                    <a:pt x="154" y="20"/>
                  </a:lnTo>
                  <a:lnTo>
                    <a:pt x="152" y="20"/>
                  </a:lnTo>
                  <a:lnTo>
                    <a:pt x="150" y="20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2" y="14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4" y="4"/>
                  </a:lnTo>
                  <a:lnTo>
                    <a:pt x="94" y="1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Google Shape;639;p35">
              <a:extLst>
                <a:ext uri="{FF2B5EF4-FFF2-40B4-BE49-F238E27FC236}">
                  <a16:creationId xmlns:a16="http://schemas.microsoft.com/office/drawing/2014/main" id="{43A86788-CDBB-CB32-932C-0A1E9E2F44FC}"/>
                </a:ext>
              </a:extLst>
            </p:cNvPr>
            <p:cNvSpPr/>
            <p:nvPr/>
          </p:nvSpPr>
          <p:spPr>
            <a:xfrm>
              <a:off x="6368495" y="5027375"/>
              <a:ext cx="151447" cy="137160"/>
            </a:xfrm>
            <a:custGeom>
              <a:avLst/>
              <a:gdLst/>
              <a:ahLst/>
              <a:cxnLst/>
              <a:rect l="l" t="t" r="r" b="b"/>
              <a:pathLst>
                <a:path w="106" h="96" extrusionOk="0">
                  <a:moveTo>
                    <a:pt x="50" y="4"/>
                  </a:moveTo>
                  <a:lnTo>
                    <a:pt x="46" y="12"/>
                  </a:lnTo>
                  <a:lnTo>
                    <a:pt x="40" y="16"/>
                  </a:lnTo>
                  <a:lnTo>
                    <a:pt x="34" y="1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2" y="34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0" y="30"/>
                  </a:lnTo>
                  <a:lnTo>
                    <a:pt x="4" y="40"/>
                  </a:lnTo>
                  <a:lnTo>
                    <a:pt x="12" y="54"/>
                  </a:lnTo>
                  <a:lnTo>
                    <a:pt x="16" y="58"/>
                  </a:lnTo>
                  <a:lnTo>
                    <a:pt x="20" y="62"/>
                  </a:lnTo>
                  <a:lnTo>
                    <a:pt x="26" y="62"/>
                  </a:lnTo>
                  <a:lnTo>
                    <a:pt x="26" y="68"/>
                  </a:lnTo>
                  <a:lnTo>
                    <a:pt x="32" y="70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8" y="84"/>
                  </a:lnTo>
                  <a:lnTo>
                    <a:pt x="44" y="86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4" y="92"/>
                  </a:lnTo>
                  <a:lnTo>
                    <a:pt x="56" y="94"/>
                  </a:lnTo>
                  <a:lnTo>
                    <a:pt x="62" y="94"/>
                  </a:lnTo>
                  <a:lnTo>
                    <a:pt x="72" y="96"/>
                  </a:lnTo>
                  <a:lnTo>
                    <a:pt x="82" y="96"/>
                  </a:lnTo>
                  <a:lnTo>
                    <a:pt x="90" y="88"/>
                  </a:lnTo>
                  <a:lnTo>
                    <a:pt x="96" y="80"/>
                  </a:lnTo>
                  <a:lnTo>
                    <a:pt x="98" y="82"/>
                  </a:lnTo>
                  <a:lnTo>
                    <a:pt x="96" y="76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2" y="66"/>
                  </a:lnTo>
                  <a:lnTo>
                    <a:pt x="104" y="60"/>
                  </a:lnTo>
                  <a:lnTo>
                    <a:pt x="104" y="58"/>
                  </a:lnTo>
                  <a:lnTo>
                    <a:pt x="102" y="56"/>
                  </a:lnTo>
                  <a:lnTo>
                    <a:pt x="102" y="48"/>
                  </a:lnTo>
                  <a:lnTo>
                    <a:pt x="102" y="46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4" y="34"/>
                  </a:lnTo>
                  <a:lnTo>
                    <a:pt x="106" y="24"/>
                  </a:lnTo>
                  <a:lnTo>
                    <a:pt x="104" y="14"/>
                  </a:lnTo>
                  <a:lnTo>
                    <a:pt x="102" y="16"/>
                  </a:lnTo>
                  <a:lnTo>
                    <a:pt x="94" y="10"/>
                  </a:lnTo>
                  <a:lnTo>
                    <a:pt x="82" y="6"/>
                  </a:lnTo>
                  <a:lnTo>
                    <a:pt x="74" y="4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58" y="0"/>
                  </a:lnTo>
                  <a:lnTo>
                    <a:pt x="50" y="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Google Shape;640;p35">
              <a:extLst>
                <a:ext uri="{FF2B5EF4-FFF2-40B4-BE49-F238E27FC236}">
                  <a16:creationId xmlns:a16="http://schemas.microsoft.com/office/drawing/2014/main" id="{03CCAC10-1F1D-6DBA-F39F-A958D13E78B1}"/>
                </a:ext>
              </a:extLst>
            </p:cNvPr>
            <p:cNvSpPr/>
            <p:nvPr/>
          </p:nvSpPr>
          <p:spPr>
            <a:xfrm>
              <a:off x="6105605" y="5053092"/>
              <a:ext cx="262890" cy="251460"/>
            </a:xfrm>
            <a:custGeom>
              <a:avLst/>
              <a:gdLst/>
              <a:ahLst/>
              <a:cxnLst/>
              <a:rect l="l" t="t" r="r" b="b"/>
              <a:pathLst>
                <a:path w="184" h="176" extrusionOk="0">
                  <a:moveTo>
                    <a:pt x="70" y="164"/>
                  </a:moveTo>
                  <a:lnTo>
                    <a:pt x="74" y="164"/>
                  </a:lnTo>
                  <a:lnTo>
                    <a:pt x="76" y="168"/>
                  </a:lnTo>
                  <a:lnTo>
                    <a:pt x="76" y="170"/>
                  </a:lnTo>
                  <a:lnTo>
                    <a:pt x="78" y="174"/>
                  </a:lnTo>
                  <a:lnTo>
                    <a:pt x="82" y="174"/>
                  </a:lnTo>
                  <a:lnTo>
                    <a:pt x="90" y="176"/>
                  </a:lnTo>
                  <a:lnTo>
                    <a:pt x="96" y="176"/>
                  </a:lnTo>
                  <a:lnTo>
                    <a:pt x="98" y="176"/>
                  </a:lnTo>
                  <a:lnTo>
                    <a:pt x="102" y="174"/>
                  </a:lnTo>
                  <a:lnTo>
                    <a:pt x="106" y="170"/>
                  </a:lnTo>
                  <a:lnTo>
                    <a:pt x="112" y="168"/>
                  </a:lnTo>
                  <a:lnTo>
                    <a:pt x="112" y="114"/>
                  </a:lnTo>
                  <a:lnTo>
                    <a:pt x="112" y="76"/>
                  </a:lnTo>
                  <a:lnTo>
                    <a:pt x="112" y="72"/>
                  </a:lnTo>
                  <a:lnTo>
                    <a:pt x="114" y="72"/>
                  </a:lnTo>
                  <a:lnTo>
                    <a:pt x="118" y="72"/>
                  </a:lnTo>
                  <a:lnTo>
                    <a:pt x="126" y="72"/>
                  </a:lnTo>
                  <a:lnTo>
                    <a:pt x="126" y="70"/>
                  </a:lnTo>
                  <a:lnTo>
                    <a:pt x="126" y="64"/>
                  </a:lnTo>
                  <a:lnTo>
                    <a:pt x="126" y="52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42" y="18"/>
                  </a:lnTo>
                  <a:lnTo>
                    <a:pt x="156" y="16"/>
                  </a:lnTo>
                  <a:lnTo>
                    <a:pt x="160" y="20"/>
                  </a:lnTo>
                  <a:lnTo>
                    <a:pt x="162" y="22"/>
                  </a:lnTo>
                  <a:lnTo>
                    <a:pt x="164" y="18"/>
                  </a:lnTo>
                  <a:lnTo>
                    <a:pt x="170" y="16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84" y="12"/>
                  </a:lnTo>
                  <a:lnTo>
                    <a:pt x="170" y="8"/>
                  </a:lnTo>
                  <a:lnTo>
                    <a:pt x="158" y="10"/>
                  </a:lnTo>
                  <a:lnTo>
                    <a:pt x="130" y="16"/>
                  </a:lnTo>
                  <a:lnTo>
                    <a:pt x="122" y="16"/>
                  </a:lnTo>
                  <a:lnTo>
                    <a:pt x="118" y="14"/>
                  </a:lnTo>
                  <a:lnTo>
                    <a:pt x="102" y="12"/>
                  </a:lnTo>
                  <a:lnTo>
                    <a:pt x="94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76" y="6"/>
                  </a:lnTo>
                  <a:lnTo>
                    <a:pt x="62" y="6"/>
                  </a:lnTo>
                  <a:lnTo>
                    <a:pt x="34" y="6"/>
                  </a:lnTo>
                  <a:lnTo>
                    <a:pt x="30" y="8"/>
                  </a:lnTo>
                  <a:lnTo>
                    <a:pt x="26" y="4"/>
                  </a:lnTo>
                  <a:lnTo>
                    <a:pt x="18" y="0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2"/>
                  </a:lnTo>
                  <a:lnTo>
                    <a:pt x="2" y="18"/>
                  </a:lnTo>
                  <a:lnTo>
                    <a:pt x="8" y="26"/>
                  </a:lnTo>
                  <a:lnTo>
                    <a:pt x="10" y="30"/>
                  </a:lnTo>
                  <a:lnTo>
                    <a:pt x="18" y="44"/>
                  </a:lnTo>
                  <a:lnTo>
                    <a:pt x="22" y="56"/>
                  </a:lnTo>
                  <a:lnTo>
                    <a:pt x="26" y="62"/>
                  </a:lnTo>
                  <a:lnTo>
                    <a:pt x="34" y="72"/>
                  </a:lnTo>
                  <a:lnTo>
                    <a:pt x="38" y="82"/>
                  </a:lnTo>
                  <a:lnTo>
                    <a:pt x="36" y="90"/>
                  </a:lnTo>
                  <a:lnTo>
                    <a:pt x="38" y="94"/>
                  </a:lnTo>
                  <a:lnTo>
                    <a:pt x="38" y="98"/>
                  </a:lnTo>
                  <a:lnTo>
                    <a:pt x="36" y="102"/>
                  </a:lnTo>
                  <a:lnTo>
                    <a:pt x="40" y="114"/>
                  </a:lnTo>
                  <a:lnTo>
                    <a:pt x="42" y="118"/>
                  </a:lnTo>
                  <a:lnTo>
                    <a:pt x="42" y="120"/>
                  </a:lnTo>
                  <a:lnTo>
                    <a:pt x="42" y="124"/>
                  </a:lnTo>
                  <a:lnTo>
                    <a:pt x="42" y="132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46" y="148"/>
                  </a:lnTo>
                  <a:lnTo>
                    <a:pt x="52" y="158"/>
                  </a:lnTo>
                  <a:lnTo>
                    <a:pt x="58" y="166"/>
                  </a:lnTo>
                  <a:lnTo>
                    <a:pt x="64" y="170"/>
                  </a:lnTo>
                  <a:lnTo>
                    <a:pt x="66" y="168"/>
                  </a:lnTo>
                  <a:lnTo>
                    <a:pt x="70" y="16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Google Shape;641;p35">
              <a:extLst>
                <a:ext uri="{FF2B5EF4-FFF2-40B4-BE49-F238E27FC236}">
                  <a16:creationId xmlns:a16="http://schemas.microsoft.com/office/drawing/2014/main" id="{48942754-1D81-9513-ABEC-7EABEED1D6A6}"/>
                </a:ext>
              </a:extLst>
            </p:cNvPr>
            <p:cNvSpPr/>
            <p:nvPr/>
          </p:nvSpPr>
          <p:spPr>
            <a:xfrm>
              <a:off x="6105605" y="4833065"/>
              <a:ext cx="237172" cy="242887"/>
            </a:xfrm>
            <a:custGeom>
              <a:avLst/>
              <a:gdLst/>
              <a:ahLst/>
              <a:cxnLst/>
              <a:rect l="l" t="t" r="r" b="b"/>
              <a:pathLst>
                <a:path w="166" h="170" extrusionOk="0">
                  <a:moveTo>
                    <a:pt x="6" y="158"/>
                  </a:moveTo>
                  <a:lnTo>
                    <a:pt x="8" y="158"/>
                  </a:lnTo>
                  <a:lnTo>
                    <a:pt x="18" y="154"/>
                  </a:lnTo>
                  <a:lnTo>
                    <a:pt x="26" y="158"/>
                  </a:lnTo>
                  <a:lnTo>
                    <a:pt x="30" y="162"/>
                  </a:lnTo>
                  <a:lnTo>
                    <a:pt x="34" y="160"/>
                  </a:lnTo>
                  <a:lnTo>
                    <a:pt x="62" y="160"/>
                  </a:lnTo>
                  <a:lnTo>
                    <a:pt x="76" y="160"/>
                  </a:lnTo>
                  <a:lnTo>
                    <a:pt x="84" y="160"/>
                  </a:lnTo>
                  <a:lnTo>
                    <a:pt x="90" y="160"/>
                  </a:lnTo>
                  <a:lnTo>
                    <a:pt x="94" y="166"/>
                  </a:lnTo>
                  <a:lnTo>
                    <a:pt x="102" y="166"/>
                  </a:lnTo>
                  <a:lnTo>
                    <a:pt x="118" y="168"/>
                  </a:lnTo>
                  <a:lnTo>
                    <a:pt x="122" y="170"/>
                  </a:lnTo>
                  <a:lnTo>
                    <a:pt x="130" y="170"/>
                  </a:lnTo>
                  <a:lnTo>
                    <a:pt x="158" y="164"/>
                  </a:lnTo>
                  <a:lnTo>
                    <a:pt x="148" y="156"/>
                  </a:lnTo>
                  <a:lnTo>
                    <a:pt x="142" y="150"/>
                  </a:lnTo>
                  <a:lnTo>
                    <a:pt x="138" y="144"/>
                  </a:lnTo>
                  <a:lnTo>
                    <a:pt x="138" y="102"/>
                  </a:lnTo>
                  <a:lnTo>
                    <a:pt x="138" y="100"/>
                  </a:lnTo>
                  <a:lnTo>
                    <a:pt x="142" y="100"/>
                  </a:lnTo>
                  <a:lnTo>
                    <a:pt x="152" y="100"/>
                  </a:lnTo>
                  <a:lnTo>
                    <a:pt x="166" y="100"/>
                  </a:lnTo>
                  <a:lnTo>
                    <a:pt x="166" y="98"/>
                  </a:lnTo>
                  <a:lnTo>
                    <a:pt x="166" y="94"/>
                  </a:lnTo>
                  <a:lnTo>
                    <a:pt x="166" y="82"/>
                  </a:lnTo>
                  <a:lnTo>
                    <a:pt x="166" y="70"/>
                  </a:lnTo>
                  <a:lnTo>
                    <a:pt x="164" y="72"/>
                  </a:lnTo>
                  <a:lnTo>
                    <a:pt x="154" y="72"/>
                  </a:lnTo>
                  <a:lnTo>
                    <a:pt x="148" y="72"/>
                  </a:lnTo>
                  <a:lnTo>
                    <a:pt x="142" y="74"/>
                  </a:lnTo>
                  <a:lnTo>
                    <a:pt x="144" y="66"/>
                  </a:lnTo>
                  <a:lnTo>
                    <a:pt x="142" y="58"/>
                  </a:lnTo>
                  <a:lnTo>
                    <a:pt x="138" y="54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26"/>
                  </a:lnTo>
                  <a:lnTo>
                    <a:pt x="136" y="20"/>
                  </a:lnTo>
                  <a:lnTo>
                    <a:pt x="118" y="20"/>
                  </a:lnTo>
                  <a:lnTo>
                    <a:pt x="120" y="16"/>
                  </a:lnTo>
                  <a:lnTo>
                    <a:pt x="114" y="16"/>
                  </a:lnTo>
                  <a:lnTo>
                    <a:pt x="106" y="16"/>
                  </a:lnTo>
                  <a:lnTo>
                    <a:pt x="106" y="18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2" y="30"/>
                  </a:lnTo>
                  <a:lnTo>
                    <a:pt x="96" y="30"/>
                  </a:lnTo>
                  <a:lnTo>
                    <a:pt x="86" y="32"/>
                  </a:lnTo>
                  <a:lnTo>
                    <a:pt x="78" y="32"/>
                  </a:lnTo>
                  <a:lnTo>
                    <a:pt x="74" y="24"/>
                  </a:lnTo>
                  <a:lnTo>
                    <a:pt x="72" y="22"/>
                  </a:lnTo>
                  <a:lnTo>
                    <a:pt x="70" y="18"/>
                  </a:lnTo>
                  <a:lnTo>
                    <a:pt x="66" y="2"/>
                  </a:lnTo>
                  <a:lnTo>
                    <a:pt x="54" y="0"/>
                  </a:lnTo>
                  <a:lnTo>
                    <a:pt x="4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20"/>
                  </a:lnTo>
                  <a:lnTo>
                    <a:pt x="18" y="28"/>
                  </a:lnTo>
                  <a:lnTo>
                    <a:pt x="22" y="36"/>
                  </a:lnTo>
                  <a:lnTo>
                    <a:pt x="18" y="48"/>
                  </a:lnTo>
                  <a:lnTo>
                    <a:pt x="24" y="60"/>
                  </a:lnTo>
                  <a:lnTo>
                    <a:pt x="26" y="64"/>
                  </a:lnTo>
                  <a:lnTo>
                    <a:pt x="28" y="70"/>
                  </a:lnTo>
                  <a:lnTo>
                    <a:pt x="28" y="76"/>
                  </a:lnTo>
                  <a:lnTo>
                    <a:pt x="26" y="84"/>
                  </a:lnTo>
                  <a:lnTo>
                    <a:pt x="24" y="92"/>
                  </a:lnTo>
                  <a:lnTo>
                    <a:pt x="20" y="94"/>
                  </a:lnTo>
                  <a:lnTo>
                    <a:pt x="16" y="96"/>
                  </a:lnTo>
                  <a:lnTo>
                    <a:pt x="16" y="98"/>
                  </a:lnTo>
                  <a:lnTo>
                    <a:pt x="12" y="102"/>
                  </a:lnTo>
                  <a:lnTo>
                    <a:pt x="10" y="104"/>
                  </a:lnTo>
                  <a:lnTo>
                    <a:pt x="8" y="116"/>
                  </a:lnTo>
                  <a:lnTo>
                    <a:pt x="6" y="126"/>
                  </a:lnTo>
                  <a:lnTo>
                    <a:pt x="2" y="136"/>
                  </a:lnTo>
                  <a:lnTo>
                    <a:pt x="0" y="140"/>
                  </a:lnTo>
                  <a:lnTo>
                    <a:pt x="0" y="146"/>
                  </a:lnTo>
                  <a:lnTo>
                    <a:pt x="0" y="158"/>
                  </a:lnTo>
                  <a:lnTo>
                    <a:pt x="4" y="158"/>
                  </a:lnTo>
                  <a:lnTo>
                    <a:pt x="6" y="15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1" name="Google Shape;642;p35">
              <a:extLst>
                <a:ext uri="{FF2B5EF4-FFF2-40B4-BE49-F238E27FC236}">
                  <a16:creationId xmlns:a16="http://schemas.microsoft.com/office/drawing/2014/main" id="{D90FACFD-1A78-B1C8-1AA5-85AE6CB27527}"/>
                </a:ext>
              </a:extLst>
            </p:cNvPr>
            <p:cNvSpPr/>
            <p:nvPr/>
          </p:nvSpPr>
          <p:spPr>
            <a:xfrm>
              <a:off x="6265625" y="5070237"/>
              <a:ext cx="182880" cy="191452"/>
            </a:xfrm>
            <a:custGeom>
              <a:avLst/>
              <a:gdLst/>
              <a:ahLst/>
              <a:cxnLst/>
              <a:rect l="l" t="t" r="r" b="b"/>
              <a:pathLst>
                <a:path w="128" h="134" extrusionOk="0">
                  <a:moveTo>
                    <a:pt x="124" y="58"/>
                  </a:moveTo>
                  <a:lnTo>
                    <a:pt x="124" y="58"/>
                  </a:lnTo>
                  <a:lnTo>
                    <a:pt x="116" y="56"/>
                  </a:lnTo>
                  <a:lnTo>
                    <a:pt x="110" y="54"/>
                  </a:lnTo>
                  <a:lnTo>
                    <a:pt x="106" y="52"/>
                  </a:lnTo>
                  <a:lnTo>
                    <a:pt x="104" y="48"/>
                  </a:lnTo>
                  <a:lnTo>
                    <a:pt x="104" y="40"/>
                  </a:lnTo>
                  <a:lnTo>
                    <a:pt x="98" y="38"/>
                  </a:lnTo>
                  <a:lnTo>
                    <a:pt x="98" y="32"/>
                  </a:lnTo>
                  <a:lnTo>
                    <a:pt x="92" y="32"/>
                  </a:lnTo>
                  <a:lnTo>
                    <a:pt x="88" y="28"/>
                  </a:lnTo>
                  <a:lnTo>
                    <a:pt x="84" y="24"/>
                  </a:lnTo>
                  <a:lnTo>
                    <a:pt x="76" y="10"/>
                  </a:lnTo>
                  <a:lnTo>
                    <a:pt x="72" y="0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2" y="6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4" y="4"/>
                  </a:lnTo>
                  <a:lnTo>
                    <a:pt x="30" y="6"/>
                  </a:lnTo>
                  <a:lnTo>
                    <a:pt x="14" y="8"/>
                  </a:lnTo>
                  <a:lnTo>
                    <a:pt x="14" y="40"/>
                  </a:lnTo>
                  <a:lnTo>
                    <a:pt x="14" y="52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0" y="118"/>
                  </a:lnTo>
                  <a:lnTo>
                    <a:pt x="10" y="122"/>
                  </a:lnTo>
                  <a:lnTo>
                    <a:pt x="8" y="126"/>
                  </a:lnTo>
                  <a:lnTo>
                    <a:pt x="10" y="134"/>
                  </a:lnTo>
                  <a:lnTo>
                    <a:pt x="16" y="132"/>
                  </a:lnTo>
                  <a:lnTo>
                    <a:pt x="24" y="132"/>
                  </a:lnTo>
                  <a:lnTo>
                    <a:pt x="34" y="122"/>
                  </a:lnTo>
                  <a:lnTo>
                    <a:pt x="38" y="116"/>
                  </a:lnTo>
                  <a:lnTo>
                    <a:pt x="40" y="110"/>
                  </a:lnTo>
                  <a:lnTo>
                    <a:pt x="46" y="110"/>
                  </a:lnTo>
                  <a:lnTo>
                    <a:pt x="52" y="114"/>
                  </a:lnTo>
                  <a:lnTo>
                    <a:pt x="58" y="116"/>
                  </a:lnTo>
                  <a:lnTo>
                    <a:pt x="66" y="118"/>
                  </a:lnTo>
                  <a:lnTo>
                    <a:pt x="76" y="114"/>
                  </a:lnTo>
                  <a:lnTo>
                    <a:pt x="80" y="106"/>
                  </a:lnTo>
                  <a:lnTo>
                    <a:pt x="80" y="100"/>
                  </a:lnTo>
                  <a:lnTo>
                    <a:pt x="86" y="100"/>
                  </a:lnTo>
                  <a:lnTo>
                    <a:pt x="94" y="92"/>
                  </a:lnTo>
                  <a:lnTo>
                    <a:pt x="94" y="86"/>
                  </a:lnTo>
                  <a:lnTo>
                    <a:pt x="100" y="80"/>
                  </a:lnTo>
                  <a:lnTo>
                    <a:pt x="108" y="74"/>
                  </a:lnTo>
                  <a:lnTo>
                    <a:pt x="114" y="70"/>
                  </a:lnTo>
                  <a:lnTo>
                    <a:pt x="118" y="68"/>
                  </a:lnTo>
                  <a:lnTo>
                    <a:pt x="120" y="68"/>
                  </a:lnTo>
                  <a:lnTo>
                    <a:pt x="128" y="64"/>
                  </a:lnTo>
                  <a:lnTo>
                    <a:pt x="126" y="62"/>
                  </a:lnTo>
                  <a:lnTo>
                    <a:pt x="124" y="5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2" name="Google Shape;643;p35">
              <a:extLst>
                <a:ext uri="{FF2B5EF4-FFF2-40B4-BE49-F238E27FC236}">
                  <a16:creationId xmlns:a16="http://schemas.microsoft.com/office/drawing/2014/main" id="{69FD59E7-E278-3EC3-E955-A1B72CF969A7}"/>
                </a:ext>
              </a:extLst>
            </p:cNvPr>
            <p:cNvSpPr/>
            <p:nvPr/>
          </p:nvSpPr>
          <p:spPr>
            <a:xfrm>
              <a:off x="6514227" y="4904502"/>
              <a:ext cx="60007" cy="151447"/>
            </a:xfrm>
            <a:custGeom>
              <a:avLst/>
              <a:gdLst/>
              <a:ahLst/>
              <a:cxnLst/>
              <a:rect l="l" t="t" r="r" b="b"/>
              <a:pathLst>
                <a:path w="42" h="106" extrusionOk="0">
                  <a:moveTo>
                    <a:pt x="2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10" y="14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8" y="38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2"/>
                  </a:lnTo>
                  <a:lnTo>
                    <a:pt x="10" y="68"/>
                  </a:lnTo>
                  <a:lnTo>
                    <a:pt x="14" y="70"/>
                  </a:lnTo>
                  <a:lnTo>
                    <a:pt x="20" y="68"/>
                  </a:lnTo>
                  <a:lnTo>
                    <a:pt x="22" y="68"/>
                  </a:lnTo>
                  <a:lnTo>
                    <a:pt x="24" y="76"/>
                  </a:lnTo>
                  <a:lnTo>
                    <a:pt x="24" y="82"/>
                  </a:lnTo>
                  <a:lnTo>
                    <a:pt x="20" y="88"/>
                  </a:lnTo>
                  <a:lnTo>
                    <a:pt x="24" y="96"/>
                  </a:lnTo>
                  <a:lnTo>
                    <a:pt x="28" y="100"/>
                  </a:lnTo>
                  <a:lnTo>
                    <a:pt x="30" y="102"/>
                  </a:lnTo>
                  <a:lnTo>
                    <a:pt x="30" y="106"/>
                  </a:lnTo>
                  <a:lnTo>
                    <a:pt x="34" y="106"/>
                  </a:lnTo>
                  <a:lnTo>
                    <a:pt x="32" y="98"/>
                  </a:lnTo>
                  <a:lnTo>
                    <a:pt x="40" y="92"/>
                  </a:lnTo>
                  <a:lnTo>
                    <a:pt x="42" y="88"/>
                  </a:lnTo>
                  <a:lnTo>
                    <a:pt x="42" y="82"/>
                  </a:lnTo>
                  <a:lnTo>
                    <a:pt x="42" y="72"/>
                  </a:lnTo>
                  <a:lnTo>
                    <a:pt x="34" y="64"/>
                  </a:lnTo>
                  <a:lnTo>
                    <a:pt x="28" y="56"/>
                  </a:lnTo>
                  <a:lnTo>
                    <a:pt x="26" y="56"/>
                  </a:lnTo>
                  <a:lnTo>
                    <a:pt x="22" y="40"/>
                  </a:lnTo>
                  <a:lnTo>
                    <a:pt x="2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28" y="26"/>
                  </a:lnTo>
                  <a:lnTo>
                    <a:pt x="26" y="20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3" name="Google Shape;644;p35">
              <a:extLst>
                <a:ext uri="{FF2B5EF4-FFF2-40B4-BE49-F238E27FC236}">
                  <a16:creationId xmlns:a16="http://schemas.microsoft.com/office/drawing/2014/main" id="{8E1BB81E-8EDE-3139-DF45-A1641690D755}"/>
                </a:ext>
              </a:extLst>
            </p:cNvPr>
            <p:cNvSpPr/>
            <p:nvPr/>
          </p:nvSpPr>
          <p:spPr>
            <a:xfrm>
              <a:off x="6448505" y="4741625"/>
              <a:ext cx="214313" cy="208597"/>
            </a:xfrm>
            <a:custGeom>
              <a:avLst/>
              <a:gdLst/>
              <a:ahLst/>
              <a:cxnLst/>
              <a:rect l="l" t="t" r="r" b="b"/>
              <a:pathLst>
                <a:path w="238125" h="231775" extrusionOk="0">
                  <a:moveTo>
                    <a:pt x="212725" y="101600"/>
                  </a:moveTo>
                  <a:lnTo>
                    <a:pt x="215900" y="104775"/>
                  </a:lnTo>
                  <a:lnTo>
                    <a:pt x="219075" y="114300"/>
                  </a:lnTo>
                  <a:lnTo>
                    <a:pt x="212725" y="114300"/>
                  </a:lnTo>
                  <a:lnTo>
                    <a:pt x="209550" y="104775"/>
                  </a:lnTo>
                  <a:close/>
                  <a:moveTo>
                    <a:pt x="222250" y="82550"/>
                  </a:moveTo>
                  <a:lnTo>
                    <a:pt x="225425" y="82550"/>
                  </a:lnTo>
                  <a:lnTo>
                    <a:pt x="225425" y="92075"/>
                  </a:lnTo>
                  <a:lnTo>
                    <a:pt x="222250" y="95250"/>
                  </a:lnTo>
                  <a:lnTo>
                    <a:pt x="222250" y="85725"/>
                  </a:lnTo>
                  <a:close/>
                  <a:moveTo>
                    <a:pt x="22225" y="0"/>
                  </a:moveTo>
                  <a:lnTo>
                    <a:pt x="28575" y="0"/>
                  </a:lnTo>
                  <a:lnTo>
                    <a:pt x="98425" y="0"/>
                  </a:lnTo>
                  <a:lnTo>
                    <a:pt x="120650" y="12700"/>
                  </a:lnTo>
                  <a:lnTo>
                    <a:pt x="149225" y="25400"/>
                  </a:lnTo>
                  <a:lnTo>
                    <a:pt x="177800" y="44450"/>
                  </a:lnTo>
                  <a:lnTo>
                    <a:pt x="180975" y="57150"/>
                  </a:lnTo>
                  <a:lnTo>
                    <a:pt x="209550" y="79375"/>
                  </a:lnTo>
                  <a:lnTo>
                    <a:pt x="209550" y="85725"/>
                  </a:lnTo>
                  <a:lnTo>
                    <a:pt x="206375" y="98425"/>
                  </a:lnTo>
                  <a:lnTo>
                    <a:pt x="203200" y="107950"/>
                  </a:lnTo>
                  <a:lnTo>
                    <a:pt x="203200" y="114300"/>
                  </a:lnTo>
                  <a:lnTo>
                    <a:pt x="206375" y="117475"/>
                  </a:lnTo>
                  <a:lnTo>
                    <a:pt x="212725" y="120650"/>
                  </a:lnTo>
                  <a:lnTo>
                    <a:pt x="212725" y="123825"/>
                  </a:lnTo>
                  <a:lnTo>
                    <a:pt x="215900" y="133350"/>
                  </a:lnTo>
                  <a:lnTo>
                    <a:pt x="212725" y="136525"/>
                  </a:lnTo>
                  <a:lnTo>
                    <a:pt x="215900" y="149225"/>
                  </a:lnTo>
                  <a:lnTo>
                    <a:pt x="212725" y="155575"/>
                  </a:lnTo>
                  <a:lnTo>
                    <a:pt x="212725" y="161925"/>
                  </a:lnTo>
                  <a:lnTo>
                    <a:pt x="219075" y="174625"/>
                  </a:lnTo>
                  <a:lnTo>
                    <a:pt x="225425" y="193675"/>
                  </a:lnTo>
                  <a:lnTo>
                    <a:pt x="231775" y="196850"/>
                  </a:lnTo>
                  <a:lnTo>
                    <a:pt x="238125" y="203200"/>
                  </a:lnTo>
                  <a:lnTo>
                    <a:pt x="228600" y="209550"/>
                  </a:lnTo>
                  <a:lnTo>
                    <a:pt x="215900" y="215900"/>
                  </a:lnTo>
                  <a:lnTo>
                    <a:pt x="203200" y="219075"/>
                  </a:lnTo>
                  <a:lnTo>
                    <a:pt x="196850" y="225425"/>
                  </a:lnTo>
                  <a:lnTo>
                    <a:pt x="184150" y="222250"/>
                  </a:lnTo>
                  <a:lnTo>
                    <a:pt x="180975" y="225425"/>
                  </a:lnTo>
                  <a:lnTo>
                    <a:pt x="174625" y="231775"/>
                  </a:lnTo>
                  <a:lnTo>
                    <a:pt x="168275" y="231775"/>
                  </a:lnTo>
                  <a:lnTo>
                    <a:pt x="165100" y="228600"/>
                  </a:lnTo>
                  <a:lnTo>
                    <a:pt x="161925" y="228600"/>
                  </a:lnTo>
                  <a:lnTo>
                    <a:pt x="158750" y="228600"/>
                  </a:lnTo>
                  <a:lnTo>
                    <a:pt x="155575" y="231775"/>
                  </a:lnTo>
                  <a:lnTo>
                    <a:pt x="146050" y="228600"/>
                  </a:lnTo>
                  <a:lnTo>
                    <a:pt x="142875" y="225425"/>
                  </a:lnTo>
                  <a:lnTo>
                    <a:pt x="136525" y="225425"/>
                  </a:lnTo>
                  <a:lnTo>
                    <a:pt x="133350" y="228600"/>
                  </a:lnTo>
                  <a:lnTo>
                    <a:pt x="130175" y="228600"/>
                  </a:lnTo>
                  <a:lnTo>
                    <a:pt x="120650" y="228600"/>
                  </a:lnTo>
                  <a:lnTo>
                    <a:pt x="117475" y="222250"/>
                  </a:lnTo>
                  <a:lnTo>
                    <a:pt x="114300" y="212725"/>
                  </a:lnTo>
                  <a:lnTo>
                    <a:pt x="111125" y="200025"/>
                  </a:lnTo>
                  <a:lnTo>
                    <a:pt x="104775" y="187325"/>
                  </a:lnTo>
                  <a:lnTo>
                    <a:pt x="98425" y="180975"/>
                  </a:lnTo>
                  <a:lnTo>
                    <a:pt x="98425" y="187325"/>
                  </a:lnTo>
                  <a:lnTo>
                    <a:pt x="92075" y="184150"/>
                  </a:lnTo>
                  <a:lnTo>
                    <a:pt x="85725" y="184150"/>
                  </a:lnTo>
                  <a:lnTo>
                    <a:pt x="76200" y="180975"/>
                  </a:lnTo>
                  <a:lnTo>
                    <a:pt x="63500" y="174625"/>
                  </a:lnTo>
                  <a:lnTo>
                    <a:pt x="50800" y="168275"/>
                  </a:lnTo>
                  <a:lnTo>
                    <a:pt x="38100" y="161925"/>
                  </a:lnTo>
                  <a:lnTo>
                    <a:pt x="28575" y="152400"/>
                  </a:lnTo>
                  <a:lnTo>
                    <a:pt x="22225" y="136525"/>
                  </a:lnTo>
                  <a:lnTo>
                    <a:pt x="15875" y="127000"/>
                  </a:lnTo>
                  <a:lnTo>
                    <a:pt x="6350" y="120650"/>
                  </a:lnTo>
                  <a:lnTo>
                    <a:pt x="3175" y="104775"/>
                  </a:lnTo>
                  <a:lnTo>
                    <a:pt x="3175" y="98425"/>
                  </a:lnTo>
                  <a:lnTo>
                    <a:pt x="0" y="92075"/>
                  </a:lnTo>
                  <a:lnTo>
                    <a:pt x="0" y="73025"/>
                  </a:lnTo>
                  <a:lnTo>
                    <a:pt x="6350" y="73025"/>
                  </a:lnTo>
                  <a:lnTo>
                    <a:pt x="22225" y="57150"/>
                  </a:lnTo>
                  <a:lnTo>
                    <a:pt x="22225" y="53975"/>
                  </a:lnTo>
                  <a:lnTo>
                    <a:pt x="25400" y="50800"/>
                  </a:lnTo>
                  <a:lnTo>
                    <a:pt x="28575" y="47625"/>
                  </a:lnTo>
                  <a:lnTo>
                    <a:pt x="28575" y="41275"/>
                  </a:lnTo>
                  <a:lnTo>
                    <a:pt x="22225" y="41275"/>
                  </a:lnTo>
                  <a:lnTo>
                    <a:pt x="22225" y="34925"/>
                  </a:lnTo>
                  <a:lnTo>
                    <a:pt x="25400" y="28575"/>
                  </a:lnTo>
                  <a:lnTo>
                    <a:pt x="28575" y="28575"/>
                  </a:lnTo>
                  <a:lnTo>
                    <a:pt x="31750" y="22225"/>
                  </a:lnTo>
                  <a:lnTo>
                    <a:pt x="2540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4" name="Google Shape;645;p35">
              <a:extLst>
                <a:ext uri="{FF2B5EF4-FFF2-40B4-BE49-F238E27FC236}">
                  <a16:creationId xmlns:a16="http://schemas.microsoft.com/office/drawing/2014/main" id="{2F707E83-FD94-E2E0-A3A5-EAE452A6E03B}"/>
                </a:ext>
              </a:extLst>
            </p:cNvPr>
            <p:cNvSpPr/>
            <p:nvPr/>
          </p:nvSpPr>
          <p:spPr>
            <a:xfrm>
              <a:off x="6537087" y="4633040"/>
              <a:ext cx="154305" cy="180022"/>
            </a:xfrm>
            <a:custGeom>
              <a:avLst/>
              <a:gdLst/>
              <a:ahLst/>
              <a:cxnLst/>
              <a:rect l="l" t="t" r="r" b="b"/>
              <a:pathLst>
                <a:path w="108" h="126" extrusionOk="0">
                  <a:moveTo>
                    <a:pt x="96" y="72"/>
                  </a:moveTo>
                  <a:lnTo>
                    <a:pt x="96" y="60"/>
                  </a:lnTo>
                  <a:lnTo>
                    <a:pt x="96" y="24"/>
                  </a:lnTo>
                  <a:lnTo>
                    <a:pt x="108" y="8"/>
                  </a:lnTo>
                  <a:lnTo>
                    <a:pt x="106" y="8"/>
                  </a:lnTo>
                  <a:lnTo>
                    <a:pt x="100" y="8"/>
                  </a:lnTo>
                  <a:lnTo>
                    <a:pt x="96" y="8"/>
                  </a:lnTo>
                  <a:lnTo>
                    <a:pt x="92" y="4"/>
                  </a:lnTo>
                  <a:lnTo>
                    <a:pt x="80" y="10"/>
                  </a:lnTo>
                  <a:lnTo>
                    <a:pt x="74" y="14"/>
                  </a:lnTo>
                  <a:lnTo>
                    <a:pt x="66" y="14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2" y="10"/>
                  </a:lnTo>
                  <a:lnTo>
                    <a:pt x="38" y="2"/>
                  </a:lnTo>
                  <a:lnTo>
                    <a:pt x="32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6" y="0"/>
                  </a:lnTo>
                  <a:lnTo>
                    <a:pt x="0" y="4"/>
                  </a:lnTo>
                  <a:lnTo>
                    <a:pt x="12" y="28"/>
                  </a:lnTo>
                  <a:lnTo>
                    <a:pt x="14" y="38"/>
                  </a:lnTo>
                  <a:lnTo>
                    <a:pt x="8" y="46"/>
                  </a:lnTo>
                  <a:lnTo>
                    <a:pt x="2" y="54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0" y="76"/>
                  </a:lnTo>
                  <a:lnTo>
                    <a:pt x="14" y="84"/>
                  </a:lnTo>
                  <a:lnTo>
                    <a:pt x="32" y="92"/>
                  </a:lnTo>
                  <a:lnTo>
                    <a:pt x="50" y="104"/>
                  </a:lnTo>
                  <a:lnTo>
                    <a:pt x="52" y="112"/>
                  </a:lnTo>
                  <a:lnTo>
                    <a:pt x="70" y="126"/>
                  </a:lnTo>
                  <a:lnTo>
                    <a:pt x="74" y="124"/>
                  </a:lnTo>
                  <a:lnTo>
                    <a:pt x="76" y="120"/>
                  </a:lnTo>
                  <a:lnTo>
                    <a:pt x="78" y="116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8" y="96"/>
                  </a:lnTo>
                  <a:lnTo>
                    <a:pt x="96" y="90"/>
                  </a:lnTo>
                  <a:lnTo>
                    <a:pt x="100" y="88"/>
                  </a:lnTo>
                  <a:lnTo>
                    <a:pt x="102" y="84"/>
                  </a:lnTo>
                  <a:lnTo>
                    <a:pt x="100" y="78"/>
                  </a:lnTo>
                  <a:lnTo>
                    <a:pt x="96" y="7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5" name="Google Shape;646;p35">
              <a:extLst>
                <a:ext uri="{FF2B5EF4-FFF2-40B4-BE49-F238E27FC236}">
                  <a16:creationId xmlns:a16="http://schemas.microsoft.com/office/drawing/2014/main" id="{118E42CE-819E-49CD-EA82-5A6D44B958AF}"/>
                </a:ext>
              </a:extLst>
            </p:cNvPr>
            <p:cNvSpPr/>
            <p:nvPr/>
          </p:nvSpPr>
          <p:spPr>
            <a:xfrm>
              <a:off x="6114177" y="4618752"/>
              <a:ext cx="371475" cy="365760"/>
            </a:xfrm>
            <a:custGeom>
              <a:avLst/>
              <a:gdLst/>
              <a:ahLst/>
              <a:cxnLst/>
              <a:rect l="l" t="t" r="r" b="b"/>
              <a:pathLst>
                <a:path w="260" h="256" extrusionOk="0">
                  <a:moveTo>
                    <a:pt x="14" y="150"/>
                  </a:moveTo>
                  <a:lnTo>
                    <a:pt x="16" y="150"/>
                  </a:lnTo>
                  <a:lnTo>
                    <a:pt x="38" y="150"/>
                  </a:lnTo>
                  <a:lnTo>
                    <a:pt x="48" y="150"/>
                  </a:lnTo>
                  <a:lnTo>
                    <a:pt x="60" y="152"/>
                  </a:lnTo>
                  <a:lnTo>
                    <a:pt x="64" y="168"/>
                  </a:lnTo>
                  <a:lnTo>
                    <a:pt x="66" y="172"/>
                  </a:lnTo>
                  <a:lnTo>
                    <a:pt x="68" y="174"/>
                  </a:lnTo>
                  <a:lnTo>
                    <a:pt x="72" y="182"/>
                  </a:lnTo>
                  <a:lnTo>
                    <a:pt x="80" y="182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8" y="176"/>
                  </a:lnTo>
                  <a:lnTo>
                    <a:pt x="98" y="174"/>
                  </a:lnTo>
                  <a:lnTo>
                    <a:pt x="98" y="172"/>
                  </a:lnTo>
                  <a:lnTo>
                    <a:pt x="100" y="168"/>
                  </a:lnTo>
                  <a:lnTo>
                    <a:pt x="100" y="166"/>
                  </a:lnTo>
                  <a:lnTo>
                    <a:pt x="108" y="166"/>
                  </a:lnTo>
                  <a:lnTo>
                    <a:pt x="114" y="166"/>
                  </a:lnTo>
                  <a:lnTo>
                    <a:pt x="112" y="170"/>
                  </a:lnTo>
                  <a:lnTo>
                    <a:pt x="130" y="170"/>
                  </a:lnTo>
                  <a:lnTo>
                    <a:pt x="130" y="176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2" y="186"/>
                  </a:lnTo>
                  <a:lnTo>
                    <a:pt x="132" y="190"/>
                  </a:lnTo>
                  <a:lnTo>
                    <a:pt x="132" y="204"/>
                  </a:lnTo>
                  <a:lnTo>
                    <a:pt x="136" y="208"/>
                  </a:lnTo>
                  <a:lnTo>
                    <a:pt x="138" y="216"/>
                  </a:lnTo>
                  <a:lnTo>
                    <a:pt x="136" y="224"/>
                  </a:lnTo>
                  <a:lnTo>
                    <a:pt x="142" y="222"/>
                  </a:lnTo>
                  <a:lnTo>
                    <a:pt x="148" y="222"/>
                  </a:lnTo>
                  <a:lnTo>
                    <a:pt x="158" y="222"/>
                  </a:lnTo>
                  <a:lnTo>
                    <a:pt x="160" y="220"/>
                  </a:lnTo>
                  <a:lnTo>
                    <a:pt x="166" y="222"/>
                  </a:lnTo>
                  <a:lnTo>
                    <a:pt x="166" y="228"/>
                  </a:lnTo>
                  <a:lnTo>
                    <a:pt x="170" y="226"/>
                  </a:lnTo>
                  <a:lnTo>
                    <a:pt x="176" y="224"/>
                  </a:lnTo>
                  <a:lnTo>
                    <a:pt x="178" y="226"/>
                  </a:lnTo>
                  <a:lnTo>
                    <a:pt x="180" y="232"/>
                  </a:lnTo>
                  <a:lnTo>
                    <a:pt x="194" y="234"/>
                  </a:lnTo>
                  <a:lnTo>
                    <a:pt x="200" y="234"/>
                  </a:lnTo>
                  <a:lnTo>
                    <a:pt x="202" y="230"/>
                  </a:lnTo>
                  <a:lnTo>
                    <a:pt x="204" y="232"/>
                  </a:lnTo>
                  <a:lnTo>
                    <a:pt x="208" y="236"/>
                  </a:lnTo>
                  <a:lnTo>
                    <a:pt x="212" y="240"/>
                  </a:lnTo>
                  <a:lnTo>
                    <a:pt x="216" y="240"/>
                  </a:lnTo>
                  <a:lnTo>
                    <a:pt x="220" y="242"/>
                  </a:lnTo>
                  <a:lnTo>
                    <a:pt x="226" y="248"/>
                  </a:lnTo>
                  <a:lnTo>
                    <a:pt x="228" y="252"/>
                  </a:lnTo>
                  <a:lnTo>
                    <a:pt x="228" y="254"/>
                  </a:lnTo>
                  <a:lnTo>
                    <a:pt x="234" y="254"/>
                  </a:lnTo>
                  <a:lnTo>
                    <a:pt x="238" y="252"/>
                  </a:lnTo>
                  <a:lnTo>
                    <a:pt x="236" y="254"/>
                  </a:lnTo>
                  <a:lnTo>
                    <a:pt x="240" y="256"/>
                  </a:lnTo>
                  <a:lnTo>
                    <a:pt x="240" y="238"/>
                  </a:lnTo>
                  <a:lnTo>
                    <a:pt x="234" y="240"/>
                  </a:lnTo>
                  <a:lnTo>
                    <a:pt x="228" y="238"/>
                  </a:lnTo>
                  <a:lnTo>
                    <a:pt x="220" y="232"/>
                  </a:lnTo>
                  <a:lnTo>
                    <a:pt x="220" y="228"/>
                  </a:lnTo>
                  <a:lnTo>
                    <a:pt x="220" y="226"/>
                  </a:lnTo>
                  <a:lnTo>
                    <a:pt x="222" y="218"/>
                  </a:lnTo>
                  <a:lnTo>
                    <a:pt x="222" y="218"/>
                  </a:lnTo>
                  <a:lnTo>
                    <a:pt x="224" y="216"/>
                  </a:lnTo>
                  <a:lnTo>
                    <a:pt x="222" y="214"/>
                  </a:lnTo>
                  <a:lnTo>
                    <a:pt x="222" y="212"/>
                  </a:lnTo>
                  <a:lnTo>
                    <a:pt x="222" y="210"/>
                  </a:lnTo>
                  <a:lnTo>
                    <a:pt x="222" y="206"/>
                  </a:lnTo>
                  <a:lnTo>
                    <a:pt x="222" y="202"/>
                  </a:lnTo>
                  <a:lnTo>
                    <a:pt x="222" y="198"/>
                  </a:lnTo>
                  <a:lnTo>
                    <a:pt x="224" y="194"/>
                  </a:lnTo>
                  <a:lnTo>
                    <a:pt x="226" y="192"/>
                  </a:lnTo>
                  <a:lnTo>
                    <a:pt x="226" y="186"/>
                  </a:lnTo>
                  <a:lnTo>
                    <a:pt x="252" y="182"/>
                  </a:lnTo>
                  <a:lnTo>
                    <a:pt x="248" y="172"/>
                  </a:lnTo>
                  <a:lnTo>
                    <a:pt x="244" y="166"/>
                  </a:lnTo>
                  <a:lnTo>
                    <a:pt x="238" y="162"/>
                  </a:lnTo>
                  <a:lnTo>
                    <a:pt x="236" y="152"/>
                  </a:lnTo>
                  <a:lnTo>
                    <a:pt x="236" y="148"/>
                  </a:lnTo>
                  <a:lnTo>
                    <a:pt x="234" y="144"/>
                  </a:lnTo>
                  <a:lnTo>
                    <a:pt x="234" y="132"/>
                  </a:lnTo>
                  <a:lnTo>
                    <a:pt x="230" y="116"/>
                  </a:lnTo>
                  <a:lnTo>
                    <a:pt x="228" y="108"/>
                  </a:lnTo>
                  <a:lnTo>
                    <a:pt x="226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30" y="98"/>
                  </a:lnTo>
                  <a:lnTo>
                    <a:pt x="232" y="94"/>
                  </a:lnTo>
                  <a:lnTo>
                    <a:pt x="236" y="90"/>
                  </a:lnTo>
                  <a:lnTo>
                    <a:pt x="238" y="78"/>
                  </a:lnTo>
                  <a:lnTo>
                    <a:pt x="238" y="72"/>
                  </a:lnTo>
                  <a:lnTo>
                    <a:pt x="240" y="66"/>
                  </a:lnTo>
                  <a:lnTo>
                    <a:pt x="242" y="60"/>
                  </a:lnTo>
                  <a:lnTo>
                    <a:pt x="244" y="58"/>
                  </a:lnTo>
                  <a:lnTo>
                    <a:pt x="248" y="56"/>
                  </a:lnTo>
                  <a:lnTo>
                    <a:pt x="252" y="52"/>
                  </a:lnTo>
                  <a:lnTo>
                    <a:pt x="260" y="44"/>
                  </a:lnTo>
                  <a:lnTo>
                    <a:pt x="260" y="42"/>
                  </a:lnTo>
                  <a:lnTo>
                    <a:pt x="252" y="40"/>
                  </a:lnTo>
                  <a:lnTo>
                    <a:pt x="252" y="38"/>
                  </a:lnTo>
                  <a:lnTo>
                    <a:pt x="252" y="34"/>
                  </a:lnTo>
                  <a:lnTo>
                    <a:pt x="254" y="26"/>
                  </a:lnTo>
                  <a:lnTo>
                    <a:pt x="254" y="24"/>
                  </a:lnTo>
                  <a:lnTo>
                    <a:pt x="252" y="22"/>
                  </a:lnTo>
                  <a:lnTo>
                    <a:pt x="248" y="18"/>
                  </a:lnTo>
                  <a:lnTo>
                    <a:pt x="244" y="16"/>
                  </a:lnTo>
                  <a:lnTo>
                    <a:pt x="240" y="10"/>
                  </a:lnTo>
                  <a:lnTo>
                    <a:pt x="234" y="8"/>
                  </a:lnTo>
                  <a:lnTo>
                    <a:pt x="226" y="12"/>
                  </a:lnTo>
                  <a:lnTo>
                    <a:pt x="218" y="14"/>
                  </a:lnTo>
                  <a:lnTo>
                    <a:pt x="216" y="12"/>
                  </a:lnTo>
                  <a:lnTo>
                    <a:pt x="214" y="10"/>
                  </a:lnTo>
                  <a:lnTo>
                    <a:pt x="212" y="10"/>
                  </a:lnTo>
                  <a:lnTo>
                    <a:pt x="212" y="8"/>
                  </a:lnTo>
                  <a:lnTo>
                    <a:pt x="210" y="6"/>
                  </a:lnTo>
                  <a:lnTo>
                    <a:pt x="208" y="4"/>
                  </a:lnTo>
                  <a:lnTo>
                    <a:pt x="202" y="2"/>
                  </a:lnTo>
                  <a:lnTo>
                    <a:pt x="198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4"/>
                  </a:lnTo>
                  <a:lnTo>
                    <a:pt x="172" y="6"/>
                  </a:lnTo>
                  <a:lnTo>
                    <a:pt x="170" y="6"/>
                  </a:lnTo>
                  <a:lnTo>
                    <a:pt x="166" y="2"/>
                  </a:lnTo>
                  <a:lnTo>
                    <a:pt x="158" y="6"/>
                  </a:lnTo>
                  <a:lnTo>
                    <a:pt x="154" y="8"/>
                  </a:lnTo>
                  <a:lnTo>
                    <a:pt x="150" y="8"/>
                  </a:lnTo>
                  <a:lnTo>
                    <a:pt x="146" y="6"/>
                  </a:lnTo>
                  <a:lnTo>
                    <a:pt x="142" y="10"/>
                  </a:lnTo>
                  <a:lnTo>
                    <a:pt x="140" y="16"/>
                  </a:lnTo>
                  <a:lnTo>
                    <a:pt x="138" y="16"/>
                  </a:lnTo>
                  <a:lnTo>
                    <a:pt x="136" y="16"/>
                  </a:lnTo>
                  <a:lnTo>
                    <a:pt x="134" y="14"/>
                  </a:lnTo>
                  <a:lnTo>
                    <a:pt x="116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06" y="4"/>
                  </a:lnTo>
                  <a:lnTo>
                    <a:pt x="102" y="2"/>
                  </a:lnTo>
                  <a:lnTo>
                    <a:pt x="96" y="4"/>
                  </a:lnTo>
                  <a:lnTo>
                    <a:pt x="88" y="12"/>
                  </a:lnTo>
                  <a:lnTo>
                    <a:pt x="86" y="16"/>
                  </a:lnTo>
                  <a:lnTo>
                    <a:pt x="86" y="22"/>
                  </a:lnTo>
                  <a:lnTo>
                    <a:pt x="86" y="24"/>
                  </a:lnTo>
                  <a:lnTo>
                    <a:pt x="86" y="30"/>
                  </a:lnTo>
                  <a:lnTo>
                    <a:pt x="84" y="34"/>
                  </a:lnTo>
                  <a:lnTo>
                    <a:pt x="84" y="36"/>
                  </a:lnTo>
                  <a:lnTo>
                    <a:pt x="82" y="40"/>
                  </a:lnTo>
                  <a:lnTo>
                    <a:pt x="80" y="44"/>
                  </a:lnTo>
                  <a:lnTo>
                    <a:pt x="80" y="52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6" y="76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68" y="86"/>
                  </a:lnTo>
                  <a:lnTo>
                    <a:pt x="66" y="86"/>
                  </a:lnTo>
                  <a:lnTo>
                    <a:pt x="62" y="88"/>
                  </a:lnTo>
                  <a:lnTo>
                    <a:pt x="60" y="94"/>
                  </a:lnTo>
                  <a:lnTo>
                    <a:pt x="58" y="98"/>
                  </a:lnTo>
                  <a:lnTo>
                    <a:pt x="54" y="102"/>
                  </a:lnTo>
                  <a:lnTo>
                    <a:pt x="54" y="104"/>
                  </a:lnTo>
                  <a:lnTo>
                    <a:pt x="54" y="112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0" y="124"/>
                  </a:lnTo>
                  <a:lnTo>
                    <a:pt x="44" y="128"/>
                  </a:lnTo>
                  <a:lnTo>
                    <a:pt x="42" y="130"/>
                  </a:lnTo>
                  <a:lnTo>
                    <a:pt x="36" y="136"/>
                  </a:lnTo>
                  <a:lnTo>
                    <a:pt x="30" y="138"/>
                  </a:lnTo>
                  <a:lnTo>
                    <a:pt x="30" y="136"/>
                  </a:lnTo>
                  <a:lnTo>
                    <a:pt x="30" y="132"/>
                  </a:lnTo>
                  <a:lnTo>
                    <a:pt x="30" y="132"/>
                  </a:lnTo>
                  <a:lnTo>
                    <a:pt x="30" y="130"/>
                  </a:lnTo>
                  <a:lnTo>
                    <a:pt x="28" y="130"/>
                  </a:lnTo>
                  <a:lnTo>
                    <a:pt x="20" y="132"/>
                  </a:lnTo>
                  <a:lnTo>
                    <a:pt x="16" y="138"/>
                  </a:lnTo>
                  <a:lnTo>
                    <a:pt x="12" y="134"/>
                  </a:lnTo>
                  <a:lnTo>
                    <a:pt x="8" y="136"/>
                  </a:lnTo>
                  <a:lnTo>
                    <a:pt x="4" y="140"/>
                  </a:lnTo>
                  <a:lnTo>
                    <a:pt x="4" y="146"/>
                  </a:lnTo>
                  <a:lnTo>
                    <a:pt x="4" y="150"/>
                  </a:lnTo>
                  <a:lnTo>
                    <a:pt x="0" y="150"/>
                  </a:lnTo>
                  <a:lnTo>
                    <a:pt x="2" y="152"/>
                  </a:lnTo>
                  <a:lnTo>
                    <a:pt x="6" y="152"/>
                  </a:lnTo>
                  <a:lnTo>
                    <a:pt x="14" y="1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6" name="Google Shape;647;p35">
              <a:extLst>
                <a:ext uri="{FF2B5EF4-FFF2-40B4-BE49-F238E27FC236}">
                  <a16:creationId xmlns:a16="http://schemas.microsoft.com/office/drawing/2014/main" id="{D05775D8-BC48-71FC-48A4-FC418D65860C}"/>
                </a:ext>
              </a:extLst>
            </p:cNvPr>
            <p:cNvSpPr/>
            <p:nvPr/>
          </p:nvSpPr>
          <p:spPr>
            <a:xfrm>
              <a:off x="6451362" y="4638755"/>
              <a:ext cx="105727" cy="108585"/>
            </a:xfrm>
            <a:custGeom>
              <a:avLst/>
              <a:gdLst/>
              <a:ahLst/>
              <a:cxnLst/>
              <a:rect l="l" t="t" r="r" b="b"/>
              <a:pathLst>
                <a:path w="74" h="76" extrusionOk="0">
                  <a:moveTo>
                    <a:pt x="16" y="20"/>
                  </a:moveTo>
                  <a:lnTo>
                    <a:pt x="16" y="24"/>
                  </a:lnTo>
                  <a:lnTo>
                    <a:pt x="16" y="26"/>
                  </a:lnTo>
                  <a:lnTo>
                    <a:pt x="24" y="28"/>
                  </a:lnTo>
                  <a:lnTo>
                    <a:pt x="24" y="30"/>
                  </a:lnTo>
                  <a:lnTo>
                    <a:pt x="16" y="38"/>
                  </a:lnTo>
                  <a:lnTo>
                    <a:pt x="12" y="42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4" y="52"/>
                  </a:lnTo>
                  <a:lnTo>
                    <a:pt x="2" y="58"/>
                  </a:lnTo>
                  <a:lnTo>
                    <a:pt x="2" y="64"/>
                  </a:lnTo>
                  <a:lnTo>
                    <a:pt x="0" y="76"/>
                  </a:lnTo>
                  <a:lnTo>
                    <a:pt x="6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60" y="72"/>
                  </a:lnTo>
                  <a:lnTo>
                    <a:pt x="60" y="62"/>
                  </a:lnTo>
                  <a:lnTo>
                    <a:pt x="60" y="58"/>
                  </a:lnTo>
                  <a:lnTo>
                    <a:pt x="60" y="54"/>
                  </a:lnTo>
                  <a:lnTo>
                    <a:pt x="62" y="50"/>
                  </a:lnTo>
                  <a:lnTo>
                    <a:pt x="68" y="42"/>
                  </a:lnTo>
                  <a:lnTo>
                    <a:pt x="74" y="34"/>
                  </a:lnTo>
                  <a:lnTo>
                    <a:pt x="72" y="24"/>
                  </a:lnTo>
                  <a:lnTo>
                    <a:pt x="60" y="0"/>
                  </a:lnTo>
                  <a:lnTo>
                    <a:pt x="54" y="6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42" y="6"/>
                  </a:lnTo>
                  <a:lnTo>
                    <a:pt x="38" y="8"/>
                  </a:lnTo>
                  <a:lnTo>
                    <a:pt x="36" y="8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26" y="8"/>
                  </a:lnTo>
                  <a:lnTo>
                    <a:pt x="22" y="6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2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7" name="Google Shape;648;p35">
              <a:extLst>
                <a:ext uri="{FF2B5EF4-FFF2-40B4-BE49-F238E27FC236}">
                  <a16:creationId xmlns:a16="http://schemas.microsoft.com/office/drawing/2014/main" id="{A862A202-D8B6-E0DE-7976-96369D5E6E83}"/>
                </a:ext>
              </a:extLst>
            </p:cNvPr>
            <p:cNvSpPr/>
            <p:nvPr/>
          </p:nvSpPr>
          <p:spPr>
            <a:xfrm>
              <a:off x="6157040" y="4507310"/>
              <a:ext cx="254317" cy="171450"/>
            </a:xfrm>
            <a:custGeom>
              <a:avLst/>
              <a:gdLst/>
              <a:ahLst/>
              <a:cxnLst/>
              <a:rect l="l" t="t" r="r" b="b"/>
              <a:pathLst>
                <a:path w="178" h="120" extrusionOk="0">
                  <a:moveTo>
                    <a:pt x="110" y="0"/>
                  </a:moveTo>
                  <a:lnTo>
                    <a:pt x="106" y="2"/>
                  </a:lnTo>
                  <a:lnTo>
                    <a:pt x="100" y="6"/>
                  </a:lnTo>
                  <a:lnTo>
                    <a:pt x="98" y="10"/>
                  </a:lnTo>
                  <a:lnTo>
                    <a:pt x="96" y="12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8"/>
                  </a:lnTo>
                  <a:lnTo>
                    <a:pt x="82" y="24"/>
                  </a:lnTo>
                  <a:lnTo>
                    <a:pt x="76" y="26"/>
                  </a:lnTo>
                  <a:lnTo>
                    <a:pt x="70" y="28"/>
                  </a:lnTo>
                  <a:lnTo>
                    <a:pt x="64" y="28"/>
                  </a:lnTo>
                  <a:lnTo>
                    <a:pt x="60" y="30"/>
                  </a:lnTo>
                  <a:lnTo>
                    <a:pt x="64" y="34"/>
                  </a:lnTo>
                  <a:lnTo>
                    <a:pt x="58" y="38"/>
                  </a:lnTo>
                  <a:lnTo>
                    <a:pt x="56" y="40"/>
                  </a:lnTo>
                  <a:lnTo>
                    <a:pt x="44" y="42"/>
                  </a:lnTo>
                  <a:lnTo>
                    <a:pt x="38" y="44"/>
                  </a:lnTo>
                  <a:lnTo>
                    <a:pt x="32" y="48"/>
                  </a:lnTo>
                  <a:lnTo>
                    <a:pt x="22" y="48"/>
                  </a:lnTo>
                  <a:lnTo>
                    <a:pt x="14" y="48"/>
                  </a:lnTo>
                  <a:lnTo>
                    <a:pt x="10" y="52"/>
                  </a:lnTo>
                  <a:lnTo>
                    <a:pt x="8" y="58"/>
                  </a:lnTo>
                  <a:lnTo>
                    <a:pt x="6" y="6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2" y="78"/>
                  </a:lnTo>
                  <a:lnTo>
                    <a:pt x="4" y="80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8" y="90"/>
                  </a:lnTo>
                  <a:lnTo>
                    <a:pt x="8" y="96"/>
                  </a:lnTo>
                  <a:lnTo>
                    <a:pt x="12" y="102"/>
                  </a:lnTo>
                  <a:lnTo>
                    <a:pt x="18" y="106"/>
                  </a:lnTo>
                  <a:lnTo>
                    <a:pt x="20" y="108"/>
                  </a:lnTo>
                  <a:lnTo>
                    <a:pt x="24" y="114"/>
                  </a:lnTo>
                  <a:lnTo>
                    <a:pt x="24" y="120"/>
                  </a:lnTo>
                  <a:lnTo>
                    <a:pt x="28" y="114"/>
                  </a:lnTo>
                  <a:lnTo>
                    <a:pt x="28" y="110"/>
                  </a:lnTo>
                  <a:lnTo>
                    <a:pt x="32" y="102"/>
                  </a:lnTo>
                  <a:lnTo>
                    <a:pt x="40" y="100"/>
                  </a:lnTo>
                  <a:lnTo>
                    <a:pt x="46" y="100"/>
                  </a:lnTo>
                  <a:lnTo>
                    <a:pt x="52" y="102"/>
                  </a:lnTo>
                  <a:lnTo>
                    <a:pt x="56" y="100"/>
                  </a:lnTo>
                  <a:lnTo>
                    <a:pt x="56" y="102"/>
                  </a:lnTo>
                  <a:lnTo>
                    <a:pt x="56" y="100"/>
                  </a:lnTo>
                  <a:lnTo>
                    <a:pt x="56" y="94"/>
                  </a:lnTo>
                  <a:lnTo>
                    <a:pt x="58" y="90"/>
                  </a:lnTo>
                  <a:lnTo>
                    <a:pt x="66" y="82"/>
                  </a:lnTo>
                  <a:lnTo>
                    <a:pt x="72" y="80"/>
                  </a:lnTo>
                  <a:lnTo>
                    <a:pt x="76" y="82"/>
                  </a:lnTo>
                  <a:lnTo>
                    <a:pt x="82" y="86"/>
                  </a:lnTo>
                  <a:lnTo>
                    <a:pt x="82" y="88"/>
                  </a:lnTo>
                  <a:lnTo>
                    <a:pt x="86" y="90"/>
                  </a:lnTo>
                  <a:lnTo>
                    <a:pt x="104" y="92"/>
                  </a:lnTo>
                  <a:lnTo>
                    <a:pt x="106" y="94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2" y="88"/>
                  </a:lnTo>
                  <a:lnTo>
                    <a:pt x="116" y="84"/>
                  </a:lnTo>
                  <a:lnTo>
                    <a:pt x="120" y="86"/>
                  </a:lnTo>
                  <a:lnTo>
                    <a:pt x="124" y="86"/>
                  </a:lnTo>
                  <a:lnTo>
                    <a:pt x="128" y="84"/>
                  </a:lnTo>
                  <a:lnTo>
                    <a:pt x="136" y="80"/>
                  </a:lnTo>
                  <a:lnTo>
                    <a:pt x="140" y="84"/>
                  </a:lnTo>
                  <a:lnTo>
                    <a:pt x="142" y="84"/>
                  </a:lnTo>
                  <a:lnTo>
                    <a:pt x="148" y="82"/>
                  </a:lnTo>
                  <a:lnTo>
                    <a:pt x="148" y="78"/>
                  </a:lnTo>
                  <a:lnTo>
                    <a:pt x="154" y="78"/>
                  </a:lnTo>
                  <a:lnTo>
                    <a:pt x="168" y="82"/>
                  </a:lnTo>
                  <a:lnTo>
                    <a:pt x="172" y="80"/>
                  </a:lnTo>
                  <a:lnTo>
                    <a:pt x="178" y="82"/>
                  </a:lnTo>
                  <a:lnTo>
                    <a:pt x="174" y="74"/>
                  </a:lnTo>
                  <a:lnTo>
                    <a:pt x="170" y="70"/>
                  </a:lnTo>
                  <a:lnTo>
                    <a:pt x="164" y="66"/>
                  </a:lnTo>
                  <a:lnTo>
                    <a:pt x="162" y="62"/>
                  </a:lnTo>
                  <a:lnTo>
                    <a:pt x="160" y="56"/>
                  </a:lnTo>
                  <a:lnTo>
                    <a:pt x="154" y="52"/>
                  </a:lnTo>
                  <a:lnTo>
                    <a:pt x="148" y="50"/>
                  </a:lnTo>
                  <a:lnTo>
                    <a:pt x="146" y="48"/>
                  </a:lnTo>
                  <a:lnTo>
                    <a:pt x="148" y="44"/>
                  </a:lnTo>
                  <a:lnTo>
                    <a:pt x="142" y="40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4" y="34"/>
                  </a:lnTo>
                  <a:lnTo>
                    <a:pt x="132" y="32"/>
                  </a:lnTo>
                  <a:lnTo>
                    <a:pt x="124" y="32"/>
                  </a:lnTo>
                  <a:lnTo>
                    <a:pt x="126" y="24"/>
                  </a:lnTo>
                  <a:lnTo>
                    <a:pt x="126" y="16"/>
                  </a:lnTo>
                  <a:lnTo>
                    <a:pt x="120" y="8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8" name="Google Shape;649;p35">
              <a:extLst>
                <a:ext uri="{FF2B5EF4-FFF2-40B4-BE49-F238E27FC236}">
                  <a16:creationId xmlns:a16="http://schemas.microsoft.com/office/drawing/2014/main" id="{6D2E175B-CA14-A6DE-E5FB-853123B5201D}"/>
                </a:ext>
              </a:extLst>
            </p:cNvPr>
            <p:cNvSpPr/>
            <p:nvPr/>
          </p:nvSpPr>
          <p:spPr>
            <a:xfrm>
              <a:off x="6437075" y="4741625"/>
              <a:ext cx="40005" cy="34290"/>
            </a:xfrm>
            <a:custGeom>
              <a:avLst/>
              <a:gdLst/>
              <a:ahLst/>
              <a:cxnLst/>
              <a:rect l="l" t="t" r="r" b="b"/>
              <a:pathLst>
                <a:path w="28" h="24" extrusionOk="0">
                  <a:moveTo>
                    <a:pt x="10" y="4"/>
                  </a:moveTo>
                  <a:lnTo>
                    <a:pt x="6" y="8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10" y="24"/>
                  </a:lnTo>
                  <a:lnTo>
                    <a:pt x="16" y="18"/>
                  </a:lnTo>
                  <a:lnTo>
                    <a:pt x="20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28" y="14"/>
                  </a:lnTo>
                  <a:lnTo>
                    <a:pt x="24" y="4"/>
                  </a:lnTo>
                  <a:lnTo>
                    <a:pt x="22" y="0"/>
                  </a:lnTo>
                  <a:lnTo>
                    <a:pt x="16" y="4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9" name="Google Shape;650;p35">
              <a:extLst>
                <a:ext uri="{FF2B5EF4-FFF2-40B4-BE49-F238E27FC236}">
                  <a16:creationId xmlns:a16="http://schemas.microsoft.com/office/drawing/2014/main" id="{3482ED31-5A50-7650-72E2-41941EEDF358}"/>
                </a:ext>
              </a:extLst>
            </p:cNvPr>
            <p:cNvSpPr/>
            <p:nvPr/>
          </p:nvSpPr>
          <p:spPr>
            <a:xfrm>
              <a:off x="6439932" y="4767342"/>
              <a:ext cx="34290" cy="40005"/>
            </a:xfrm>
            <a:custGeom>
              <a:avLst/>
              <a:gdLst/>
              <a:ahLst/>
              <a:cxnLst/>
              <a:rect l="l" t="t" r="r" b="b"/>
              <a:pathLst>
                <a:path w="24" h="28" extrusionOk="0">
                  <a:moveTo>
                    <a:pt x="14" y="0"/>
                  </a:moveTo>
                  <a:lnTo>
                    <a:pt x="8" y="6"/>
                  </a:lnTo>
                  <a:lnTo>
                    <a:pt x="0" y="4"/>
                  </a:lnTo>
                  <a:lnTo>
                    <a:pt x="2" y="12"/>
                  </a:lnTo>
                  <a:lnTo>
                    <a:pt x="6" y="28"/>
                  </a:lnTo>
                  <a:lnTo>
                    <a:pt x="10" y="2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2" y="1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0" name="Google Shape;651;p35">
              <a:extLst>
                <a:ext uri="{FF2B5EF4-FFF2-40B4-BE49-F238E27FC236}">
                  <a16:creationId xmlns:a16="http://schemas.microsoft.com/office/drawing/2014/main" id="{9A9D5E26-344B-256B-5F42-404C32C84AEF}"/>
                </a:ext>
              </a:extLst>
            </p:cNvPr>
            <p:cNvSpPr/>
            <p:nvPr/>
          </p:nvSpPr>
          <p:spPr>
            <a:xfrm>
              <a:off x="6111320" y="4807347"/>
              <a:ext cx="20002" cy="25717"/>
            </a:xfrm>
            <a:custGeom>
              <a:avLst/>
              <a:gdLst/>
              <a:ahLst/>
              <a:cxnLst/>
              <a:rect l="l" t="t" r="r" b="b"/>
              <a:pathLst>
                <a:path w="14" h="18" extrusionOk="0">
                  <a:moveTo>
                    <a:pt x="6" y="14"/>
                  </a:moveTo>
                  <a:lnTo>
                    <a:pt x="6" y="8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6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8"/>
                  </a:lnTo>
                  <a:lnTo>
                    <a:pt x="6" y="18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1" name="Google Shape;652;p35">
              <a:extLst>
                <a:ext uri="{FF2B5EF4-FFF2-40B4-BE49-F238E27FC236}">
                  <a16:creationId xmlns:a16="http://schemas.microsoft.com/office/drawing/2014/main" id="{5F5D9A5B-22C2-2DD1-573A-0454BA5CAC3C}"/>
                </a:ext>
              </a:extLst>
            </p:cNvPr>
            <p:cNvSpPr/>
            <p:nvPr/>
          </p:nvSpPr>
          <p:spPr>
            <a:xfrm>
              <a:off x="6094175" y="4650185"/>
              <a:ext cx="142875" cy="168592"/>
            </a:xfrm>
            <a:custGeom>
              <a:avLst/>
              <a:gdLst/>
              <a:ahLst/>
              <a:cxnLst/>
              <a:rect l="l" t="t" r="r" b="b"/>
              <a:pathLst>
                <a:path w="100" h="118" extrusionOk="0">
                  <a:moveTo>
                    <a:pt x="18" y="112"/>
                  </a:moveTo>
                  <a:lnTo>
                    <a:pt x="22" y="110"/>
                  </a:lnTo>
                  <a:lnTo>
                    <a:pt x="26" y="112"/>
                  </a:lnTo>
                  <a:lnTo>
                    <a:pt x="30" y="116"/>
                  </a:lnTo>
                  <a:lnTo>
                    <a:pt x="34" y="110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50" y="114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64" y="10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0"/>
                  </a:lnTo>
                  <a:lnTo>
                    <a:pt x="68" y="82"/>
                  </a:lnTo>
                  <a:lnTo>
                    <a:pt x="68" y="80"/>
                  </a:lnTo>
                  <a:lnTo>
                    <a:pt x="72" y="76"/>
                  </a:lnTo>
                  <a:lnTo>
                    <a:pt x="74" y="72"/>
                  </a:lnTo>
                  <a:lnTo>
                    <a:pt x="76" y="66"/>
                  </a:lnTo>
                  <a:lnTo>
                    <a:pt x="80" y="64"/>
                  </a:lnTo>
                  <a:lnTo>
                    <a:pt x="82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0" y="5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4" y="30"/>
                  </a:lnTo>
                  <a:lnTo>
                    <a:pt x="94" y="22"/>
                  </a:lnTo>
                  <a:lnTo>
                    <a:pt x="96" y="18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8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96" y="2"/>
                  </a:lnTo>
                  <a:lnTo>
                    <a:pt x="90" y="0"/>
                  </a:lnTo>
                  <a:lnTo>
                    <a:pt x="84" y="0"/>
                  </a:lnTo>
                  <a:lnTo>
                    <a:pt x="76" y="2"/>
                  </a:lnTo>
                  <a:lnTo>
                    <a:pt x="72" y="10"/>
                  </a:lnTo>
                  <a:lnTo>
                    <a:pt x="72" y="14"/>
                  </a:lnTo>
                  <a:lnTo>
                    <a:pt x="68" y="20"/>
                  </a:lnTo>
                  <a:lnTo>
                    <a:pt x="66" y="24"/>
                  </a:lnTo>
                  <a:lnTo>
                    <a:pt x="66" y="28"/>
                  </a:lnTo>
                  <a:lnTo>
                    <a:pt x="54" y="22"/>
                  </a:lnTo>
                  <a:lnTo>
                    <a:pt x="46" y="20"/>
                  </a:lnTo>
                  <a:lnTo>
                    <a:pt x="28" y="20"/>
                  </a:lnTo>
                  <a:lnTo>
                    <a:pt x="26" y="2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4" y="32"/>
                  </a:lnTo>
                  <a:lnTo>
                    <a:pt x="42" y="32"/>
                  </a:lnTo>
                  <a:lnTo>
                    <a:pt x="42" y="30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36" y="46"/>
                  </a:lnTo>
                  <a:lnTo>
                    <a:pt x="38" y="52"/>
                  </a:lnTo>
                  <a:lnTo>
                    <a:pt x="44" y="56"/>
                  </a:lnTo>
                  <a:lnTo>
                    <a:pt x="46" y="58"/>
                  </a:lnTo>
                  <a:lnTo>
                    <a:pt x="44" y="64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2" y="78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6" y="82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80"/>
                  </a:lnTo>
                  <a:lnTo>
                    <a:pt x="32" y="82"/>
                  </a:lnTo>
                  <a:lnTo>
                    <a:pt x="24" y="82"/>
                  </a:lnTo>
                  <a:lnTo>
                    <a:pt x="22" y="76"/>
                  </a:lnTo>
                  <a:lnTo>
                    <a:pt x="18" y="74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82"/>
                  </a:lnTo>
                  <a:lnTo>
                    <a:pt x="10" y="82"/>
                  </a:lnTo>
                  <a:lnTo>
                    <a:pt x="6" y="82"/>
                  </a:lnTo>
                  <a:lnTo>
                    <a:pt x="6" y="86"/>
                  </a:lnTo>
                  <a:lnTo>
                    <a:pt x="8" y="90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0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8" y="11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2" name="Google Shape;653;p35">
              <a:extLst>
                <a:ext uri="{FF2B5EF4-FFF2-40B4-BE49-F238E27FC236}">
                  <a16:creationId xmlns:a16="http://schemas.microsoft.com/office/drawing/2014/main" id="{FF371EF4-BF7D-68B1-D05F-A2E5CA408F48}"/>
                </a:ext>
              </a:extLst>
            </p:cNvPr>
            <p:cNvSpPr/>
            <p:nvPr/>
          </p:nvSpPr>
          <p:spPr>
            <a:xfrm>
              <a:off x="6052740" y="4675902"/>
              <a:ext cx="107157" cy="122872"/>
            </a:xfrm>
            <a:custGeom>
              <a:avLst/>
              <a:gdLst/>
              <a:ahLst/>
              <a:cxnLst/>
              <a:rect l="l" t="t" r="r" b="b"/>
              <a:pathLst>
                <a:path w="75" h="86" extrusionOk="0">
                  <a:moveTo>
                    <a:pt x="39" y="80"/>
                  </a:moveTo>
                  <a:lnTo>
                    <a:pt x="39" y="76"/>
                  </a:lnTo>
                  <a:lnTo>
                    <a:pt x="35" y="74"/>
                  </a:lnTo>
                  <a:lnTo>
                    <a:pt x="37" y="72"/>
                  </a:lnTo>
                  <a:lnTo>
                    <a:pt x="35" y="68"/>
                  </a:lnTo>
                  <a:lnTo>
                    <a:pt x="35" y="64"/>
                  </a:lnTo>
                  <a:lnTo>
                    <a:pt x="39" y="64"/>
                  </a:lnTo>
                  <a:lnTo>
                    <a:pt x="47" y="64"/>
                  </a:lnTo>
                  <a:lnTo>
                    <a:pt x="47" y="60"/>
                  </a:lnTo>
                  <a:lnTo>
                    <a:pt x="45" y="58"/>
                  </a:lnTo>
                  <a:lnTo>
                    <a:pt x="47" y="56"/>
                  </a:lnTo>
                  <a:lnTo>
                    <a:pt x="51" y="58"/>
                  </a:lnTo>
                  <a:lnTo>
                    <a:pt x="53" y="64"/>
                  </a:lnTo>
                  <a:lnTo>
                    <a:pt x="61" y="64"/>
                  </a:lnTo>
                  <a:lnTo>
                    <a:pt x="63" y="62"/>
                  </a:lnTo>
                  <a:lnTo>
                    <a:pt x="65" y="64"/>
                  </a:lnTo>
                  <a:lnTo>
                    <a:pt x="67" y="64"/>
                  </a:lnTo>
                  <a:lnTo>
                    <a:pt x="65" y="64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71" y="64"/>
                  </a:lnTo>
                  <a:lnTo>
                    <a:pt x="71" y="60"/>
                  </a:lnTo>
                  <a:lnTo>
                    <a:pt x="73" y="58"/>
                  </a:lnTo>
                  <a:lnTo>
                    <a:pt x="73" y="54"/>
                  </a:lnTo>
                  <a:lnTo>
                    <a:pt x="73" y="46"/>
                  </a:lnTo>
                  <a:lnTo>
                    <a:pt x="75" y="40"/>
                  </a:lnTo>
                  <a:lnTo>
                    <a:pt x="73" y="38"/>
                  </a:lnTo>
                  <a:lnTo>
                    <a:pt x="67" y="34"/>
                  </a:lnTo>
                  <a:lnTo>
                    <a:pt x="65" y="28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73" y="22"/>
                  </a:lnTo>
                  <a:lnTo>
                    <a:pt x="73" y="18"/>
                  </a:lnTo>
                  <a:lnTo>
                    <a:pt x="71" y="12"/>
                  </a:lnTo>
                  <a:lnTo>
                    <a:pt x="71" y="14"/>
                  </a:lnTo>
                  <a:lnTo>
                    <a:pt x="63" y="14"/>
                  </a:lnTo>
                  <a:lnTo>
                    <a:pt x="57" y="16"/>
                  </a:lnTo>
                  <a:lnTo>
                    <a:pt x="57" y="12"/>
                  </a:lnTo>
                  <a:lnTo>
                    <a:pt x="55" y="10"/>
                  </a:lnTo>
                  <a:lnTo>
                    <a:pt x="57" y="2"/>
                  </a:lnTo>
                  <a:lnTo>
                    <a:pt x="51" y="2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39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1" y="18"/>
                  </a:lnTo>
                  <a:lnTo>
                    <a:pt x="12" y="18"/>
                  </a:lnTo>
                  <a:lnTo>
                    <a:pt x="6" y="20"/>
                  </a:lnTo>
                  <a:lnTo>
                    <a:pt x="4" y="24"/>
                  </a:lnTo>
                  <a:lnTo>
                    <a:pt x="6" y="26"/>
                  </a:lnTo>
                  <a:lnTo>
                    <a:pt x="6" y="30"/>
                  </a:lnTo>
                  <a:lnTo>
                    <a:pt x="4" y="36"/>
                  </a:lnTo>
                  <a:lnTo>
                    <a:pt x="2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6" y="70"/>
                  </a:lnTo>
                  <a:lnTo>
                    <a:pt x="18" y="72"/>
                  </a:lnTo>
                  <a:lnTo>
                    <a:pt x="22" y="78"/>
                  </a:lnTo>
                  <a:lnTo>
                    <a:pt x="29" y="86"/>
                  </a:lnTo>
                  <a:lnTo>
                    <a:pt x="33" y="80"/>
                  </a:lnTo>
                  <a:lnTo>
                    <a:pt x="39" y="8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3" name="Google Shape;654;p35">
              <a:extLst>
                <a:ext uri="{FF2B5EF4-FFF2-40B4-BE49-F238E27FC236}">
                  <a16:creationId xmlns:a16="http://schemas.microsoft.com/office/drawing/2014/main" id="{A446650B-DE0E-41DA-E046-83AEB104C4BB}"/>
                </a:ext>
              </a:extLst>
            </p:cNvPr>
            <p:cNvSpPr/>
            <p:nvPr/>
          </p:nvSpPr>
          <p:spPr>
            <a:xfrm>
              <a:off x="6408500" y="1825544"/>
              <a:ext cx="3163252" cy="2018824"/>
            </a:xfrm>
            <a:custGeom>
              <a:avLst/>
              <a:gdLst/>
              <a:ahLst/>
              <a:cxnLst/>
              <a:rect l="l" t="t" r="r" b="b"/>
              <a:pathLst>
                <a:path w="3514725" h="2243138" extrusionOk="0">
                  <a:moveTo>
                    <a:pt x="2565400" y="2149476"/>
                  </a:moveTo>
                  <a:lnTo>
                    <a:pt x="2571750" y="2152651"/>
                  </a:lnTo>
                  <a:lnTo>
                    <a:pt x="2565400" y="2155826"/>
                  </a:lnTo>
                  <a:lnTo>
                    <a:pt x="2555875" y="2165351"/>
                  </a:lnTo>
                  <a:lnTo>
                    <a:pt x="2552700" y="2171701"/>
                  </a:lnTo>
                  <a:lnTo>
                    <a:pt x="2549525" y="2174876"/>
                  </a:lnTo>
                  <a:lnTo>
                    <a:pt x="2549525" y="2168526"/>
                  </a:lnTo>
                  <a:lnTo>
                    <a:pt x="2559050" y="2155826"/>
                  </a:lnTo>
                  <a:close/>
                  <a:moveTo>
                    <a:pt x="2778125" y="1949451"/>
                  </a:moveTo>
                  <a:lnTo>
                    <a:pt x="2781300" y="1958976"/>
                  </a:lnTo>
                  <a:lnTo>
                    <a:pt x="2774950" y="1968501"/>
                  </a:lnTo>
                  <a:lnTo>
                    <a:pt x="2759075" y="1974851"/>
                  </a:lnTo>
                  <a:lnTo>
                    <a:pt x="2759075" y="1965326"/>
                  </a:lnTo>
                  <a:lnTo>
                    <a:pt x="2765425" y="1958976"/>
                  </a:lnTo>
                  <a:lnTo>
                    <a:pt x="2774950" y="1952626"/>
                  </a:lnTo>
                  <a:close/>
                  <a:moveTo>
                    <a:pt x="3419475" y="1892301"/>
                  </a:moveTo>
                  <a:lnTo>
                    <a:pt x="3422650" y="1898651"/>
                  </a:lnTo>
                  <a:lnTo>
                    <a:pt x="3413125" y="1905001"/>
                  </a:lnTo>
                  <a:lnTo>
                    <a:pt x="3403600" y="1908176"/>
                  </a:lnTo>
                  <a:lnTo>
                    <a:pt x="3394075" y="1905001"/>
                  </a:lnTo>
                  <a:lnTo>
                    <a:pt x="3406775" y="1905001"/>
                  </a:lnTo>
                  <a:lnTo>
                    <a:pt x="3416300" y="1898651"/>
                  </a:lnTo>
                  <a:close/>
                  <a:moveTo>
                    <a:pt x="2489200" y="1819276"/>
                  </a:moveTo>
                  <a:lnTo>
                    <a:pt x="2495550" y="1825626"/>
                  </a:lnTo>
                  <a:lnTo>
                    <a:pt x="2495550" y="1831976"/>
                  </a:lnTo>
                  <a:lnTo>
                    <a:pt x="2495550" y="1841501"/>
                  </a:lnTo>
                  <a:lnTo>
                    <a:pt x="2501900" y="1870076"/>
                  </a:lnTo>
                  <a:lnTo>
                    <a:pt x="2498725" y="1895476"/>
                  </a:lnTo>
                  <a:lnTo>
                    <a:pt x="2498725" y="1911351"/>
                  </a:lnTo>
                  <a:lnTo>
                    <a:pt x="2501900" y="1920876"/>
                  </a:lnTo>
                  <a:lnTo>
                    <a:pt x="2511425" y="1949451"/>
                  </a:lnTo>
                  <a:lnTo>
                    <a:pt x="2524125" y="2006601"/>
                  </a:lnTo>
                  <a:lnTo>
                    <a:pt x="2514600" y="2000251"/>
                  </a:lnTo>
                  <a:lnTo>
                    <a:pt x="2501900" y="1997076"/>
                  </a:lnTo>
                  <a:lnTo>
                    <a:pt x="2495550" y="2006601"/>
                  </a:lnTo>
                  <a:lnTo>
                    <a:pt x="2489200" y="2032001"/>
                  </a:lnTo>
                  <a:lnTo>
                    <a:pt x="2486025" y="2047876"/>
                  </a:lnTo>
                  <a:lnTo>
                    <a:pt x="2489200" y="2057401"/>
                  </a:lnTo>
                  <a:lnTo>
                    <a:pt x="2498725" y="2076451"/>
                  </a:lnTo>
                  <a:lnTo>
                    <a:pt x="2508250" y="2089151"/>
                  </a:lnTo>
                  <a:lnTo>
                    <a:pt x="2508250" y="2092326"/>
                  </a:lnTo>
                  <a:lnTo>
                    <a:pt x="2505075" y="2098676"/>
                  </a:lnTo>
                  <a:lnTo>
                    <a:pt x="2505075" y="2089151"/>
                  </a:lnTo>
                  <a:lnTo>
                    <a:pt x="2495550" y="2085976"/>
                  </a:lnTo>
                  <a:lnTo>
                    <a:pt x="2486025" y="2082801"/>
                  </a:lnTo>
                  <a:lnTo>
                    <a:pt x="2479675" y="2098676"/>
                  </a:lnTo>
                  <a:lnTo>
                    <a:pt x="2476500" y="2105026"/>
                  </a:lnTo>
                  <a:lnTo>
                    <a:pt x="2473325" y="2105026"/>
                  </a:lnTo>
                  <a:lnTo>
                    <a:pt x="2470150" y="2089151"/>
                  </a:lnTo>
                  <a:lnTo>
                    <a:pt x="2473325" y="2070101"/>
                  </a:lnTo>
                  <a:lnTo>
                    <a:pt x="2473325" y="2051051"/>
                  </a:lnTo>
                  <a:lnTo>
                    <a:pt x="2479675" y="2038351"/>
                  </a:lnTo>
                  <a:lnTo>
                    <a:pt x="2473325" y="2025651"/>
                  </a:lnTo>
                  <a:lnTo>
                    <a:pt x="2470150" y="2016126"/>
                  </a:lnTo>
                  <a:lnTo>
                    <a:pt x="2473325" y="2012951"/>
                  </a:lnTo>
                  <a:lnTo>
                    <a:pt x="2476500" y="1990726"/>
                  </a:lnTo>
                  <a:lnTo>
                    <a:pt x="2479675" y="1971676"/>
                  </a:lnTo>
                  <a:lnTo>
                    <a:pt x="2479675" y="1946276"/>
                  </a:lnTo>
                  <a:lnTo>
                    <a:pt x="2479675" y="1933576"/>
                  </a:lnTo>
                  <a:lnTo>
                    <a:pt x="2473325" y="1924051"/>
                  </a:lnTo>
                  <a:lnTo>
                    <a:pt x="2470150" y="1917701"/>
                  </a:lnTo>
                  <a:lnTo>
                    <a:pt x="2466975" y="1908176"/>
                  </a:lnTo>
                  <a:lnTo>
                    <a:pt x="2466975" y="1898651"/>
                  </a:lnTo>
                  <a:lnTo>
                    <a:pt x="2470150" y="1889126"/>
                  </a:lnTo>
                  <a:lnTo>
                    <a:pt x="2473325" y="1876426"/>
                  </a:lnTo>
                  <a:lnTo>
                    <a:pt x="2473325" y="1870076"/>
                  </a:lnTo>
                  <a:lnTo>
                    <a:pt x="2470150" y="1860551"/>
                  </a:lnTo>
                  <a:lnTo>
                    <a:pt x="2479675" y="1854201"/>
                  </a:lnTo>
                  <a:lnTo>
                    <a:pt x="2486025" y="1857376"/>
                  </a:lnTo>
                  <a:lnTo>
                    <a:pt x="2492375" y="1844676"/>
                  </a:lnTo>
                  <a:lnTo>
                    <a:pt x="2486025" y="1835151"/>
                  </a:lnTo>
                  <a:lnTo>
                    <a:pt x="2482850" y="1828801"/>
                  </a:lnTo>
                  <a:lnTo>
                    <a:pt x="2486025" y="1825626"/>
                  </a:lnTo>
                  <a:close/>
                  <a:moveTo>
                    <a:pt x="2368550" y="1793876"/>
                  </a:moveTo>
                  <a:lnTo>
                    <a:pt x="2371725" y="1793876"/>
                  </a:lnTo>
                  <a:lnTo>
                    <a:pt x="2368550" y="1797051"/>
                  </a:lnTo>
                  <a:lnTo>
                    <a:pt x="2368550" y="1800226"/>
                  </a:lnTo>
                  <a:lnTo>
                    <a:pt x="2365375" y="1800226"/>
                  </a:lnTo>
                  <a:lnTo>
                    <a:pt x="2362200" y="1800226"/>
                  </a:lnTo>
                  <a:lnTo>
                    <a:pt x="2359025" y="1800226"/>
                  </a:lnTo>
                  <a:close/>
                  <a:moveTo>
                    <a:pt x="2378075" y="1790701"/>
                  </a:moveTo>
                  <a:lnTo>
                    <a:pt x="2384425" y="1793876"/>
                  </a:lnTo>
                  <a:lnTo>
                    <a:pt x="2390775" y="1797051"/>
                  </a:lnTo>
                  <a:lnTo>
                    <a:pt x="2381250" y="1812926"/>
                  </a:lnTo>
                  <a:lnTo>
                    <a:pt x="2378075" y="1803401"/>
                  </a:lnTo>
                  <a:lnTo>
                    <a:pt x="2371725" y="1806576"/>
                  </a:lnTo>
                  <a:close/>
                  <a:moveTo>
                    <a:pt x="2990850" y="1784351"/>
                  </a:moveTo>
                  <a:lnTo>
                    <a:pt x="2997200" y="1784351"/>
                  </a:lnTo>
                  <a:lnTo>
                    <a:pt x="3006725" y="1809751"/>
                  </a:lnTo>
                  <a:lnTo>
                    <a:pt x="2994025" y="1793876"/>
                  </a:lnTo>
                  <a:close/>
                  <a:moveTo>
                    <a:pt x="2959100" y="1631951"/>
                  </a:moveTo>
                  <a:lnTo>
                    <a:pt x="2962275" y="1631951"/>
                  </a:lnTo>
                  <a:lnTo>
                    <a:pt x="2962275" y="1644651"/>
                  </a:lnTo>
                  <a:lnTo>
                    <a:pt x="2955925" y="1647826"/>
                  </a:lnTo>
                  <a:lnTo>
                    <a:pt x="2936875" y="1657351"/>
                  </a:lnTo>
                  <a:lnTo>
                    <a:pt x="2949575" y="1638301"/>
                  </a:lnTo>
                  <a:close/>
                  <a:moveTo>
                    <a:pt x="476250" y="1114426"/>
                  </a:moveTo>
                  <a:lnTo>
                    <a:pt x="492125" y="1127126"/>
                  </a:lnTo>
                  <a:lnTo>
                    <a:pt x="495300" y="1133476"/>
                  </a:lnTo>
                  <a:lnTo>
                    <a:pt x="492125" y="1143001"/>
                  </a:lnTo>
                  <a:lnTo>
                    <a:pt x="476250" y="1152526"/>
                  </a:lnTo>
                  <a:lnTo>
                    <a:pt x="466725" y="1158876"/>
                  </a:lnTo>
                  <a:lnTo>
                    <a:pt x="457200" y="1158876"/>
                  </a:lnTo>
                  <a:lnTo>
                    <a:pt x="450850" y="1149351"/>
                  </a:lnTo>
                  <a:lnTo>
                    <a:pt x="450850" y="1136651"/>
                  </a:lnTo>
                  <a:lnTo>
                    <a:pt x="454025" y="1117601"/>
                  </a:lnTo>
                  <a:close/>
                  <a:moveTo>
                    <a:pt x="3038475" y="1079501"/>
                  </a:moveTo>
                  <a:lnTo>
                    <a:pt x="3048000" y="1082676"/>
                  </a:lnTo>
                  <a:lnTo>
                    <a:pt x="3060700" y="1085851"/>
                  </a:lnTo>
                  <a:lnTo>
                    <a:pt x="3067050" y="1095376"/>
                  </a:lnTo>
                  <a:lnTo>
                    <a:pt x="3060700" y="1108076"/>
                  </a:lnTo>
                  <a:lnTo>
                    <a:pt x="3051175" y="1104901"/>
                  </a:lnTo>
                  <a:lnTo>
                    <a:pt x="3028950" y="1089026"/>
                  </a:lnTo>
                  <a:close/>
                  <a:moveTo>
                    <a:pt x="685800" y="1047750"/>
                  </a:moveTo>
                  <a:lnTo>
                    <a:pt x="714375" y="1079500"/>
                  </a:lnTo>
                  <a:lnTo>
                    <a:pt x="717550" y="1089025"/>
                  </a:lnTo>
                  <a:lnTo>
                    <a:pt x="711200" y="1095375"/>
                  </a:lnTo>
                  <a:lnTo>
                    <a:pt x="698500" y="1095375"/>
                  </a:lnTo>
                  <a:lnTo>
                    <a:pt x="695325" y="1092200"/>
                  </a:lnTo>
                  <a:lnTo>
                    <a:pt x="695325" y="1089025"/>
                  </a:lnTo>
                  <a:lnTo>
                    <a:pt x="682625" y="1082675"/>
                  </a:lnTo>
                  <a:lnTo>
                    <a:pt x="673100" y="1073150"/>
                  </a:lnTo>
                  <a:lnTo>
                    <a:pt x="669925" y="1060450"/>
                  </a:lnTo>
                  <a:lnTo>
                    <a:pt x="676275" y="1054100"/>
                  </a:lnTo>
                  <a:close/>
                  <a:moveTo>
                    <a:pt x="539750" y="1003300"/>
                  </a:moveTo>
                  <a:lnTo>
                    <a:pt x="555625" y="1006475"/>
                  </a:lnTo>
                  <a:lnTo>
                    <a:pt x="552450" y="1028700"/>
                  </a:lnTo>
                  <a:lnTo>
                    <a:pt x="542925" y="1009650"/>
                  </a:lnTo>
                  <a:lnTo>
                    <a:pt x="536575" y="1006475"/>
                  </a:lnTo>
                  <a:close/>
                  <a:moveTo>
                    <a:pt x="3305175" y="977901"/>
                  </a:moveTo>
                  <a:lnTo>
                    <a:pt x="3330575" y="981076"/>
                  </a:lnTo>
                  <a:lnTo>
                    <a:pt x="3346450" y="993776"/>
                  </a:lnTo>
                  <a:lnTo>
                    <a:pt x="3349625" y="1000126"/>
                  </a:lnTo>
                  <a:lnTo>
                    <a:pt x="3346450" y="1006476"/>
                  </a:lnTo>
                  <a:lnTo>
                    <a:pt x="3317875" y="1019176"/>
                  </a:lnTo>
                  <a:lnTo>
                    <a:pt x="3305175" y="1022351"/>
                  </a:lnTo>
                  <a:lnTo>
                    <a:pt x="3295650" y="1016001"/>
                  </a:lnTo>
                  <a:lnTo>
                    <a:pt x="3286125" y="1022351"/>
                  </a:lnTo>
                  <a:lnTo>
                    <a:pt x="3273425" y="1025526"/>
                  </a:lnTo>
                  <a:lnTo>
                    <a:pt x="3267075" y="1022351"/>
                  </a:lnTo>
                  <a:lnTo>
                    <a:pt x="3267075" y="1009651"/>
                  </a:lnTo>
                  <a:lnTo>
                    <a:pt x="3276600" y="996951"/>
                  </a:lnTo>
                  <a:lnTo>
                    <a:pt x="3295650" y="981076"/>
                  </a:lnTo>
                  <a:close/>
                  <a:moveTo>
                    <a:pt x="2420938" y="935831"/>
                  </a:moveTo>
                  <a:lnTo>
                    <a:pt x="2422525" y="936625"/>
                  </a:lnTo>
                  <a:lnTo>
                    <a:pt x="2419350" y="936625"/>
                  </a:lnTo>
                  <a:close/>
                  <a:moveTo>
                    <a:pt x="2159000" y="904876"/>
                  </a:moveTo>
                  <a:lnTo>
                    <a:pt x="2171700" y="904876"/>
                  </a:lnTo>
                  <a:lnTo>
                    <a:pt x="2184400" y="908051"/>
                  </a:lnTo>
                  <a:lnTo>
                    <a:pt x="2200275" y="914401"/>
                  </a:lnTo>
                  <a:lnTo>
                    <a:pt x="2203450" y="923926"/>
                  </a:lnTo>
                  <a:lnTo>
                    <a:pt x="2203450" y="939801"/>
                  </a:lnTo>
                  <a:lnTo>
                    <a:pt x="2190750" y="942976"/>
                  </a:lnTo>
                  <a:lnTo>
                    <a:pt x="2181225" y="936626"/>
                  </a:lnTo>
                  <a:lnTo>
                    <a:pt x="2162175" y="917576"/>
                  </a:lnTo>
                  <a:lnTo>
                    <a:pt x="2143125" y="917576"/>
                  </a:lnTo>
                  <a:lnTo>
                    <a:pt x="2143125" y="911226"/>
                  </a:lnTo>
                  <a:lnTo>
                    <a:pt x="2149475" y="911226"/>
                  </a:lnTo>
                  <a:close/>
                  <a:moveTo>
                    <a:pt x="1082675" y="898525"/>
                  </a:moveTo>
                  <a:lnTo>
                    <a:pt x="1092200" y="901700"/>
                  </a:lnTo>
                  <a:lnTo>
                    <a:pt x="1101725" y="908050"/>
                  </a:lnTo>
                  <a:lnTo>
                    <a:pt x="1095375" y="917575"/>
                  </a:lnTo>
                  <a:lnTo>
                    <a:pt x="1085850" y="923925"/>
                  </a:lnTo>
                  <a:lnTo>
                    <a:pt x="1069975" y="920750"/>
                  </a:lnTo>
                  <a:close/>
                  <a:moveTo>
                    <a:pt x="1120775" y="869950"/>
                  </a:moveTo>
                  <a:lnTo>
                    <a:pt x="1127125" y="882650"/>
                  </a:lnTo>
                  <a:lnTo>
                    <a:pt x="1127125" y="895350"/>
                  </a:lnTo>
                  <a:lnTo>
                    <a:pt x="1120775" y="898525"/>
                  </a:lnTo>
                  <a:lnTo>
                    <a:pt x="1111250" y="895350"/>
                  </a:lnTo>
                  <a:lnTo>
                    <a:pt x="1104900" y="889000"/>
                  </a:lnTo>
                  <a:lnTo>
                    <a:pt x="1108075" y="882650"/>
                  </a:lnTo>
                  <a:close/>
                  <a:moveTo>
                    <a:pt x="1019175" y="866775"/>
                  </a:moveTo>
                  <a:lnTo>
                    <a:pt x="1025525" y="869950"/>
                  </a:lnTo>
                  <a:lnTo>
                    <a:pt x="1028700" y="873125"/>
                  </a:lnTo>
                  <a:lnTo>
                    <a:pt x="1019175" y="885825"/>
                  </a:lnTo>
                  <a:lnTo>
                    <a:pt x="1009650" y="873125"/>
                  </a:lnTo>
                  <a:close/>
                  <a:moveTo>
                    <a:pt x="593725" y="847725"/>
                  </a:moveTo>
                  <a:lnTo>
                    <a:pt x="603250" y="854075"/>
                  </a:lnTo>
                  <a:lnTo>
                    <a:pt x="622300" y="860425"/>
                  </a:lnTo>
                  <a:lnTo>
                    <a:pt x="628650" y="873125"/>
                  </a:lnTo>
                  <a:lnTo>
                    <a:pt x="619125" y="882650"/>
                  </a:lnTo>
                  <a:lnTo>
                    <a:pt x="615950" y="895350"/>
                  </a:lnTo>
                  <a:lnTo>
                    <a:pt x="609600" y="917575"/>
                  </a:lnTo>
                  <a:lnTo>
                    <a:pt x="606425" y="933450"/>
                  </a:lnTo>
                  <a:lnTo>
                    <a:pt x="603250" y="949325"/>
                  </a:lnTo>
                  <a:lnTo>
                    <a:pt x="612775" y="984250"/>
                  </a:lnTo>
                  <a:lnTo>
                    <a:pt x="625475" y="1009650"/>
                  </a:lnTo>
                  <a:lnTo>
                    <a:pt x="638175" y="1025525"/>
                  </a:lnTo>
                  <a:lnTo>
                    <a:pt x="654050" y="1038225"/>
                  </a:lnTo>
                  <a:lnTo>
                    <a:pt x="644525" y="1047750"/>
                  </a:lnTo>
                  <a:lnTo>
                    <a:pt x="635000" y="1044575"/>
                  </a:lnTo>
                  <a:lnTo>
                    <a:pt x="625475" y="1041400"/>
                  </a:lnTo>
                  <a:lnTo>
                    <a:pt x="619125" y="1044575"/>
                  </a:lnTo>
                  <a:lnTo>
                    <a:pt x="609600" y="1044575"/>
                  </a:lnTo>
                  <a:lnTo>
                    <a:pt x="603250" y="1044575"/>
                  </a:lnTo>
                  <a:lnTo>
                    <a:pt x="603250" y="1047750"/>
                  </a:lnTo>
                  <a:lnTo>
                    <a:pt x="600075" y="1047750"/>
                  </a:lnTo>
                  <a:lnTo>
                    <a:pt x="596900" y="1047750"/>
                  </a:lnTo>
                  <a:lnTo>
                    <a:pt x="587375" y="1031875"/>
                  </a:lnTo>
                  <a:lnTo>
                    <a:pt x="574675" y="1035050"/>
                  </a:lnTo>
                  <a:lnTo>
                    <a:pt x="561975" y="1028700"/>
                  </a:lnTo>
                  <a:lnTo>
                    <a:pt x="568325" y="1025525"/>
                  </a:lnTo>
                  <a:lnTo>
                    <a:pt x="565150" y="1012825"/>
                  </a:lnTo>
                  <a:lnTo>
                    <a:pt x="552450" y="996950"/>
                  </a:lnTo>
                  <a:lnTo>
                    <a:pt x="549275" y="990600"/>
                  </a:lnTo>
                  <a:lnTo>
                    <a:pt x="546100" y="987425"/>
                  </a:lnTo>
                  <a:lnTo>
                    <a:pt x="542925" y="981075"/>
                  </a:lnTo>
                  <a:lnTo>
                    <a:pt x="533400" y="987425"/>
                  </a:lnTo>
                  <a:lnTo>
                    <a:pt x="523875" y="984250"/>
                  </a:lnTo>
                  <a:lnTo>
                    <a:pt x="517525" y="965200"/>
                  </a:lnTo>
                  <a:lnTo>
                    <a:pt x="530225" y="939800"/>
                  </a:lnTo>
                  <a:lnTo>
                    <a:pt x="536575" y="942975"/>
                  </a:lnTo>
                  <a:lnTo>
                    <a:pt x="539750" y="942975"/>
                  </a:lnTo>
                  <a:lnTo>
                    <a:pt x="542925" y="930275"/>
                  </a:lnTo>
                  <a:lnTo>
                    <a:pt x="546100" y="917575"/>
                  </a:lnTo>
                  <a:lnTo>
                    <a:pt x="539750" y="904875"/>
                  </a:lnTo>
                  <a:lnTo>
                    <a:pt x="539750" y="895350"/>
                  </a:lnTo>
                  <a:lnTo>
                    <a:pt x="549275" y="889000"/>
                  </a:lnTo>
                  <a:lnTo>
                    <a:pt x="555625" y="882650"/>
                  </a:lnTo>
                  <a:lnTo>
                    <a:pt x="555625" y="869950"/>
                  </a:lnTo>
                  <a:lnTo>
                    <a:pt x="565150" y="860425"/>
                  </a:lnTo>
                  <a:close/>
                  <a:moveTo>
                    <a:pt x="930275" y="838200"/>
                  </a:moveTo>
                  <a:lnTo>
                    <a:pt x="942975" y="838200"/>
                  </a:lnTo>
                  <a:lnTo>
                    <a:pt x="955675" y="854075"/>
                  </a:lnTo>
                  <a:lnTo>
                    <a:pt x="952500" y="863600"/>
                  </a:lnTo>
                  <a:lnTo>
                    <a:pt x="936625" y="869950"/>
                  </a:lnTo>
                  <a:lnTo>
                    <a:pt x="917575" y="873125"/>
                  </a:lnTo>
                  <a:lnTo>
                    <a:pt x="920750" y="844550"/>
                  </a:lnTo>
                  <a:close/>
                  <a:moveTo>
                    <a:pt x="2152650" y="825501"/>
                  </a:moveTo>
                  <a:lnTo>
                    <a:pt x="2178050" y="838201"/>
                  </a:lnTo>
                  <a:lnTo>
                    <a:pt x="2193925" y="854076"/>
                  </a:lnTo>
                  <a:lnTo>
                    <a:pt x="2190750" y="866776"/>
                  </a:lnTo>
                  <a:lnTo>
                    <a:pt x="2162175" y="885826"/>
                  </a:lnTo>
                  <a:lnTo>
                    <a:pt x="2149475" y="895351"/>
                  </a:lnTo>
                  <a:lnTo>
                    <a:pt x="2139950" y="908051"/>
                  </a:lnTo>
                  <a:lnTo>
                    <a:pt x="2133600" y="901701"/>
                  </a:lnTo>
                  <a:lnTo>
                    <a:pt x="2136775" y="863601"/>
                  </a:lnTo>
                  <a:lnTo>
                    <a:pt x="2139950" y="841376"/>
                  </a:lnTo>
                  <a:lnTo>
                    <a:pt x="2143125" y="831851"/>
                  </a:lnTo>
                  <a:close/>
                  <a:moveTo>
                    <a:pt x="2092325" y="809626"/>
                  </a:moveTo>
                  <a:lnTo>
                    <a:pt x="2105025" y="815976"/>
                  </a:lnTo>
                  <a:lnTo>
                    <a:pt x="2114550" y="825501"/>
                  </a:lnTo>
                  <a:lnTo>
                    <a:pt x="2127250" y="828676"/>
                  </a:lnTo>
                  <a:lnTo>
                    <a:pt x="2136775" y="831851"/>
                  </a:lnTo>
                  <a:lnTo>
                    <a:pt x="2133600" y="873126"/>
                  </a:lnTo>
                  <a:lnTo>
                    <a:pt x="2130425" y="908051"/>
                  </a:lnTo>
                  <a:lnTo>
                    <a:pt x="2133600" y="914401"/>
                  </a:lnTo>
                  <a:lnTo>
                    <a:pt x="2130425" y="917576"/>
                  </a:lnTo>
                  <a:lnTo>
                    <a:pt x="2124075" y="917576"/>
                  </a:lnTo>
                  <a:lnTo>
                    <a:pt x="2111375" y="908051"/>
                  </a:lnTo>
                  <a:lnTo>
                    <a:pt x="2108200" y="901701"/>
                  </a:lnTo>
                  <a:lnTo>
                    <a:pt x="2101850" y="898526"/>
                  </a:lnTo>
                  <a:lnTo>
                    <a:pt x="2076450" y="882651"/>
                  </a:lnTo>
                  <a:lnTo>
                    <a:pt x="2066925" y="876301"/>
                  </a:lnTo>
                  <a:lnTo>
                    <a:pt x="2073275" y="857251"/>
                  </a:lnTo>
                  <a:lnTo>
                    <a:pt x="2066925" y="838201"/>
                  </a:lnTo>
                  <a:lnTo>
                    <a:pt x="2073275" y="815976"/>
                  </a:lnTo>
                  <a:lnTo>
                    <a:pt x="2082800" y="812801"/>
                  </a:lnTo>
                  <a:close/>
                  <a:moveTo>
                    <a:pt x="2470150" y="806451"/>
                  </a:moveTo>
                  <a:lnTo>
                    <a:pt x="2498725" y="828676"/>
                  </a:lnTo>
                  <a:lnTo>
                    <a:pt x="2508250" y="847726"/>
                  </a:lnTo>
                  <a:lnTo>
                    <a:pt x="2501900" y="860426"/>
                  </a:lnTo>
                  <a:lnTo>
                    <a:pt x="2498725" y="860426"/>
                  </a:lnTo>
                  <a:lnTo>
                    <a:pt x="2466975" y="854076"/>
                  </a:lnTo>
                  <a:lnTo>
                    <a:pt x="2454275" y="847726"/>
                  </a:lnTo>
                  <a:lnTo>
                    <a:pt x="2441575" y="838201"/>
                  </a:lnTo>
                  <a:lnTo>
                    <a:pt x="2457450" y="809626"/>
                  </a:lnTo>
                  <a:close/>
                  <a:moveTo>
                    <a:pt x="2444750" y="777876"/>
                  </a:moveTo>
                  <a:lnTo>
                    <a:pt x="2454275" y="796926"/>
                  </a:lnTo>
                  <a:lnTo>
                    <a:pt x="2447925" y="803276"/>
                  </a:lnTo>
                  <a:lnTo>
                    <a:pt x="2441575" y="806451"/>
                  </a:lnTo>
                  <a:lnTo>
                    <a:pt x="2432050" y="787401"/>
                  </a:lnTo>
                  <a:close/>
                  <a:moveTo>
                    <a:pt x="1828800" y="755650"/>
                  </a:moveTo>
                  <a:lnTo>
                    <a:pt x="1841500" y="758825"/>
                  </a:lnTo>
                  <a:lnTo>
                    <a:pt x="1854200" y="762000"/>
                  </a:lnTo>
                  <a:lnTo>
                    <a:pt x="1857375" y="765175"/>
                  </a:lnTo>
                  <a:lnTo>
                    <a:pt x="1854200" y="774700"/>
                  </a:lnTo>
                  <a:lnTo>
                    <a:pt x="1844675" y="793750"/>
                  </a:lnTo>
                  <a:lnTo>
                    <a:pt x="1819275" y="781050"/>
                  </a:lnTo>
                  <a:lnTo>
                    <a:pt x="1816100" y="771525"/>
                  </a:lnTo>
                  <a:close/>
                  <a:moveTo>
                    <a:pt x="1181100" y="678815"/>
                  </a:moveTo>
                  <a:lnTo>
                    <a:pt x="1181100" y="698500"/>
                  </a:lnTo>
                  <a:lnTo>
                    <a:pt x="1177925" y="704850"/>
                  </a:lnTo>
                  <a:lnTo>
                    <a:pt x="1168400" y="688975"/>
                  </a:lnTo>
                  <a:close/>
                  <a:moveTo>
                    <a:pt x="1181100" y="676275"/>
                  </a:moveTo>
                  <a:lnTo>
                    <a:pt x="1184275" y="676275"/>
                  </a:lnTo>
                  <a:lnTo>
                    <a:pt x="1181100" y="678815"/>
                  </a:lnTo>
                  <a:close/>
                  <a:moveTo>
                    <a:pt x="2571750" y="669926"/>
                  </a:moveTo>
                  <a:lnTo>
                    <a:pt x="2581275" y="688976"/>
                  </a:lnTo>
                  <a:lnTo>
                    <a:pt x="2584450" y="688976"/>
                  </a:lnTo>
                  <a:lnTo>
                    <a:pt x="2606675" y="685801"/>
                  </a:lnTo>
                  <a:lnTo>
                    <a:pt x="2613025" y="695326"/>
                  </a:lnTo>
                  <a:lnTo>
                    <a:pt x="2622550" y="701676"/>
                  </a:lnTo>
                  <a:lnTo>
                    <a:pt x="2632075" y="695326"/>
                  </a:lnTo>
                  <a:lnTo>
                    <a:pt x="2638425" y="698501"/>
                  </a:lnTo>
                  <a:lnTo>
                    <a:pt x="2660650" y="708026"/>
                  </a:lnTo>
                  <a:lnTo>
                    <a:pt x="2654300" y="730251"/>
                  </a:lnTo>
                  <a:lnTo>
                    <a:pt x="2603500" y="733426"/>
                  </a:lnTo>
                  <a:lnTo>
                    <a:pt x="2568575" y="704851"/>
                  </a:lnTo>
                  <a:lnTo>
                    <a:pt x="2562225" y="698501"/>
                  </a:lnTo>
                  <a:close/>
                  <a:moveTo>
                    <a:pt x="2336800" y="650876"/>
                  </a:moveTo>
                  <a:lnTo>
                    <a:pt x="2343150" y="654051"/>
                  </a:lnTo>
                  <a:lnTo>
                    <a:pt x="2346325" y="666751"/>
                  </a:lnTo>
                  <a:lnTo>
                    <a:pt x="2333625" y="688976"/>
                  </a:lnTo>
                  <a:close/>
                  <a:moveTo>
                    <a:pt x="2400300" y="615951"/>
                  </a:moveTo>
                  <a:lnTo>
                    <a:pt x="2409825" y="615951"/>
                  </a:lnTo>
                  <a:lnTo>
                    <a:pt x="2432050" y="654051"/>
                  </a:lnTo>
                  <a:lnTo>
                    <a:pt x="2454275" y="663576"/>
                  </a:lnTo>
                  <a:lnTo>
                    <a:pt x="2451100" y="641351"/>
                  </a:lnTo>
                  <a:lnTo>
                    <a:pt x="2454275" y="625476"/>
                  </a:lnTo>
                  <a:lnTo>
                    <a:pt x="2463800" y="619126"/>
                  </a:lnTo>
                  <a:lnTo>
                    <a:pt x="2473325" y="628651"/>
                  </a:lnTo>
                  <a:lnTo>
                    <a:pt x="2482850" y="638176"/>
                  </a:lnTo>
                  <a:lnTo>
                    <a:pt x="2486025" y="644526"/>
                  </a:lnTo>
                  <a:lnTo>
                    <a:pt x="2505075" y="647701"/>
                  </a:lnTo>
                  <a:lnTo>
                    <a:pt x="2514600" y="647701"/>
                  </a:lnTo>
                  <a:lnTo>
                    <a:pt x="2543175" y="676276"/>
                  </a:lnTo>
                  <a:lnTo>
                    <a:pt x="2533650" y="704851"/>
                  </a:lnTo>
                  <a:lnTo>
                    <a:pt x="2520950" y="717551"/>
                  </a:lnTo>
                  <a:lnTo>
                    <a:pt x="2511425" y="723901"/>
                  </a:lnTo>
                  <a:lnTo>
                    <a:pt x="2489200" y="733426"/>
                  </a:lnTo>
                  <a:lnTo>
                    <a:pt x="2479675" y="733426"/>
                  </a:lnTo>
                  <a:lnTo>
                    <a:pt x="2473325" y="727076"/>
                  </a:lnTo>
                  <a:lnTo>
                    <a:pt x="2476500" y="723901"/>
                  </a:lnTo>
                  <a:lnTo>
                    <a:pt x="2428875" y="736601"/>
                  </a:lnTo>
                  <a:lnTo>
                    <a:pt x="2432050" y="733426"/>
                  </a:lnTo>
                  <a:lnTo>
                    <a:pt x="2422525" y="730251"/>
                  </a:lnTo>
                  <a:lnTo>
                    <a:pt x="2390775" y="739776"/>
                  </a:lnTo>
                  <a:lnTo>
                    <a:pt x="2378075" y="720726"/>
                  </a:lnTo>
                  <a:lnTo>
                    <a:pt x="2362200" y="688976"/>
                  </a:lnTo>
                  <a:lnTo>
                    <a:pt x="2371725" y="692151"/>
                  </a:lnTo>
                  <a:lnTo>
                    <a:pt x="2368550" y="663576"/>
                  </a:lnTo>
                  <a:lnTo>
                    <a:pt x="2368550" y="654051"/>
                  </a:lnTo>
                  <a:lnTo>
                    <a:pt x="2374900" y="638176"/>
                  </a:lnTo>
                  <a:lnTo>
                    <a:pt x="2387600" y="625476"/>
                  </a:lnTo>
                  <a:close/>
                  <a:moveTo>
                    <a:pt x="1482725" y="600075"/>
                  </a:moveTo>
                  <a:lnTo>
                    <a:pt x="1495425" y="606425"/>
                  </a:lnTo>
                  <a:lnTo>
                    <a:pt x="1479550" y="615950"/>
                  </a:lnTo>
                  <a:lnTo>
                    <a:pt x="1466850" y="609600"/>
                  </a:lnTo>
                  <a:lnTo>
                    <a:pt x="1470025" y="603250"/>
                  </a:lnTo>
                  <a:close/>
                  <a:moveTo>
                    <a:pt x="869950" y="539750"/>
                  </a:moveTo>
                  <a:lnTo>
                    <a:pt x="885825" y="542925"/>
                  </a:lnTo>
                  <a:lnTo>
                    <a:pt x="898525" y="561975"/>
                  </a:lnTo>
                  <a:lnTo>
                    <a:pt x="895350" y="587375"/>
                  </a:lnTo>
                  <a:lnTo>
                    <a:pt x="889000" y="593725"/>
                  </a:lnTo>
                  <a:lnTo>
                    <a:pt x="876300" y="612775"/>
                  </a:lnTo>
                  <a:lnTo>
                    <a:pt x="847725" y="628650"/>
                  </a:lnTo>
                  <a:lnTo>
                    <a:pt x="828675" y="641350"/>
                  </a:lnTo>
                  <a:lnTo>
                    <a:pt x="771525" y="669925"/>
                  </a:lnTo>
                  <a:lnTo>
                    <a:pt x="717550" y="723900"/>
                  </a:lnTo>
                  <a:lnTo>
                    <a:pt x="720725" y="727075"/>
                  </a:lnTo>
                  <a:lnTo>
                    <a:pt x="688975" y="762000"/>
                  </a:lnTo>
                  <a:lnTo>
                    <a:pt x="676275" y="774700"/>
                  </a:lnTo>
                  <a:lnTo>
                    <a:pt x="666750" y="800100"/>
                  </a:lnTo>
                  <a:lnTo>
                    <a:pt x="644525" y="844550"/>
                  </a:lnTo>
                  <a:lnTo>
                    <a:pt x="631825" y="857250"/>
                  </a:lnTo>
                  <a:lnTo>
                    <a:pt x="600075" y="838200"/>
                  </a:lnTo>
                  <a:lnTo>
                    <a:pt x="581025" y="844550"/>
                  </a:lnTo>
                  <a:lnTo>
                    <a:pt x="571500" y="838200"/>
                  </a:lnTo>
                  <a:lnTo>
                    <a:pt x="568325" y="819150"/>
                  </a:lnTo>
                  <a:lnTo>
                    <a:pt x="568325" y="812800"/>
                  </a:lnTo>
                  <a:lnTo>
                    <a:pt x="584200" y="803275"/>
                  </a:lnTo>
                  <a:lnTo>
                    <a:pt x="600075" y="790575"/>
                  </a:lnTo>
                  <a:lnTo>
                    <a:pt x="612775" y="793750"/>
                  </a:lnTo>
                  <a:lnTo>
                    <a:pt x="615950" y="784225"/>
                  </a:lnTo>
                  <a:lnTo>
                    <a:pt x="615950" y="758825"/>
                  </a:lnTo>
                  <a:lnTo>
                    <a:pt x="609600" y="755650"/>
                  </a:lnTo>
                  <a:lnTo>
                    <a:pt x="609600" y="746125"/>
                  </a:lnTo>
                  <a:lnTo>
                    <a:pt x="615950" y="733425"/>
                  </a:lnTo>
                  <a:lnTo>
                    <a:pt x="612775" y="717550"/>
                  </a:lnTo>
                  <a:lnTo>
                    <a:pt x="619125" y="701675"/>
                  </a:lnTo>
                  <a:lnTo>
                    <a:pt x="625475" y="704850"/>
                  </a:lnTo>
                  <a:lnTo>
                    <a:pt x="628650" y="698500"/>
                  </a:lnTo>
                  <a:lnTo>
                    <a:pt x="660400" y="669925"/>
                  </a:lnTo>
                  <a:lnTo>
                    <a:pt x="666750" y="660400"/>
                  </a:lnTo>
                  <a:lnTo>
                    <a:pt x="673100" y="654050"/>
                  </a:lnTo>
                  <a:lnTo>
                    <a:pt x="685800" y="644525"/>
                  </a:lnTo>
                  <a:lnTo>
                    <a:pt x="698500" y="638175"/>
                  </a:lnTo>
                  <a:lnTo>
                    <a:pt x="739775" y="606425"/>
                  </a:lnTo>
                  <a:lnTo>
                    <a:pt x="755650" y="612775"/>
                  </a:lnTo>
                  <a:lnTo>
                    <a:pt x="793750" y="600075"/>
                  </a:lnTo>
                  <a:lnTo>
                    <a:pt x="822325" y="581025"/>
                  </a:lnTo>
                  <a:lnTo>
                    <a:pt x="831850" y="565150"/>
                  </a:lnTo>
                  <a:lnTo>
                    <a:pt x="844550" y="552450"/>
                  </a:lnTo>
                  <a:close/>
                  <a:moveTo>
                    <a:pt x="1492250" y="520700"/>
                  </a:moveTo>
                  <a:lnTo>
                    <a:pt x="1495425" y="527050"/>
                  </a:lnTo>
                  <a:lnTo>
                    <a:pt x="1479550" y="542925"/>
                  </a:lnTo>
                  <a:lnTo>
                    <a:pt x="1463675" y="542925"/>
                  </a:lnTo>
                  <a:lnTo>
                    <a:pt x="1476375" y="533400"/>
                  </a:lnTo>
                  <a:close/>
                  <a:moveTo>
                    <a:pt x="1727200" y="508000"/>
                  </a:moveTo>
                  <a:lnTo>
                    <a:pt x="1733550" y="508000"/>
                  </a:lnTo>
                  <a:lnTo>
                    <a:pt x="1733550" y="514350"/>
                  </a:lnTo>
                  <a:lnTo>
                    <a:pt x="1730375" y="517525"/>
                  </a:lnTo>
                  <a:lnTo>
                    <a:pt x="1724025" y="517525"/>
                  </a:lnTo>
                  <a:close/>
                  <a:moveTo>
                    <a:pt x="1660525" y="469900"/>
                  </a:moveTo>
                  <a:lnTo>
                    <a:pt x="1685925" y="485775"/>
                  </a:lnTo>
                  <a:lnTo>
                    <a:pt x="1704975" y="504825"/>
                  </a:lnTo>
                  <a:lnTo>
                    <a:pt x="1711325" y="536575"/>
                  </a:lnTo>
                  <a:lnTo>
                    <a:pt x="1727200" y="546100"/>
                  </a:lnTo>
                  <a:lnTo>
                    <a:pt x="1714500" y="571500"/>
                  </a:lnTo>
                  <a:lnTo>
                    <a:pt x="1708150" y="581025"/>
                  </a:lnTo>
                  <a:lnTo>
                    <a:pt x="1704975" y="577850"/>
                  </a:lnTo>
                  <a:lnTo>
                    <a:pt x="1704975" y="587375"/>
                  </a:lnTo>
                  <a:lnTo>
                    <a:pt x="1711325" y="587375"/>
                  </a:lnTo>
                  <a:lnTo>
                    <a:pt x="1727200" y="587375"/>
                  </a:lnTo>
                  <a:lnTo>
                    <a:pt x="1739900" y="581025"/>
                  </a:lnTo>
                  <a:lnTo>
                    <a:pt x="1743075" y="571500"/>
                  </a:lnTo>
                  <a:lnTo>
                    <a:pt x="1752600" y="568325"/>
                  </a:lnTo>
                  <a:lnTo>
                    <a:pt x="1778000" y="565150"/>
                  </a:lnTo>
                  <a:lnTo>
                    <a:pt x="1806575" y="565150"/>
                  </a:lnTo>
                  <a:lnTo>
                    <a:pt x="1819275" y="571500"/>
                  </a:lnTo>
                  <a:lnTo>
                    <a:pt x="1831975" y="590550"/>
                  </a:lnTo>
                  <a:lnTo>
                    <a:pt x="1831975" y="593725"/>
                  </a:lnTo>
                  <a:lnTo>
                    <a:pt x="1841500" y="600075"/>
                  </a:lnTo>
                  <a:lnTo>
                    <a:pt x="1854200" y="609600"/>
                  </a:lnTo>
                  <a:lnTo>
                    <a:pt x="1857375" y="619125"/>
                  </a:lnTo>
                  <a:lnTo>
                    <a:pt x="1857375" y="625475"/>
                  </a:lnTo>
                  <a:lnTo>
                    <a:pt x="1860550" y="631825"/>
                  </a:lnTo>
                  <a:lnTo>
                    <a:pt x="1860550" y="641350"/>
                  </a:lnTo>
                  <a:lnTo>
                    <a:pt x="1866900" y="638175"/>
                  </a:lnTo>
                  <a:lnTo>
                    <a:pt x="1863725" y="663575"/>
                  </a:lnTo>
                  <a:lnTo>
                    <a:pt x="1860550" y="682625"/>
                  </a:lnTo>
                  <a:lnTo>
                    <a:pt x="1860550" y="695325"/>
                  </a:lnTo>
                  <a:lnTo>
                    <a:pt x="1854200" y="708025"/>
                  </a:lnTo>
                  <a:lnTo>
                    <a:pt x="1844675" y="720725"/>
                  </a:lnTo>
                  <a:lnTo>
                    <a:pt x="1838325" y="727075"/>
                  </a:lnTo>
                  <a:lnTo>
                    <a:pt x="1828800" y="736600"/>
                  </a:lnTo>
                  <a:lnTo>
                    <a:pt x="1797050" y="762000"/>
                  </a:lnTo>
                  <a:lnTo>
                    <a:pt x="1784350" y="777875"/>
                  </a:lnTo>
                  <a:lnTo>
                    <a:pt x="1781175" y="784225"/>
                  </a:lnTo>
                  <a:lnTo>
                    <a:pt x="1781175" y="787400"/>
                  </a:lnTo>
                  <a:lnTo>
                    <a:pt x="1771650" y="793750"/>
                  </a:lnTo>
                  <a:lnTo>
                    <a:pt x="1762125" y="800100"/>
                  </a:lnTo>
                  <a:lnTo>
                    <a:pt x="1755775" y="809625"/>
                  </a:lnTo>
                  <a:lnTo>
                    <a:pt x="1752600" y="819150"/>
                  </a:lnTo>
                  <a:lnTo>
                    <a:pt x="1724025" y="828675"/>
                  </a:lnTo>
                  <a:lnTo>
                    <a:pt x="1720850" y="835025"/>
                  </a:lnTo>
                  <a:lnTo>
                    <a:pt x="1714500" y="850900"/>
                  </a:lnTo>
                  <a:lnTo>
                    <a:pt x="1720850" y="863600"/>
                  </a:lnTo>
                  <a:lnTo>
                    <a:pt x="1749425" y="857250"/>
                  </a:lnTo>
                  <a:lnTo>
                    <a:pt x="1778000" y="841375"/>
                  </a:lnTo>
                  <a:lnTo>
                    <a:pt x="1790700" y="835025"/>
                  </a:lnTo>
                  <a:lnTo>
                    <a:pt x="1800225" y="828675"/>
                  </a:lnTo>
                  <a:lnTo>
                    <a:pt x="1803400" y="822325"/>
                  </a:lnTo>
                  <a:lnTo>
                    <a:pt x="1797050" y="819150"/>
                  </a:lnTo>
                  <a:lnTo>
                    <a:pt x="1784350" y="825500"/>
                  </a:lnTo>
                  <a:lnTo>
                    <a:pt x="1774825" y="819150"/>
                  </a:lnTo>
                  <a:lnTo>
                    <a:pt x="1781175" y="803275"/>
                  </a:lnTo>
                  <a:lnTo>
                    <a:pt x="1790700" y="800100"/>
                  </a:lnTo>
                  <a:lnTo>
                    <a:pt x="1806575" y="800100"/>
                  </a:lnTo>
                  <a:lnTo>
                    <a:pt x="1809750" y="806450"/>
                  </a:lnTo>
                  <a:lnTo>
                    <a:pt x="1816100" y="815975"/>
                  </a:lnTo>
                  <a:lnTo>
                    <a:pt x="1828800" y="822325"/>
                  </a:lnTo>
                  <a:lnTo>
                    <a:pt x="1841500" y="822325"/>
                  </a:lnTo>
                  <a:lnTo>
                    <a:pt x="1847850" y="815975"/>
                  </a:lnTo>
                  <a:lnTo>
                    <a:pt x="1847850" y="803275"/>
                  </a:lnTo>
                  <a:lnTo>
                    <a:pt x="1854200" y="819150"/>
                  </a:lnTo>
                  <a:lnTo>
                    <a:pt x="1857375" y="841375"/>
                  </a:lnTo>
                  <a:lnTo>
                    <a:pt x="1857375" y="838200"/>
                  </a:lnTo>
                  <a:lnTo>
                    <a:pt x="1870075" y="831850"/>
                  </a:lnTo>
                  <a:lnTo>
                    <a:pt x="1895475" y="822325"/>
                  </a:lnTo>
                  <a:lnTo>
                    <a:pt x="1924050" y="825500"/>
                  </a:lnTo>
                  <a:lnTo>
                    <a:pt x="1952625" y="831850"/>
                  </a:lnTo>
                  <a:lnTo>
                    <a:pt x="1965325" y="841375"/>
                  </a:lnTo>
                  <a:lnTo>
                    <a:pt x="1965325" y="860425"/>
                  </a:lnTo>
                  <a:lnTo>
                    <a:pt x="1971675" y="863600"/>
                  </a:lnTo>
                  <a:lnTo>
                    <a:pt x="1993900" y="879475"/>
                  </a:lnTo>
                  <a:lnTo>
                    <a:pt x="2003425" y="876300"/>
                  </a:lnTo>
                  <a:lnTo>
                    <a:pt x="2032000" y="879475"/>
                  </a:lnTo>
                  <a:lnTo>
                    <a:pt x="2063750" y="892175"/>
                  </a:lnTo>
                  <a:lnTo>
                    <a:pt x="2073275" y="895350"/>
                  </a:lnTo>
                  <a:lnTo>
                    <a:pt x="2082800" y="895350"/>
                  </a:lnTo>
                  <a:lnTo>
                    <a:pt x="2101850" y="901700"/>
                  </a:lnTo>
                  <a:lnTo>
                    <a:pt x="2111375" y="911225"/>
                  </a:lnTo>
                  <a:lnTo>
                    <a:pt x="2114550" y="917575"/>
                  </a:lnTo>
                  <a:lnTo>
                    <a:pt x="2120900" y="923925"/>
                  </a:lnTo>
                  <a:lnTo>
                    <a:pt x="2130425" y="930275"/>
                  </a:lnTo>
                  <a:lnTo>
                    <a:pt x="2139950" y="927100"/>
                  </a:lnTo>
                  <a:lnTo>
                    <a:pt x="2146300" y="923925"/>
                  </a:lnTo>
                  <a:lnTo>
                    <a:pt x="2149475" y="920750"/>
                  </a:lnTo>
                  <a:lnTo>
                    <a:pt x="2155825" y="920750"/>
                  </a:lnTo>
                  <a:lnTo>
                    <a:pt x="2165350" y="923925"/>
                  </a:lnTo>
                  <a:lnTo>
                    <a:pt x="2193925" y="965200"/>
                  </a:lnTo>
                  <a:lnTo>
                    <a:pt x="2203450" y="990600"/>
                  </a:lnTo>
                  <a:lnTo>
                    <a:pt x="2216150" y="1009650"/>
                  </a:lnTo>
                  <a:lnTo>
                    <a:pt x="2222500" y="1019175"/>
                  </a:lnTo>
                  <a:lnTo>
                    <a:pt x="2228850" y="1025525"/>
                  </a:lnTo>
                  <a:lnTo>
                    <a:pt x="2241550" y="1031875"/>
                  </a:lnTo>
                  <a:lnTo>
                    <a:pt x="2257425" y="990600"/>
                  </a:lnTo>
                  <a:lnTo>
                    <a:pt x="2266950" y="962025"/>
                  </a:lnTo>
                  <a:lnTo>
                    <a:pt x="2276475" y="958850"/>
                  </a:lnTo>
                  <a:lnTo>
                    <a:pt x="2273300" y="965200"/>
                  </a:lnTo>
                  <a:lnTo>
                    <a:pt x="2279650" y="974725"/>
                  </a:lnTo>
                  <a:lnTo>
                    <a:pt x="2292350" y="984250"/>
                  </a:lnTo>
                  <a:lnTo>
                    <a:pt x="2305050" y="990600"/>
                  </a:lnTo>
                  <a:lnTo>
                    <a:pt x="2317750" y="987425"/>
                  </a:lnTo>
                  <a:lnTo>
                    <a:pt x="2339975" y="974725"/>
                  </a:lnTo>
                  <a:lnTo>
                    <a:pt x="2355850" y="981075"/>
                  </a:lnTo>
                  <a:lnTo>
                    <a:pt x="2365375" y="987425"/>
                  </a:lnTo>
                  <a:lnTo>
                    <a:pt x="2374900" y="990600"/>
                  </a:lnTo>
                  <a:lnTo>
                    <a:pt x="2384425" y="1009650"/>
                  </a:lnTo>
                  <a:lnTo>
                    <a:pt x="2397125" y="993775"/>
                  </a:lnTo>
                  <a:lnTo>
                    <a:pt x="2390775" y="993775"/>
                  </a:lnTo>
                  <a:lnTo>
                    <a:pt x="2384425" y="990600"/>
                  </a:lnTo>
                  <a:lnTo>
                    <a:pt x="2390775" y="977900"/>
                  </a:lnTo>
                  <a:lnTo>
                    <a:pt x="2393950" y="974725"/>
                  </a:lnTo>
                  <a:lnTo>
                    <a:pt x="2406650" y="974725"/>
                  </a:lnTo>
                  <a:lnTo>
                    <a:pt x="2409825" y="981075"/>
                  </a:lnTo>
                  <a:lnTo>
                    <a:pt x="2416175" y="987425"/>
                  </a:lnTo>
                  <a:lnTo>
                    <a:pt x="2428875" y="977900"/>
                  </a:lnTo>
                  <a:lnTo>
                    <a:pt x="2425700" y="939800"/>
                  </a:lnTo>
                  <a:lnTo>
                    <a:pt x="2425700" y="933450"/>
                  </a:lnTo>
                  <a:lnTo>
                    <a:pt x="2420938" y="935831"/>
                  </a:lnTo>
                  <a:lnTo>
                    <a:pt x="2416175" y="933450"/>
                  </a:lnTo>
                  <a:lnTo>
                    <a:pt x="2416175" y="939800"/>
                  </a:lnTo>
                  <a:lnTo>
                    <a:pt x="2413000" y="933450"/>
                  </a:lnTo>
                  <a:lnTo>
                    <a:pt x="2419350" y="914400"/>
                  </a:lnTo>
                  <a:lnTo>
                    <a:pt x="2438400" y="914400"/>
                  </a:lnTo>
                  <a:lnTo>
                    <a:pt x="2447925" y="911225"/>
                  </a:lnTo>
                  <a:lnTo>
                    <a:pt x="2454275" y="908050"/>
                  </a:lnTo>
                  <a:lnTo>
                    <a:pt x="2451100" y="898525"/>
                  </a:lnTo>
                  <a:lnTo>
                    <a:pt x="2444750" y="885825"/>
                  </a:lnTo>
                  <a:lnTo>
                    <a:pt x="2451100" y="885825"/>
                  </a:lnTo>
                  <a:lnTo>
                    <a:pt x="2460625" y="889000"/>
                  </a:lnTo>
                  <a:lnTo>
                    <a:pt x="2473325" y="895350"/>
                  </a:lnTo>
                  <a:lnTo>
                    <a:pt x="2498725" y="898525"/>
                  </a:lnTo>
                  <a:lnTo>
                    <a:pt x="2527300" y="904875"/>
                  </a:lnTo>
                  <a:lnTo>
                    <a:pt x="2552700" y="911225"/>
                  </a:lnTo>
                  <a:lnTo>
                    <a:pt x="2578100" y="920750"/>
                  </a:lnTo>
                  <a:lnTo>
                    <a:pt x="2587625" y="923925"/>
                  </a:lnTo>
                  <a:lnTo>
                    <a:pt x="2613025" y="927100"/>
                  </a:lnTo>
                  <a:lnTo>
                    <a:pt x="2638425" y="936625"/>
                  </a:lnTo>
                  <a:lnTo>
                    <a:pt x="2647950" y="952500"/>
                  </a:lnTo>
                  <a:lnTo>
                    <a:pt x="2641600" y="965200"/>
                  </a:lnTo>
                  <a:lnTo>
                    <a:pt x="2632075" y="955675"/>
                  </a:lnTo>
                  <a:lnTo>
                    <a:pt x="2625725" y="965200"/>
                  </a:lnTo>
                  <a:lnTo>
                    <a:pt x="2622550" y="971550"/>
                  </a:lnTo>
                  <a:lnTo>
                    <a:pt x="2635250" y="971550"/>
                  </a:lnTo>
                  <a:lnTo>
                    <a:pt x="2644775" y="984250"/>
                  </a:lnTo>
                  <a:lnTo>
                    <a:pt x="2651125" y="981075"/>
                  </a:lnTo>
                  <a:lnTo>
                    <a:pt x="2660650" y="981075"/>
                  </a:lnTo>
                  <a:lnTo>
                    <a:pt x="2660650" y="996950"/>
                  </a:lnTo>
                  <a:lnTo>
                    <a:pt x="2682875" y="996950"/>
                  </a:lnTo>
                  <a:lnTo>
                    <a:pt x="2686050" y="1003300"/>
                  </a:lnTo>
                  <a:lnTo>
                    <a:pt x="2705100" y="1028700"/>
                  </a:lnTo>
                  <a:lnTo>
                    <a:pt x="2717800" y="1025525"/>
                  </a:lnTo>
                  <a:lnTo>
                    <a:pt x="2743200" y="1016000"/>
                  </a:lnTo>
                  <a:lnTo>
                    <a:pt x="2797175" y="1009650"/>
                  </a:lnTo>
                  <a:lnTo>
                    <a:pt x="2822575" y="1012825"/>
                  </a:lnTo>
                  <a:lnTo>
                    <a:pt x="2847975" y="1028700"/>
                  </a:lnTo>
                  <a:lnTo>
                    <a:pt x="2857500" y="1044575"/>
                  </a:lnTo>
                  <a:lnTo>
                    <a:pt x="2863850" y="1066800"/>
                  </a:lnTo>
                  <a:lnTo>
                    <a:pt x="2857500" y="1073150"/>
                  </a:lnTo>
                  <a:lnTo>
                    <a:pt x="2857500" y="1085850"/>
                  </a:lnTo>
                  <a:lnTo>
                    <a:pt x="2867025" y="1098550"/>
                  </a:lnTo>
                  <a:lnTo>
                    <a:pt x="2870200" y="1101725"/>
                  </a:lnTo>
                  <a:lnTo>
                    <a:pt x="2876550" y="1101725"/>
                  </a:lnTo>
                  <a:lnTo>
                    <a:pt x="2895600" y="1117600"/>
                  </a:lnTo>
                  <a:lnTo>
                    <a:pt x="2917825" y="1101725"/>
                  </a:lnTo>
                  <a:lnTo>
                    <a:pt x="2946400" y="1098550"/>
                  </a:lnTo>
                  <a:lnTo>
                    <a:pt x="2952750" y="1101725"/>
                  </a:lnTo>
                  <a:lnTo>
                    <a:pt x="2959100" y="1104900"/>
                  </a:lnTo>
                  <a:lnTo>
                    <a:pt x="2968625" y="1108075"/>
                  </a:lnTo>
                  <a:lnTo>
                    <a:pt x="2994025" y="1111250"/>
                  </a:lnTo>
                  <a:lnTo>
                    <a:pt x="3019425" y="1108075"/>
                  </a:lnTo>
                  <a:lnTo>
                    <a:pt x="3028950" y="1095375"/>
                  </a:lnTo>
                  <a:lnTo>
                    <a:pt x="3038475" y="1101725"/>
                  </a:lnTo>
                  <a:lnTo>
                    <a:pt x="3048000" y="1123950"/>
                  </a:lnTo>
                  <a:lnTo>
                    <a:pt x="3060700" y="1136650"/>
                  </a:lnTo>
                  <a:lnTo>
                    <a:pt x="3067050" y="1136650"/>
                  </a:lnTo>
                  <a:lnTo>
                    <a:pt x="3067050" y="1149350"/>
                  </a:lnTo>
                  <a:lnTo>
                    <a:pt x="3073400" y="1155700"/>
                  </a:lnTo>
                  <a:lnTo>
                    <a:pt x="3089275" y="1152525"/>
                  </a:lnTo>
                  <a:lnTo>
                    <a:pt x="3095625" y="1146175"/>
                  </a:lnTo>
                  <a:lnTo>
                    <a:pt x="3101975" y="1139825"/>
                  </a:lnTo>
                  <a:lnTo>
                    <a:pt x="3098800" y="1123950"/>
                  </a:lnTo>
                  <a:lnTo>
                    <a:pt x="3092450" y="1111250"/>
                  </a:lnTo>
                  <a:lnTo>
                    <a:pt x="3092450" y="1092200"/>
                  </a:lnTo>
                  <a:lnTo>
                    <a:pt x="3089275" y="1073150"/>
                  </a:lnTo>
                  <a:lnTo>
                    <a:pt x="3127375" y="1082675"/>
                  </a:lnTo>
                  <a:lnTo>
                    <a:pt x="3146425" y="1085850"/>
                  </a:lnTo>
                  <a:lnTo>
                    <a:pt x="3149600" y="1085850"/>
                  </a:lnTo>
                  <a:lnTo>
                    <a:pt x="3152775" y="1082675"/>
                  </a:lnTo>
                  <a:lnTo>
                    <a:pt x="3159125" y="1089025"/>
                  </a:lnTo>
                  <a:lnTo>
                    <a:pt x="3175000" y="1089025"/>
                  </a:lnTo>
                  <a:lnTo>
                    <a:pt x="3190875" y="1089025"/>
                  </a:lnTo>
                  <a:lnTo>
                    <a:pt x="3200400" y="1085850"/>
                  </a:lnTo>
                  <a:lnTo>
                    <a:pt x="3213100" y="1089025"/>
                  </a:lnTo>
                  <a:lnTo>
                    <a:pt x="3238500" y="1108075"/>
                  </a:lnTo>
                  <a:lnTo>
                    <a:pt x="3254375" y="1114425"/>
                  </a:lnTo>
                  <a:lnTo>
                    <a:pt x="3257550" y="1114425"/>
                  </a:lnTo>
                  <a:lnTo>
                    <a:pt x="3263900" y="1114425"/>
                  </a:lnTo>
                  <a:lnTo>
                    <a:pt x="3289300" y="1136650"/>
                  </a:lnTo>
                  <a:lnTo>
                    <a:pt x="3295650" y="1143000"/>
                  </a:lnTo>
                  <a:lnTo>
                    <a:pt x="3311525" y="1152525"/>
                  </a:lnTo>
                  <a:lnTo>
                    <a:pt x="3327400" y="1165225"/>
                  </a:lnTo>
                  <a:lnTo>
                    <a:pt x="3324225" y="1165225"/>
                  </a:lnTo>
                  <a:lnTo>
                    <a:pt x="3336925" y="1184275"/>
                  </a:lnTo>
                  <a:lnTo>
                    <a:pt x="3343275" y="1181100"/>
                  </a:lnTo>
                  <a:lnTo>
                    <a:pt x="3349625" y="1184275"/>
                  </a:lnTo>
                  <a:lnTo>
                    <a:pt x="3378200" y="1206500"/>
                  </a:lnTo>
                  <a:lnTo>
                    <a:pt x="3387725" y="1212850"/>
                  </a:lnTo>
                  <a:lnTo>
                    <a:pt x="3400425" y="1228725"/>
                  </a:lnTo>
                  <a:lnTo>
                    <a:pt x="3406775" y="1238250"/>
                  </a:lnTo>
                  <a:lnTo>
                    <a:pt x="3406775" y="1254125"/>
                  </a:lnTo>
                  <a:lnTo>
                    <a:pt x="3406775" y="1270000"/>
                  </a:lnTo>
                  <a:lnTo>
                    <a:pt x="3403600" y="1276350"/>
                  </a:lnTo>
                  <a:lnTo>
                    <a:pt x="3409950" y="1282700"/>
                  </a:lnTo>
                  <a:lnTo>
                    <a:pt x="3422650" y="1285875"/>
                  </a:lnTo>
                  <a:lnTo>
                    <a:pt x="3422650" y="1295400"/>
                  </a:lnTo>
                  <a:lnTo>
                    <a:pt x="3422650" y="1298575"/>
                  </a:lnTo>
                  <a:lnTo>
                    <a:pt x="3429000" y="1292225"/>
                  </a:lnTo>
                  <a:lnTo>
                    <a:pt x="3429000" y="1289050"/>
                  </a:lnTo>
                  <a:lnTo>
                    <a:pt x="3422650" y="1260475"/>
                  </a:lnTo>
                  <a:lnTo>
                    <a:pt x="3409950" y="1254125"/>
                  </a:lnTo>
                  <a:lnTo>
                    <a:pt x="3416300" y="1250950"/>
                  </a:lnTo>
                  <a:lnTo>
                    <a:pt x="3425825" y="1250950"/>
                  </a:lnTo>
                  <a:lnTo>
                    <a:pt x="3441700" y="1254125"/>
                  </a:lnTo>
                  <a:lnTo>
                    <a:pt x="3457575" y="1257300"/>
                  </a:lnTo>
                  <a:lnTo>
                    <a:pt x="3473450" y="1263650"/>
                  </a:lnTo>
                  <a:lnTo>
                    <a:pt x="3482975" y="1276350"/>
                  </a:lnTo>
                  <a:lnTo>
                    <a:pt x="3489325" y="1282700"/>
                  </a:lnTo>
                  <a:lnTo>
                    <a:pt x="3502025" y="1292225"/>
                  </a:lnTo>
                  <a:lnTo>
                    <a:pt x="3511550" y="1301750"/>
                  </a:lnTo>
                  <a:lnTo>
                    <a:pt x="3514725" y="1311275"/>
                  </a:lnTo>
                  <a:lnTo>
                    <a:pt x="3508375" y="1314450"/>
                  </a:lnTo>
                  <a:lnTo>
                    <a:pt x="3498850" y="1320800"/>
                  </a:lnTo>
                  <a:lnTo>
                    <a:pt x="3498850" y="1330325"/>
                  </a:lnTo>
                  <a:lnTo>
                    <a:pt x="3495675" y="1333500"/>
                  </a:lnTo>
                  <a:lnTo>
                    <a:pt x="3479800" y="1336675"/>
                  </a:lnTo>
                  <a:lnTo>
                    <a:pt x="3473450" y="1336675"/>
                  </a:lnTo>
                  <a:lnTo>
                    <a:pt x="3467100" y="1336675"/>
                  </a:lnTo>
                  <a:lnTo>
                    <a:pt x="3463925" y="1349375"/>
                  </a:lnTo>
                  <a:lnTo>
                    <a:pt x="3463925" y="1358900"/>
                  </a:lnTo>
                  <a:lnTo>
                    <a:pt x="3451225" y="1368425"/>
                  </a:lnTo>
                  <a:lnTo>
                    <a:pt x="3441700" y="1374775"/>
                  </a:lnTo>
                  <a:lnTo>
                    <a:pt x="3451225" y="1384300"/>
                  </a:lnTo>
                  <a:lnTo>
                    <a:pt x="3457575" y="1393825"/>
                  </a:lnTo>
                  <a:lnTo>
                    <a:pt x="3451225" y="1397000"/>
                  </a:lnTo>
                  <a:lnTo>
                    <a:pt x="3444875" y="1400175"/>
                  </a:lnTo>
                  <a:lnTo>
                    <a:pt x="3435350" y="1397000"/>
                  </a:lnTo>
                  <a:lnTo>
                    <a:pt x="3425825" y="1393825"/>
                  </a:lnTo>
                  <a:lnTo>
                    <a:pt x="3422650" y="1387475"/>
                  </a:lnTo>
                  <a:lnTo>
                    <a:pt x="3416300" y="1381125"/>
                  </a:lnTo>
                  <a:lnTo>
                    <a:pt x="3403600" y="1374775"/>
                  </a:lnTo>
                  <a:lnTo>
                    <a:pt x="3394075" y="1374775"/>
                  </a:lnTo>
                  <a:lnTo>
                    <a:pt x="3387725" y="1365250"/>
                  </a:lnTo>
                  <a:lnTo>
                    <a:pt x="3384550" y="1352550"/>
                  </a:lnTo>
                  <a:lnTo>
                    <a:pt x="3381375" y="1339850"/>
                  </a:lnTo>
                  <a:lnTo>
                    <a:pt x="3375025" y="1336675"/>
                  </a:lnTo>
                  <a:lnTo>
                    <a:pt x="3352800" y="1336675"/>
                  </a:lnTo>
                  <a:lnTo>
                    <a:pt x="3340100" y="1339850"/>
                  </a:lnTo>
                  <a:lnTo>
                    <a:pt x="3327400" y="1336675"/>
                  </a:lnTo>
                  <a:lnTo>
                    <a:pt x="3321050" y="1314450"/>
                  </a:lnTo>
                  <a:lnTo>
                    <a:pt x="3317875" y="1301750"/>
                  </a:lnTo>
                  <a:lnTo>
                    <a:pt x="3308350" y="1304925"/>
                  </a:lnTo>
                  <a:lnTo>
                    <a:pt x="3298825" y="1314450"/>
                  </a:lnTo>
                  <a:lnTo>
                    <a:pt x="3305175" y="1330325"/>
                  </a:lnTo>
                  <a:lnTo>
                    <a:pt x="3305175" y="1349375"/>
                  </a:lnTo>
                  <a:lnTo>
                    <a:pt x="3295650" y="1358900"/>
                  </a:lnTo>
                  <a:lnTo>
                    <a:pt x="3282950" y="1371600"/>
                  </a:lnTo>
                  <a:lnTo>
                    <a:pt x="3276600" y="1374775"/>
                  </a:lnTo>
                  <a:lnTo>
                    <a:pt x="3254375" y="1381125"/>
                  </a:lnTo>
                  <a:lnTo>
                    <a:pt x="3241675" y="1374775"/>
                  </a:lnTo>
                  <a:lnTo>
                    <a:pt x="3238500" y="1368425"/>
                  </a:lnTo>
                  <a:lnTo>
                    <a:pt x="3238500" y="1374775"/>
                  </a:lnTo>
                  <a:lnTo>
                    <a:pt x="3238500" y="1381125"/>
                  </a:lnTo>
                  <a:lnTo>
                    <a:pt x="3238500" y="1387475"/>
                  </a:lnTo>
                  <a:lnTo>
                    <a:pt x="3248025" y="1403350"/>
                  </a:lnTo>
                  <a:lnTo>
                    <a:pt x="3254375" y="1403350"/>
                  </a:lnTo>
                  <a:lnTo>
                    <a:pt x="3257550" y="1393825"/>
                  </a:lnTo>
                  <a:lnTo>
                    <a:pt x="3260725" y="1403350"/>
                  </a:lnTo>
                  <a:lnTo>
                    <a:pt x="3260725" y="1409700"/>
                  </a:lnTo>
                  <a:lnTo>
                    <a:pt x="3267075" y="1416050"/>
                  </a:lnTo>
                  <a:lnTo>
                    <a:pt x="3267075" y="1431925"/>
                  </a:lnTo>
                  <a:lnTo>
                    <a:pt x="3260725" y="1431925"/>
                  </a:lnTo>
                  <a:lnTo>
                    <a:pt x="3257550" y="1435100"/>
                  </a:lnTo>
                  <a:lnTo>
                    <a:pt x="3263900" y="1441450"/>
                  </a:lnTo>
                  <a:lnTo>
                    <a:pt x="3276600" y="1450975"/>
                  </a:lnTo>
                  <a:lnTo>
                    <a:pt x="3282950" y="1460500"/>
                  </a:lnTo>
                  <a:lnTo>
                    <a:pt x="3286125" y="1476375"/>
                  </a:lnTo>
                  <a:lnTo>
                    <a:pt x="3282950" y="1482725"/>
                  </a:lnTo>
                  <a:lnTo>
                    <a:pt x="3273425" y="1492250"/>
                  </a:lnTo>
                  <a:lnTo>
                    <a:pt x="3254375" y="1485900"/>
                  </a:lnTo>
                  <a:lnTo>
                    <a:pt x="3228975" y="1470025"/>
                  </a:lnTo>
                  <a:lnTo>
                    <a:pt x="3225800" y="1485900"/>
                  </a:lnTo>
                  <a:lnTo>
                    <a:pt x="3216275" y="1492250"/>
                  </a:lnTo>
                  <a:lnTo>
                    <a:pt x="3194050" y="1504950"/>
                  </a:lnTo>
                  <a:lnTo>
                    <a:pt x="3171825" y="1517650"/>
                  </a:lnTo>
                  <a:lnTo>
                    <a:pt x="3168650" y="1517650"/>
                  </a:lnTo>
                  <a:lnTo>
                    <a:pt x="3159125" y="1517650"/>
                  </a:lnTo>
                  <a:lnTo>
                    <a:pt x="3149600" y="1533526"/>
                  </a:lnTo>
                  <a:lnTo>
                    <a:pt x="3140075" y="1543051"/>
                  </a:lnTo>
                  <a:lnTo>
                    <a:pt x="3130550" y="1543051"/>
                  </a:lnTo>
                  <a:lnTo>
                    <a:pt x="3130550" y="1552576"/>
                  </a:lnTo>
                  <a:lnTo>
                    <a:pt x="3124200" y="1555751"/>
                  </a:lnTo>
                  <a:lnTo>
                    <a:pt x="3117850" y="1558926"/>
                  </a:lnTo>
                  <a:lnTo>
                    <a:pt x="3101975" y="1574801"/>
                  </a:lnTo>
                  <a:lnTo>
                    <a:pt x="3089275" y="1587501"/>
                  </a:lnTo>
                  <a:lnTo>
                    <a:pt x="3082925" y="1600201"/>
                  </a:lnTo>
                  <a:lnTo>
                    <a:pt x="3073400" y="1584326"/>
                  </a:lnTo>
                  <a:lnTo>
                    <a:pt x="3073400" y="1577976"/>
                  </a:lnTo>
                  <a:lnTo>
                    <a:pt x="3063875" y="1574801"/>
                  </a:lnTo>
                  <a:lnTo>
                    <a:pt x="3051175" y="1571626"/>
                  </a:lnTo>
                  <a:lnTo>
                    <a:pt x="3025775" y="1577976"/>
                  </a:lnTo>
                  <a:lnTo>
                    <a:pt x="3000375" y="1603376"/>
                  </a:lnTo>
                  <a:lnTo>
                    <a:pt x="2997200" y="1606551"/>
                  </a:lnTo>
                  <a:lnTo>
                    <a:pt x="2994025" y="1597026"/>
                  </a:lnTo>
                  <a:lnTo>
                    <a:pt x="3000375" y="1577976"/>
                  </a:lnTo>
                  <a:lnTo>
                    <a:pt x="2994025" y="1577976"/>
                  </a:lnTo>
                  <a:lnTo>
                    <a:pt x="2990850" y="1581151"/>
                  </a:lnTo>
                  <a:lnTo>
                    <a:pt x="2978150" y="1590676"/>
                  </a:lnTo>
                  <a:lnTo>
                    <a:pt x="2968625" y="1600201"/>
                  </a:lnTo>
                  <a:lnTo>
                    <a:pt x="2962275" y="1597026"/>
                  </a:lnTo>
                  <a:lnTo>
                    <a:pt x="2949575" y="1593851"/>
                  </a:lnTo>
                  <a:lnTo>
                    <a:pt x="2940050" y="1597026"/>
                  </a:lnTo>
                  <a:lnTo>
                    <a:pt x="2936875" y="1606551"/>
                  </a:lnTo>
                  <a:lnTo>
                    <a:pt x="2936875" y="1616076"/>
                  </a:lnTo>
                  <a:lnTo>
                    <a:pt x="2933700" y="1628776"/>
                  </a:lnTo>
                  <a:lnTo>
                    <a:pt x="2927350" y="1638301"/>
                  </a:lnTo>
                  <a:lnTo>
                    <a:pt x="2908300" y="1670051"/>
                  </a:lnTo>
                  <a:lnTo>
                    <a:pt x="2908300" y="1685926"/>
                  </a:lnTo>
                  <a:lnTo>
                    <a:pt x="2911475" y="1689101"/>
                  </a:lnTo>
                  <a:lnTo>
                    <a:pt x="2914650" y="1692276"/>
                  </a:lnTo>
                  <a:lnTo>
                    <a:pt x="2917825" y="1682751"/>
                  </a:lnTo>
                  <a:lnTo>
                    <a:pt x="2927350" y="1685926"/>
                  </a:lnTo>
                  <a:lnTo>
                    <a:pt x="2933700" y="1689101"/>
                  </a:lnTo>
                  <a:lnTo>
                    <a:pt x="2933700" y="1695451"/>
                  </a:lnTo>
                  <a:lnTo>
                    <a:pt x="2924175" y="1704976"/>
                  </a:lnTo>
                  <a:lnTo>
                    <a:pt x="2921000" y="1711326"/>
                  </a:lnTo>
                  <a:lnTo>
                    <a:pt x="2924175" y="1724026"/>
                  </a:lnTo>
                  <a:lnTo>
                    <a:pt x="2924175" y="1733551"/>
                  </a:lnTo>
                  <a:lnTo>
                    <a:pt x="2933700" y="1733551"/>
                  </a:lnTo>
                  <a:lnTo>
                    <a:pt x="2933700" y="1752601"/>
                  </a:lnTo>
                  <a:lnTo>
                    <a:pt x="2927350" y="1758951"/>
                  </a:lnTo>
                  <a:lnTo>
                    <a:pt x="2917825" y="1752601"/>
                  </a:lnTo>
                  <a:lnTo>
                    <a:pt x="2917825" y="1749426"/>
                  </a:lnTo>
                  <a:lnTo>
                    <a:pt x="2908300" y="1758951"/>
                  </a:lnTo>
                  <a:lnTo>
                    <a:pt x="2905125" y="1765301"/>
                  </a:lnTo>
                  <a:lnTo>
                    <a:pt x="2898775" y="1784351"/>
                  </a:lnTo>
                  <a:lnTo>
                    <a:pt x="2901950" y="1793876"/>
                  </a:lnTo>
                  <a:lnTo>
                    <a:pt x="2905125" y="1800226"/>
                  </a:lnTo>
                  <a:lnTo>
                    <a:pt x="2908300" y="1806576"/>
                  </a:lnTo>
                  <a:lnTo>
                    <a:pt x="2901950" y="1816101"/>
                  </a:lnTo>
                  <a:lnTo>
                    <a:pt x="2895600" y="1816101"/>
                  </a:lnTo>
                  <a:lnTo>
                    <a:pt x="2889250" y="1816101"/>
                  </a:lnTo>
                  <a:lnTo>
                    <a:pt x="2889250" y="1812926"/>
                  </a:lnTo>
                  <a:lnTo>
                    <a:pt x="2882900" y="1812926"/>
                  </a:lnTo>
                  <a:lnTo>
                    <a:pt x="2873375" y="1822451"/>
                  </a:lnTo>
                  <a:lnTo>
                    <a:pt x="2860675" y="1835151"/>
                  </a:lnTo>
                  <a:lnTo>
                    <a:pt x="2857500" y="1854201"/>
                  </a:lnTo>
                  <a:lnTo>
                    <a:pt x="2854325" y="1863726"/>
                  </a:lnTo>
                  <a:lnTo>
                    <a:pt x="2851150" y="1863726"/>
                  </a:lnTo>
                  <a:lnTo>
                    <a:pt x="2832100" y="1870076"/>
                  </a:lnTo>
                  <a:lnTo>
                    <a:pt x="2832100" y="1876426"/>
                  </a:lnTo>
                  <a:lnTo>
                    <a:pt x="2828925" y="1882776"/>
                  </a:lnTo>
                  <a:lnTo>
                    <a:pt x="2790825" y="1943101"/>
                  </a:lnTo>
                  <a:lnTo>
                    <a:pt x="2787650" y="1927226"/>
                  </a:lnTo>
                  <a:lnTo>
                    <a:pt x="2787650" y="1911351"/>
                  </a:lnTo>
                  <a:lnTo>
                    <a:pt x="2784475" y="1892301"/>
                  </a:lnTo>
                  <a:lnTo>
                    <a:pt x="2774950" y="1844676"/>
                  </a:lnTo>
                  <a:lnTo>
                    <a:pt x="2768600" y="1803401"/>
                  </a:lnTo>
                  <a:lnTo>
                    <a:pt x="2765425" y="1784351"/>
                  </a:lnTo>
                  <a:lnTo>
                    <a:pt x="2768600" y="1762126"/>
                  </a:lnTo>
                  <a:lnTo>
                    <a:pt x="2774950" y="1739901"/>
                  </a:lnTo>
                  <a:lnTo>
                    <a:pt x="2778125" y="1730376"/>
                  </a:lnTo>
                  <a:lnTo>
                    <a:pt x="2784475" y="1724026"/>
                  </a:lnTo>
                  <a:lnTo>
                    <a:pt x="2794000" y="1714501"/>
                  </a:lnTo>
                  <a:lnTo>
                    <a:pt x="2797175" y="1701801"/>
                  </a:lnTo>
                  <a:lnTo>
                    <a:pt x="2803525" y="1689101"/>
                  </a:lnTo>
                  <a:lnTo>
                    <a:pt x="2828925" y="1676401"/>
                  </a:lnTo>
                  <a:lnTo>
                    <a:pt x="2851150" y="1651001"/>
                  </a:lnTo>
                  <a:lnTo>
                    <a:pt x="2857500" y="1641476"/>
                  </a:lnTo>
                  <a:lnTo>
                    <a:pt x="2863850" y="1628776"/>
                  </a:lnTo>
                  <a:lnTo>
                    <a:pt x="2889250" y="1606551"/>
                  </a:lnTo>
                  <a:lnTo>
                    <a:pt x="2901950" y="1590676"/>
                  </a:lnTo>
                  <a:lnTo>
                    <a:pt x="2905125" y="1584326"/>
                  </a:lnTo>
                  <a:lnTo>
                    <a:pt x="2908300" y="1574801"/>
                  </a:lnTo>
                  <a:lnTo>
                    <a:pt x="2921000" y="1565276"/>
                  </a:lnTo>
                  <a:lnTo>
                    <a:pt x="2933700" y="1562101"/>
                  </a:lnTo>
                  <a:lnTo>
                    <a:pt x="2940050" y="1558926"/>
                  </a:lnTo>
                  <a:lnTo>
                    <a:pt x="2946400" y="1549401"/>
                  </a:lnTo>
                  <a:lnTo>
                    <a:pt x="2949575" y="1527176"/>
                  </a:lnTo>
                  <a:lnTo>
                    <a:pt x="2952750" y="1508125"/>
                  </a:lnTo>
                  <a:lnTo>
                    <a:pt x="2949575" y="1504950"/>
                  </a:lnTo>
                  <a:lnTo>
                    <a:pt x="2959100" y="1489075"/>
                  </a:lnTo>
                  <a:lnTo>
                    <a:pt x="2971800" y="1485900"/>
                  </a:lnTo>
                  <a:lnTo>
                    <a:pt x="2978150" y="1485900"/>
                  </a:lnTo>
                  <a:lnTo>
                    <a:pt x="2952750" y="1476375"/>
                  </a:lnTo>
                  <a:lnTo>
                    <a:pt x="2936875" y="1482725"/>
                  </a:lnTo>
                  <a:lnTo>
                    <a:pt x="2930525" y="1492250"/>
                  </a:lnTo>
                  <a:lnTo>
                    <a:pt x="2924175" y="1514475"/>
                  </a:lnTo>
                  <a:lnTo>
                    <a:pt x="2924175" y="1520826"/>
                  </a:lnTo>
                  <a:lnTo>
                    <a:pt x="2911475" y="1527176"/>
                  </a:lnTo>
                  <a:lnTo>
                    <a:pt x="2886075" y="1555751"/>
                  </a:lnTo>
                  <a:lnTo>
                    <a:pt x="2870200" y="1568451"/>
                  </a:lnTo>
                  <a:lnTo>
                    <a:pt x="2867025" y="1571626"/>
                  </a:lnTo>
                  <a:lnTo>
                    <a:pt x="2863850" y="1558926"/>
                  </a:lnTo>
                  <a:lnTo>
                    <a:pt x="2860675" y="1543051"/>
                  </a:lnTo>
                  <a:lnTo>
                    <a:pt x="2863850" y="1533526"/>
                  </a:lnTo>
                  <a:lnTo>
                    <a:pt x="2867025" y="1530351"/>
                  </a:lnTo>
                  <a:lnTo>
                    <a:pt x="2870200" y="1520826"/>
                  </a:lnTo>
                  <a:lnTo>
                    <a:pt x="2870200" y="1511300"/>
                  </a:lnTo>
                  <a:lnTo>
                    <a:pt x="2863850" y="1514475"/>
                  </a:lnTo>
                  <a:lnTo>
                    <a:pt x="2851150" y="1514475"/>
                  </a:lnTo>
                  <a:lnTo>
                    <a:pt x="2835275" y="1514475"/>
                  </a:lnTo>
                  <a:lnTo>
                    <a:pt x="2822575" y="1517650"/>
                  </a:lnTo>
                  <a:lnTo>
                    <a:pt x="2809875" y="1517650"/>
                  </a:lnTo>
                  <a:lnTo>
                    <a:pt x="2797175" y="1527176"/>
                  </a:lnTo>
                  <a:lnTo>
                    <a:pt x="2790825" y="1533526"/>
                  </a:lnTo>
                  <a:lnTo>
                    <a:pt x="2784475" y="1546226"/>
                  </a:lnTo>
                  <a:lnTo>
                    <a:pt x="2762250" y="1574801"/>
                  </a:lnTo>
                  <a:lnTo>
                    <a:pt x="2752725" y="1584326"/>
                  </a:lnTo>
                  <a:lnTo>
                    <a:pt x="2740025" y="1600201"/>
                  </a:lnTo>
                  <a:lnTo>
                    <a:pt x="2736850" y="1609726"/>
                  </a:lnTo>
                  <a:lnTo>
                    <a:pt x="2743200" y="1616076"/>
                  </a:lnTo>
                  <a:lnTo>
                    <a:pt x="2752725" y="1619251"/>
                  </a:lnTo>
                  <a:lnTo>
                    <a:pt x="2759075" y="1625601"/>
                  </a:lnTo>
                  <a:lnTo>
                    <a:pt x="2759075" y="1631951"/>
                  </a:lnTo>
                  <a:lnTo>
                    <a:pt x="2736850" y="1638301"/>
                  </a:lnTo>
                  <a:lnTo>
                    <a:pt x="2727325" y="1628776"/>
                  </a:lnTo>
                  <a:lnTo>
                    <a:pt x="2720975" y="1628776"/>
                  </a:lnTo>
                  <a:lnTo>
                    <a:pt x="2714625" y="1635126"/>
                  </a:lnTo>
                  <a:lnTo>
                    <a:pt x="2708275" y="1644651"/>
                  </a:lnTo>
                  <a:lnTo>
                    <a:pt x="2705100" y="1644651"/>
                  </a:lnTo>
                  <a:lnTo>
                    <a:pt x="2682875" y="1644651"/>
                  </a:lnTo>
                  <a:lnTo>
                    <a:pt x="2679700" y="1644651"/>
                  </a:lnTo>
                  <a:lnTo>
                    <a:pt x="2673350" y="1641476"/>
                  </a:lnTo>
                  <a:lnTo>
                    <a:pt x="2670175" y="1635126"/>
                  </a:lnTo>
                  <a:lnTo>
                    <a:pt x="2676525" y="1635126"/>
                  </a:lnTo>
                  <a:lnTo>
                    <a:pt x="2689225" y="1631951"/>
                  </a:lnTo>
                  <a:lnTo>
                    <a:pt x="2695575" y="1631951"/>
                  </a:lnTo>
                  <a:lnTo>
                    <a:pt x="2692400" y="1625601"/>
                  </a:lnTo>
                  <a:lnTo>
                    <a:pt x="2676525" y="1616076"/>
                  </a:lnTo>
                  <a:lnTo>
                    <a:pt x="2667000" y="1616076"/>
                  </a:lnTo>
                  <a:lnTo>
                    <a:pt x="2647950" y="1609726"/>
                  </a:lnTo>
                  <a:lnTo>
                    <a:pt x="2638425" y="1606551"/>
                  </a:lnTo>
                  <a:lnTo>
                    <a:pt x="2628900" y="1616076"/>
                  </a:lnTo>
                  <a:lnTo>
                    <a:pt x="2622550" y="1628776"/>
                  </a:lnTo>
                  <a:lnTo>
                    <a:pt x="2613025" y="1628776"/>
                  </a:lnTo>
                  <a:lnTo>
                    <a:pt x="2584450" y="1625601"/>
                  </a:lnTo>
                  <a:lnTo>
                    <a:pt x="2568575" y="1628776"/>
                  </a:lnTo>
                  <a:lnTo>
                    <a:pt x="2559050" y="1631951"/>
                  </a:lnTo>
                  <a:lnTo>
                    <a:pt x="2552700" y="1622426"/>
                  </a:lnTo>
                  <a:lnTo>
                    <a:pt x="2549525" y="1622426"/>
                  </a:lnTo>
                  <a:lnTo>
                    <a:pt x="2543175" y="1622426"/>
                  </a:lnTo>
                  <a:lnTo>
                    <a:pt x="2540000" y="1622426"/>
                  </a:lnTo>
                  <a:lnTo>
                    <a:pt x="2530475" y="1622426"/>
                  </a:lnTo>
                  <a:lnTo>
                    <a:pt x="2533650" y="1625601"/>
                  </a:lnTo>
                  <a:lnTo>
                    <a:pt x="2527300" y="1622426"/>
                  </a:lnTo>
                  <a:lnTo>
                    <a:pt x="2517775" y="1622426"/>
                  </a:lnTo>
                  <a:lnTo>
                    <a:pt x="2501900" y="1625601"/>
                  </a:lnTo>
                  <a:lnTo>
                    <a:pt x="2486025" y="1628776"/>
                  </a:lnTo>
                  <a:lnTo>
                    <a:pt x="2476500" y="1638301"/>
                  </a:lnTo>
                  <a:lnTo>
                    <a:pt x="2457450" y="1660526"/>
                  </a:lnTo>
                  <a:lnTo>
                    <a:pt x="2454275" y="1663701"/>
                  </a:lnTo>
                  <a:lnTo>
                    <a:pt x="2447925" y="1666876"/>
                  </a:lnTo>
                  <a:lnTo>
                    <a:pt x="2444750" y="1673226"/>
                  </a:lnTo>
                  <a:lnTo>
                    <a:pt x="2441575" y="1682751"/>
                  </a:lnTo>
                  <a:lnTo>
                    <a:pt x="2428875" y="1698626"/>
                  </a:lnTo>
                  <a:lnTo>
                    <a:pt x="2419350" y="1708151"/>
                  </a:lnTo>
                  <a:lnTo>
                    <a:pt x="2393950" y="1733551"/>
                  </a:lnTo>
                  <a:lnTo>
                    <a:pt x="2390775" y="1739901"/>
                  </a:lnTo>
                  <a:lnTo>
                    <a:pt x="2387600" y="1746251"/>
                  </a:lnTo>
                  <a:lnTo>
                    <a:pt x="2374900" y="1758951"/>
                  </a:lnTo>
                  <a:lnTo>
                    <a:pt x="2352675" y="1778001"/>
                  </a:lnTo>
                  <a:lnTo>
                    <a:pt x="2336800" y="1793876"/>
                  </a:lnTo>
                  <a:lnTo>
                    <a:pt x="2327275" y="1809751"/>
                  </a:lnTo>
                  <a:lnTo>
                    <a:pt x="2336800" y="1812926"/>
                  </a:lnTo>
                  <a:lnTo>
                    <a:pt x="2343150" y="1812926"/>
                  </a:lnTo>
                  <a:lnTo>
                    <a:pt x="2352675" y="1812926"/>
                  </a:lnTo>
                  <a:lnTo>
                    <a:pt x="2359025" y="1812926"/>
                  </a:lnTo>
                  <a:lnTo>
                    <a:pt x="2359025" y="1835151"/>
                  </a:lnTo>
                  <a:lnTo>
                    <a:pt x="2359025" y="1841501"/>
                  </a:lnTo>
                  <a:lnTo>
                    <a:pt x="2362200" y="1844676"/>
                  </a:lnTo>
                  <a:lnTo>
                    <a:pt x="2371725" y="1838326"/>
                  </a:lnTo>
                  <a:lnTo>
                    <a:pt x="2371725" y="1835151"/>
                  </a:lnTo>
                  <a:lnTo>
                    <a:pt x="2368550" y="1828801"/>
                  </a:lnTo>
                  <a:lnTo>
                    <a:pt x="2381250" y="1825626"/>
                  </a:lnTo>
                  <a:lnTo>
                    <a:pt x="2378075" y="1838326"/>
                  </a:lnTo>
                  <a:lnTo>
                    <a:pt x="2374900" y="1847851"/>
                  </a:lnTo>
                  <a:lnTo>
                    <a:pt x="2387600" y="1854201"/>
                  </a:lnTo>
                  <a:lnTo>
                    <a:pt x="2393950" y="1854201"/>
                  </a:lnTo>
                  <a:lnTo>
                    <a:pt x="2397125" y="1854201"/>
                  </a:lnTo>
                  <a:lnTo>
                    <a:pt x="2403475" y="1825626"/>
                  </a:lnTo>
                  <a:lnTo>
                    <a:pt x="2422525" y="1825626"/>
                  </a:lnTo>
                  <a:lnTo>
                    <a:pt x="2435225" y="1838326"/>
                  </a:lnTo>
                  <a:lnTo>
                    <a:pt x="2460625" y="1863726"/>
                  </a:lnTo>
                  <a:lnTo>
                    <a:pt x="2460625" y="1866901"/>
                  </a:lnTo>
                  <a:lnTo>
                    <a:pt x="2457450" y="1876426"/>
                  </a:lnTo>
                  <a:lnTo>
                    <a:pt x="2460625" y="1892301"/>
                  </a:lnTo>
                  <a:lnTo>
                    <a:pt x="2457450" y="1911351"/>
                  </a:lnTo>
                  <a:lnTo>
                    <a:pt x="2454275" y="1917701"/>
                  </a:lnTo>
                  <a:lnTo>
                    <a:pt x="2451100" y="1920876"/>
                  </a:lnTo>
                  <a:lnTo>
                    <a:pt x="2444750" y="1943101"/>
                  </a:lnTo>
                  <a:lnTo>
                    <a:pt x="2441575" y="1952626"/>
                  </a:lnTo>
                  <a:lnTo>
                    <a:pt x="2441575" y="1958976"/>
                  </a:lnTo>
                  <a:lnTo>
                    <a:pt x="2441575" y="1974851"/>
                  </a:lnTo>
                  <a:lnTo>
                    <a:pt x="2441575" y="1981201"/>
                  </a:lnTo>
                  <a:lnTo>
                    <a:pt x="2444750" y="1987551"/>
                  </a:lnTo>
                  <a:lnTo>
                    <a:pt x="2438400" y="2000251"/>
                  </a:lnTo>
                  <a:lnTo>
                    <a:pt x="2435225" y="2022476"/>
                  </a:lnTo>
                  <a:lnTo>
                    <a:pt x="2428875" y="2032001"/>
                  </a:lnTo>
                  <a:lnTo>
                    <a:pt x="2422525" y="2041526"/>
                  </a:lnTo>
                  <a:lnTo>
                    <a:pt x="2403475" y="2066926"/>
                  </a:lnTo>
                  <a:lnTo>
                    <a:pt x="2397125" y="2079626"/>
                  </a:lnTo>
                  <a:lnTo>
                    <a:pt x="2390775" y="2092326"/>
                  </a:lnTo>
                  <a:lnTo>
                    <a:pt x="2390775" y="2095501"/>
                  </a:lnTo>
                  <a:lnTo>
                    <a:pt x="2381250" y="2108201"/>
                  </a:lnTo>
                  <a:lnTo>
                    <a:pt x="2371725" y="2117726"/>
                  </a:lnTo>
                  <a:lnTo>
                    <a:pt x="2362200" y="2130426"/>
                  </a:lnTo>
                  <a:lnTo>
                    <a:pt x="2352675" y="2143126"/>
                  </a:lnTo>
                  <a:lnTo>
                    <a:pt x="2343150" y="2155826"/>
                  </a:lnTo>
                  <a:lnTo>
                    <a:pt x="2333625" y="2165351"/>
                  </a:lnTo>
                  <a:lnTo>
                    <a:pt x="2333625" y="2171701"/>
                  </a:lnTo>
                  <a:lnTo>
                    <a:pt x="2317750" y="2184401"/>
                  </a:lnTo>
                  <a:lnTo>
                    <a:pt x="2292350" y="2200276"/>
                  </a:lnTo>
                  <a:lnTo>
                    <a:pt x="2286000" y="2203451"/>
                  </a:lnTo>
                  <a:lnTo>
                    <a:pt x="2279650" y="2203451"/>
                  </a:lnTo>
                  <a:lnTo>
                    <a:pt x="2273300" y="2200276"/>
                  </a:lnTo>
                  <a:lnTo>
                    <a:pt x="2266950" y="2200276"/>
                  </a:lnTo>
                  <a:lnTo>
                    <a:pt x="2263775" y="2190751"/>
                  </a:lnTo>
                  <a:lnTo>
                    <a:pt x="2260600" y="2184401"/>
                  </a:lnTo>
                  <a:lnTo>
                    <a:pt x="2251075" y="2193926"/>
                  </a:lnTo>
                  <a:lnTo>
                    <a:pt x="2241550" y="2203451"/>
                  </a:lnTo>
                  <a:lnTo>
                    <a:pt x="2235200" y="2209801"/>
                  </a:lnTo>
                  <a:lnTo>
                    <a:pt x="2228850" y="2216151"/>
                  </a:lnTo>
                  <a:lnTo>
                    <a:pt x="2228850" y="2212976"/>
                  </a:lnTo>
                  <a:lnTo>
                    <a:pt x="2225675" y="2206626"/>
                  </a:lnTo>
                  <a:lnTo>
                    <a:pt x="2222500" y="2203451"/>
                  </a:lnTo>
                  <a:lnTo>
                    <a:pt x="2228850" y="2200276"/>
                  </a:lnTo>
                  <a:lnTo>
                    <a:pt x="2235200" y="2200276"/>
                  </a:lnTo>
                  <a:lnTo>
                    <a:pt x="2241550" y="2197101"/>
                  </a:lnTo>
                  <a:lnTo>
                    <a:pt x="2238375" y="2193926"/>
                  </a:lnTo>
                  <a:lnTo>
                    <a:pt x="2241550" y="2190751"/>
                  </a:lnTo>
                  <a:lnTo>
                    <a:pt x="2244725" y="2181226"/>
                  </a:lnTo>
                  <a:lnTo>
                    <a:pt x="2241550" y="2178051"/>
                  </a:lnTo>
                  <a:lnTo>
                    <a:pt x="2241550" y="2174876"/>
                  </a:lnTo>
                  <a:lnTo>
                    <a:pt x="2241550" y="2165351"/>
                  </a:lnTo>
                  <a:lnTo>
                    <a:pt x="2244725" y="2162176"/>
                  </a:lnTo>
                  <a:lnTo>
                    <a:pt x="2238375" y="2143126"/>
                  </a:lnTo>
                  <a:lnTo>
                    <a:pt x="2251075" y="2133601"/>
                  </a:lnTo>
                  <a:lnTo>
                    <a:pt x="2260600" y="2127251"/>
                  </a:lnTo>
                  <a:lnTo>
                    <a:pt x="2276475" y="2133601"/>
                  </a:lnTo>
                  <a:lnTo>
                    <a:pt x="2279650" y="2133601"/>
                  </a:lnTo>
                  <a:lnTo>
                    <a:pt x="2282825" y="2127251"/>
                  </a:lnTo>
                  <a:lnTo>
                    <a:pt x="2289175" y="2117726"/>
                  </a:lnTo>
                  <a:lnTo>
                    <a:pt x="2292350" y="2108201"/>
                  </a:lnTo>
                  <a:lnTo>
                    <a:pt x="2298700" y="2095501"/>
                  </a:lnTo>
                  <a:lnTo>
                    <a:pt x="2301875" y="2076451"/>
                  </a:lnTo>
                  <a:lnTo>
                    <a:pt x="2305050" y="2063751"/>
                  </a:lnTo>
                  <a:lnTo>
                    <a:pt x="2308225" y="2060576"/>
                  </a:lnTo>
                  <a:lnTo>
                    <a:pt x="2311400" y="2060576"/>
                  </a:lnTo>
                  <a:lnTo>
                    <a:pt x="2317750" y="2051051"/>
                  </a:lnTo>
                  <a:lnTo>
                    <a:pt x="2317750" y="2047876"/>
                  </a:lnTo>
                  <a:lnTo>
                    <a:pt x="2317750" y="2032001"/>
                  </a:lnTo>
                  <a:lnTo>
                    <a:pt x="2314575" y="2028826"/>
                  </a:lnTo>
                  <a:lnTo>
                    <a:pt x="2311400" y="2028826"/>
                  </a:lnTo>
                  <a:lnTo>
                    <a:pt x="2286000" y="2035176"/>
                  </a:lnTo>
                  <a:lnTo>
                    <a:pt x="2276475" y="2041526"/>
                  </a:lnTo>
                  <a:lnTo>
                    <a:pt x="2270125" y="2051051"/>
                  </a:lnTo>
                  <a:lnTo>
                    <a:pt x="2247900" y="2051051"/>
                  </a:lnTo>
                  <a:lnTo>
                    <a:pt x="2238375" y="2051051"/>
                  </a:lnTo>
                  <a:lnTo>
                    <a:pt x="2232025" y="2041526"/>
                  </a:lnTo>
                  <a:lnTo>
                    <a:pt x="2225675" y="2022476"/>
                  </a:lnTo>
                  <a:lnTo>
                    <a:pt x="2225675" y="2019301"/>
                  </a:lnTo>
                  <a:lnTo>
                    <a:pt x="2219325" y="2012951"/>
                  </a:lnTo>
                  <a:lnTo>
                    <a:pt x="2212975" y="2006601"/>
                  </a:lnTo>
                  <a:lnTo>
                    <a:pt x="2206625" y="2000251"/>
                  </a:lnTo>
                  <a:lnTo>
                    <a:pt x="2206625" y="1997076"/>
                  </a:lnTo>
                  <a:lnTo>
                    <a:pt x="2190750" y="1993901"/>
                  </a:lnTo>
                  <a:lnTo>
                    <a:pt x="2181225" y="1990726"/>
                  </a:lnTo>
                  <a:lnTo>
                    <a:pt x="2171700" y="1990726"/>
                  </a:lnTo>
                  <a:lnTo>
                    <a:pt x="2162175" y="1981201"/>
                  </a:lnTo>
                  <a:lnTo>
                    <a:pt x="2162175" y="1974851"/>
                  </a:lnTo>
                  <a:lnTo>
                    <a:pt x="2162175" y="1968501"/>
                  </a:lnTo>
                  <a:lnTo>
                    <a:pt x="2155825" y="1958976"/>
                  </a:lnTo>
                  <a:lnTo>
                    <a:pt x="2159000" y="1958976"/>
                  </a:lnTo>
                  <a:lnTo>
                    <a:pt x="2155825" y="1952626"/>
                  </a:lnTo>
                  <a:lnTo>
                    <a:pt x="2155825" y="1949451"/>
                  </a:lnTo>
                  <a:lnTo>
                    <a:pt x="2143125" y="1917701"/>
                  </a:lnTo>
                  <a:lnTo>
                    <a:pt x="2139950" y="1905001"/>
                  </a:lnTo>
                  <a:lnTo>
                    <a:pt x="2136775" y="1892301"/>
                  </a:lnTo>
                  <a:lnTo>
                    <a:pt x="2130425" y="1879601"/>
                  </a:lnTo>
                  <a:lnTo>
                    <a:pt x="2120900" y="1870076"/>
                  </a:lnTo>
                  <a:lnTo>
                    <a:pt x="2111375" y="1863726"/>
                  </a:lnTo>
                  <a:lnTo>
                    <a:pt x="2105025" y="1866901"/>
                  </a:lnTo>
                  <a:lnTo>
                    <a:pt x="2101850" y="1863726"/>
                  </a:lnTo>
                  <a:lnTo>
                    <a:pt x="2073275" y="1851026"/>
                  </a:lnTo>
                  <a:lnTo>
                    <a:pt x="2051050" y="1857376"/>
                  </a:lnTo>
                  <a:lnTo>
                    <a:pt x="2041525" y="1857376"/>
                  </a:lnTo>
                  <a:lnTo>
                    <a:pt x="2032000" y="1860551"/>
                  </a:lnTo>
                  <a:lnTo>
                    <a:pt x="2022475" y="1860551"/>
                  </a:lnTo>
                  <a:lnTo>
                    <a:pt x="2016125" y="1863726"/>
                  </a:lnTo>
                  <a:lnTo>
                    <a:pt x="2003425" y="1879601"/>
                  </a:lnTo>
                  <a:lnTo>
                    <a:pt x="2003425" y="1882776"/>
                  </a:lnTo>
                  <a:lnTo>
                    <a:pt x="2006600" y="1885951"/>
                  </a:lnTo>
                  <a:lnTo>
                    <a:pt x="2012950" y="1885951"/>
                  </a:lnTo>
                  <a:lnTo>
                    <a:pt x="2016125" y="1895476"/>
                  </a:lnTo>
                  <a:lnTo>
                    <a:pt x="2012950" y="1905001"/>
                  </a:lnTo>
                  <a:lnTo>
                    <a:pt x="2006600" y="1914526"/>
                  </a:lnTo>
                  <a:lnTo>
                    <a:pt x="2000250" y="1920876"/>
                  </a:lnTo>
                  <a:lnTo>
                    <a:pt x="1993900" y="1939926"/>
                  </a:lnTo>
                  <a:lnTo>
                    <a:pt x="1987550" y="1952626"/>
                  </a:lnTo>
                  <a:lnTo>
                    <a:pt x="1981200" y="1962151"/>
                  </a:lnTo>
                  <a:lnTo>
                    <a:pt x="1981200" y="1965326"/>
                  </a:lnTo>
                  <a:lnTo>
                    <a:pt x="1984375" y="1965326"/>
                  </a:lnTo>
                  <a:lnTo>
                    <a:pt x="1981200" y="1974851"/>
                  </a:lnTo>
                  <a:lnTo>
                    <a:pt x="1965325" y="1981201"/>
                  </a:lnTo>
                  <a:lnTo>
                    <a:pt x="1952625" y="1990726"/>
                  </a:lnTo>
                  <a:lnTo>
                    <a:pt x="1927225" y="1981201"/>
                  </a:lnTo>
                  <a:lnTo>
                    <a:pt x="1914525" y="1974851"/>
                  </a:lnTo>
                  <a:lnTo>
                    <a:pt x="1908175" y="1978026"/>
                  </a:lnTo>
                  <a:lnTo>
                    <a:pt x="1901825" y="1978026"/>
                  </a:lnTo>
                  <a:lnTo>
                    <a:pt x="1892300" y="1971676"/>
                  </a:lnTo>
                  <a:lnTo>
                    <a:pt x="1882775" y="1965326"/>
                  </a:lnTo>
                  <a:lnTo>
                    <a:pt x="1873250" y="1968501"/>
                  </a:lnTo>
                  <a:lnTo>
                    <a:pt x="1860550" y="1974851"/>
                  </a:lnTo>
                  <a:lnTo>
                    <a:pt x="1851025" y="1984376"/>
                  </a:lnTo>
                  <a:lnTo>
                    <a:pt x="1841500" y="1993901"/>
                  </a:lnTo>
                  <a:lnTo>
                    <a:pt x="1838325" y="1990726"/>
                  </a:lnTo>
                  <a:lnTo>
                    <a:pt x="1831975" y="1990726"/>
                  </a:lnTo>
                  <a:lnTo>
                    <a:pt x="1819275" y="1997076"/>
                  </a:lnTo>
                  <a:lnTo>
                    <a:pt x="1806575" y="2000251"/>
                  </a:lnTo>
                  <a:lnTo>
                    <a:pt x="1797050" y="2003426"/>
                  </a:lnTo>
                  <a:lnTo>
                    <a:pt x="1784350" y="2003426"/>
                  </a:lnTo>
                  <a:lnTo>
                    <a:pt x="1778000" y="2000251"/>
                  </a:lnTo>
                  <a:lnTo>
                    <a:pt x="1774825" y="2000251"/>
                  </a:lnTo>
                  <a:lnTo>
                    <a:pt x="1765300" y="1997076"/>
                  </a:lnTo>
                  <a:lnTo>
                    <a:pt x="1755775" y="1997076"/>
                  </a:lnTo>
                  <a:lnTo>
                    <a:pt x="1743075" y="1990726"/>
                  </a:lnTo>
                  <a:lnTo>
                    <a:pt x="1739900" y="1987551"/>
                  </a:lnTo>
                  <a:lnTo>
                    <a:pt x="1739900" y="1978026"/>
                  </a:lnTo>
                  <a:lnTo>
                    <a:pt x="1724025" y="1974851"/>
                  </a:lnTo>
                  <a:lnTo>
                    <a:pt x="1717675" y="1968501"/>
                  </a:lnTo>
                  <a:lnTo>
                    <a:pt x="1711325" y="1965326"/>
                  </a:lnTo>
                  <a:lnTo>
                    <a:pt x="1676400" y="1962151"/>
                  </a:lnTo>
                  <a:lnTo>
                    <a:pt x="1663700" y="1965326"/>
                  </a:lnTo>
                  <a:lnTo>
                    <a:pt x="1654175" y="1971676"/>
                  </a:lnTo>
                  <a:lnTo>
                    <a:pt x="1628775" y="1965326"/>
                  </a:lnTo>
                  <a:lnTo>
                    <a:pt x="1622425" y="1958976"/>
                  </a:lnTo>
                  <a:lnTo>
                    <a:pt x="1616075" y="1955801"/>
                  </a:lnTo>
                  <a:lnTo>
                    <a:pt x="1616075" y="1936751"/>
                  </a:lnTo>
                  <a:lnTo>
                    <a:pt x="1616075" y="1930401"/>
                  </a:lnTo>
                  <a:lnTo>
                    <a:pt x="1609725" y="1927226"/>
                  </a:lnTo>
                  <a:lnTo>
                    <a:pt x="1600200" y="1924051"/>
                  </a:lnTo>
                  <a:lnTo>
                    <a:pt x="1568450" y="1917701"/>
                  </a:lnTo>
                  <a:lnTo>
                    <a:pt x="1555750" y="1911351"/>
                  </a:lnTo>
                  <a:lnTo>
                    <a:pt x="1546225" y="1901826"/>
                  </a:lnTo>
                  <a:lnTo>
                    <a:pt x="1539875" y="1914526"/>
                  </a:lnTo>
                  <a:lnTo>
                    <a:pt x="1530350" y="1917701"/>
                  </a:lnTo>
                  <a:lnTo>
                    <a:pt x="1524000" y="1930401"/>
                  </a:lnTo>
                  <a:lnTo>
                    <a:pt x="1520825" y="1939926"/>
                  </a:lnTo>
                  <a:lnTo>
                    <a:pt x="1524000" y="1949451"/>
                  </a:lnTo>
                  <a:lnTo>
                    <a:pt x="1527175" y="1955801"/>
                  </a:lnTo>
                  <a:lnTo>
                    <a:pt x="1530350" y="1955801"/>
                  </a:lnTo>
                  <a:lnTo>
                    <a:pt x="1530350" y="1965326"/>
                  </a:lnTo>
                  <a:lnTo>
                    <a:pt x="1511300" y="1984376"/>
                  </a:lnTo>
                  <a:lnTo>
                    <a:pt x="1504950" y="1981201"/>
                  </a:lnTo>
                  <a:lnTo>
                    <a:pt x="1489075" y="1974851"/>
                  </a:lnTo>
                  <a:lnTo>
                    <a:pt x="1476375" y="1974851"/>
                  </a:lnTo>
                  <a:lnTo>
                    <a:pt x="1473200" y="1974851"/>
                  </a:lnTo>
                  <a:lnTo>
                    <a:pt x="1466850" y="1978026"/>
                  </a:lnTo>
                  <a:lnTo>
                    <a:pt x="1444625" y="1965326"/>
                  </a:lnTo>
                  <a:lnTo>
                    <a:pt x="1444625" y="1955801"/>
                  </a:lnTo>
                  <a:lnTo>
                    <a:pt x="1438275" y="1955801"/>
                  </a:lnTo>
                  <a:lnTo>
                    <a:pt x="1425575" y="1955801"/>
                  </a:lnTo>
                  <a:lnTo>
                    <a:pt x="1419225" y="1955801"/>
                  </a:lnTo>
                  <a:lnTo>
                    <a:pt x="1416050" y="1952626"/>
                  </a:lnTo>
                  <a:lnTo>
                    <a:pt x="1403350" y="1949451"/>
                  </a:lnTo>
                  <a:lnTo>
                    <a:pt x="1377950" y="1958976"/>
                  </a:lnTo>
                  <a:lnTo>
                    <a:pt x="1349375" y="1974851"/>
                  </a:lnTo>
                  <a:lnTo>
                    <a:pt x="1343025" y="1978026"/>
                  </a:lnTo>
                  <a:lnTo>
                    <a:pt x="1343025" y="1984376"/>
                  </a:lnTo>
                  <a:lnTo>
                    <a:pt x="1333500" y="1993901"/>
                  </a:lnTo>
                  <a:lnTo>
                    <a:pt x="1304925" y="2003426"/>
                  </a:lnTo>
                  <a:lnTo>
                    <a:pt x="1292225" y="2003426"/>
                  </a:lnTo>
                  <a:lnTo>
                    <a:pt x="1285875" y="1997076"/>
                  </a:lnTo>
                  <a:lnTo>
                    <a:pt x="1282700" y="1987551"/>
                  </a:lnTo>
                  <a:lnTo>
                    <a:pt x="1279525" y="1981201"/>
                  </a:lnTo>
                  <a:lnTo>
                    <a:pt x="1273175" y="1987551"/>
                  </a:lnTo>
                  <a:lnTo>
                    <a:pt x="1263650" y="1990726"/>
                  </a:lnTo>
                  <a:lnTo>
                    <a:pt x="1247775" y="1987551"/>
                  </a:lnTo>
                  <a:lnTo>
                    <a:pt x="1231900" y="1965326"/>
                  </a:lnTo>
                  <a:lnTo>
                    <a:pt x="1222375" y="1949451"/>
                  </a:lnTo>
                  <a:lnTo>
                    <a:pt x="1212850" y="1943101"/>
                  </a:lnTo>
                  <a:lnTo>
                    <a:pt x="1206500" y="1939926"/>
                  </a:lnTo>
                  <a:lnTo>
                    <a:pt x="1200150" y="1943101"/>
                  </a:lnTo>
                  <a:lnTo>
                    <a:pt x="1193800" y="1946276"/>
                  </a:lnTo>
                  <a:lnTo>
                    <a:pt x="1193800" y="1949451"/>
                  </a:lnTo>
                  <a:lnTo>
                    <a:pt x="1177925" y="1949451"/>
                  </a:lnTo>
                  <a:lnTo>
                    <a:pt x="1165225" y="1949451"/>
                  </a:lnTo>
                  <a:lnTo>
                    <a:pt x="1158875" y="1943101"/>
                  </a:lnTo>
                  <a:lnTo>
                    <a:pt x="1162050" y="1936751"/>
                  </a:lnTo>
                  <a:lnTo>
                    <a:pt x="1158875" y="1933576"/>
                  </a:lnTo>
                  <a:lnTo>
                    <a:pt x="1158875" y="1936751"/>
                  </a:lnTo>
                  <a:lnTo>
                    <a:pt x="1149350" y="1930401"/>
                  </a:lnTo>
                  <a:lnTo>
                    <a:pt x="1146175" y="1933576"/>
                  </a:lnTo>
                  <a:lnTo>
                    <a:pt x="1143000" y="1943101"/>
                  </a:lnTo>
                  <a:lnTo>
                    <a:pt x="1136650" y="1949451"/>
                  </a:lnTo>
                  <a:lnTo>
                    <a:pt x="1136650" y="1946276"/>
                  </a:lnTo>
                  <a:lnTo>
                    <a:pt x="1133475" y="1939926"/>
                  </a:lnTo>
                  <a:lnTo>
                    <a:pt x="1130300" y="1936751"/>
                  </a:lnTo>
                  <a:lnTo>
                    <a:pt x="1127125" y="1930401"/>
                  </a:lnTo>
                  <a:lnTo>
                    <a:pt x="1127125" y="1924051"/>
                  </a:lnTo>
                  <a:lnTo>
                    <a:pt x="1120775" y="1914526"/>
                  </a:lnTo>
                  <a:lnTo>
                    <a:pt x="1117600" y="1905001"/>
                  </a:lnTo>
                  <a:lnTo>
                    <a:pt x="1114425" y="1901826"/>
                  </a:lnTo>
                  <a:lnTo>
                    <a:pt x="1111250" y="1898651"/>
                  </a:lnTo>
                  <a:lnTo>
                    <a:pt x="1108075" y="1892301"/>
                  </a:lnTo>
                  <a:lnTo>
                    <a:pt x="1104900" y="1889126"/>
                  </a:lnTo>
                  <a:lnTo>
                    <a:pt x="1101725" y="1879601"/>
                  </a:lnTo>
                  <a:lnTo>
                    <a:pt x="1095375" y="1870076"/>
                  </a:lnTo>
                  <a:lnTo>
                    <a:pt x="1095375" y="1866901"/>
                  </a:lnTo>
                  <a:lnTo>
                    <a:pt x="1082675" y="1851026"/>
                  </a:lnTo>
                  <a:lnTo>
                    <a:pt x="1069975" y="1844676"/>
                  </a:lnTo>
                  <a:lnTo>
                    <a:pt x="1063625" y="1835151"/>
                  </a:lnTo>
                  <a:lnTo>
                    <a:pt x="1060450" y="1828801"/>
                  </a:lnTo>
                  <a:lnTo>
                    <a:pt x="1060450" y="1822451"/>
                  </a:lnTo>
                  <a:lnTo>
                    <a:pt x="1054100" y="1825626"/>
                  </a:lnTo>
                  <a:lnTo>
                    <a:pt x="1047750" y="1828801"/>
                  </a:lnTo>
                  <a:lnTo>
                    <a:pt x="1038225" y="1835151"/>
                  </a:lnTo>
                  <a:lnTo>
                    <a:pt x="1031875" y="1841501"/>
                  </a:lnTo>
                  <a:lnTo>
                    <a:pt x="1028700" y="1841501"/>
                  </a:lnTo>
                  <a:lnTo>
                    <a:pt x="1019175" y="1844676"/>
                  </a:lnTo>
                  <a:lnTo>
                    <a:pt x="1009650" y="1851026"/>
                  </a:lnTo>
                  <a:lnTo>
                    <a:pt x="1003300" y="1847851"/>
                  </a:lnTo>
                  <a:lnTo>
                    <a:pt x="1000125" y="1847851"/>
                  </a:lnTo>
                  <a:lnTo>
                    <a:pt x="1000125" y="1851026"/>
                  </a:lnTo>
                  <a:lnTo>
                    <a:pt x="993775" y="1854201"/>
                  </a:lnTo>
                  <a:lnTo>
                    <a:pt x="990600" y="1847851"/>
                  </a:lnTo>
                  <a:lnTo>
                    <a:pt x="993775" y="1841501"/>
                  </a:lnTo>
                  <a:lnTo>
                    <a:pt x="990600" y="1835151"/>
                  </a:lnTo>
                  <a:lnTo>
                    <a:pt x="981075" y="1828801"/>
                  </a:lnTo>
                  <a:lnTo>
                    <a:pt x="968375" y="1822451"/>
                  </a:lnTo>
                  <a:lnTo>
                    <a:pt x="962025" y="1828801"/>
                  </a:lnTo>
                  <a:lnTo>
                    <a:pt x="949325" y="1831976"/>
                  </a:lnTo>
                  <a:lnTo>
                    <a:pt x="946150" y="1831976"/>
                  </a:lnTo>
                  <a:lnTo>
                    <a:pt x="942975" y="1825626"/>
                  </a:lnTo>
                  <a:lnTo>
                    <a:pt x="946150" y="1819276"/>
                  </a:lnTo>
                  <a:lnTo>
                    <a:pt x="939800" y="1800226"/>
                  </a:lnTo>
                  <a:lnTo>
                    <a:pt x="942975" y="1800226"/>
                  </a:lnTo>
                  <a:lnTo>
                    <a:pt x="942975" y="1797051"/>
                  </a:lnTo>
                  <a:lnTo>
                    <a:pt x="939800" y="1790701"/>
                  </a:lnTo>
                  <a:lnTo>
                    <a:pt x="933450" y="1787526"/>
                  </a:lnTo>
                  <a:lnTo>
                    <a:pt x="930275" y="1787526"/>
                  </a:lnTo>
                  <a:lnTo>
                    <a:pt x="920750" y="1790701"/>
                  </a:lnTo>
                  <a:lnTo>
                    <a:pt x="898525" y="1781176"/>
                  </a:lnTo>
                  <a:lnTo>
                    <a:pt x="892175" y="1784351"/>
                  </a:lnTo>
                  <a:lnTo>
                    <a:pt x="889000" y="1790701"/>
                  </a:lnTo>
                  <a:lnTo>
                    <a:pt x="882650" y="1790701"/>
                  </a:lnTo>
                  <a:lnTo>
                    <a:pt x="882650" y="1797051"/>
                  </a:lnTo>
                  <a:lnTo>
                    <a:pt x="873125" y="1803401"/>
                  </a:lnTo>
                  <a:lnTo>
                    <a:pt x="866775" y="1803401"/>
                  </a:lnTo>
                  <a:lnTo>
                    <a:pt x="844550" y="1809751"/>
                  </a:lnTo>
                  <a:lnTo>
                    <a:pt x="828675" y="1809751"/>
                  </a:lnTo>
                  <a:lnTo>
                    <a:pt x="822325" y="1812926"/>
                  </a:lnTo>
                  <a:lnTo>
                    <a:pt x="815975" y="1816101"/>
                  </a:lnTo>
                  <a:lnTo>
                    <a:pt x="815975" y="1819276"/>
                  </a:lnTo>
                  <a:lnTo>
                    <a:pt x="815975" y="1822451"/>
                  </a:lnTo>
                  <a:lnTo>
                    <a:pt x="812800" y="1819276"/>
                  </a:lnTo>
                  <a:lnTo>
                    <a:pt x="806450" y="1819276"/>
                  </a:lnTo>
                  <a:lnTo>
                    <a:pt x="790575" y="1825626"/>
                  </a:lnTo>
                  <a:lnTo>
                    <a:pt x="781050" y="1828801"/>
                  </a:lnTo>
                  <a:lnTo>
                    <a:pt x="771525" y="1828801"/>
                  </a:lnTo>
                  <a:lnTo>
                    <a:pt x="768350" y="1831976"/>
                  </a:lnTo>
                  <a:lnTo>
                    <a:pt x="765175" y="1831976"/>
                  </a:lnTo>
                  <a:lnTo>
                    <a:pt x="762000" y="1835151"/>
                  </a:lnTo>
                  <a:lnTo>
                    <a:pt x="758825" y="1835151"/>
                  </a:lnTo>
                  <a:lnTo>
                    <a:pt x="755650" y="1831976"/>
                  </a:lnTo>
                  <a:lnTo>
                    <a:pt x="752475" y="1835151"/>
                  </a:lnTo>
                  <a:lnTo>
                    <a:pt x="749300" y="1831976"/>
                  </a:lnTo>
                  <a:lnTo>
                    <a:pt x="746125" y="1835151"/>
                  </a:lnTo>
                  <a:lnTo>
                    <a:pt x="742950" y="1835151"/>
                  </a:lnTo>
                  <a:lnTo>
                    <a:pt x="739775" y="1835151"/>
                  </a:lnTo>
                  <a:lnTo>
                    <a:pt x="736600" y="1831976"/>
                  </a:lnTo>
                  <a:lnTo>
                    <a:pt x="730250" y="1831976"/>
                  </a:lnTo>
                  <a:lnTo>
                    <a:pt x="730250" y="1851026"/>
                  </a:lnTo>
                  <a:lnTo>
                    <a:pt x="733425" y="1851026"/>
                  </a:lnTo>
                  <a:lnTo>
                    <a:pt x="733425" y="1854201"/>
                  </a:lnTo>
                  <a:lnTo>
                    <a:pt x="739775" y="1863726"/>
                  </a:lnTo>
                  <a:lnTo>
                    <a:pt x="749300" y="1866901"/>
                  </a:lnTo>
                  <a:lnTo>
                    <a:pt x="746125" y="1870076"/>
                  </a:lnTo>
                  <a:lnTo>
                    <a:pt x="742950" y="1870076"/>
                  </a:lnTo>
                  <a:lnTo>
                    <a:pt x="739775" y="1870076"/>
                  </a:lnTo>
                  <a:lnTo>
                    <a:pt x="730250" y="1870076"/>
                  </a:lnTo>
                  <a:lnTo>
                    <a:pt x="727075" y="1873251"/>
                  </a:lnTo>
                  <a:lnTo>
                    <a:pt x="727075" y="1895476"/>
                  </a:lnTo>
                  <a:lnTo>
                    <a:pt x="717550" y="1901826"/>
                  </a:lnTo>
                  <a:lnTo>
                    <a:pt x="711200" y="1905001"/>
                  </a:lnTo>
                  <a:lnTo>
                    <a:pt x="708025" y="1911351"/>
                  </a:lnTo>
                  <a:lnTo>
                    <a:pt x="711200" y="1914526"/>
                  </a:lnTo>
                  <a:lnTo>
                    <a:pt x="723900" y="1920876"/>
                  </a:lnTo>
                  <a:lnTo>
                    <a:pt x="730250" y="1924051"/>
                  </a:lnTo>
                  <a:lnTo>
                    <a:pt x="736600" y="1927226"/>
                  </a:lnTo>
                  <a:lnTo>
                    <a:pt x="736600" y="1933576"/>
                  </a:lnTo>
                  <a:lnTo>
                    <a:pt x="736600" y="1946276"/>
                  </a:lnTo>
                  <a:lnTo>
                    <a:pt x="727075" y="1952626"/>
                  </a:lnTo>
                  <a:lnTo>
                    <a:pt x="714375" y="1952626"/>
                  </a:lnTo>
                  <a:lnTo>
                    <a:pt x="704850" y="1946276"/>
                  </a:lnTo>
                  <a:lnTo>
                    <a:pt x="698500" y="1955801"/>
                  </a:lnTo>
                  <a:lnTo>
                    <a:pt x="685800" y="1952626"/>
                  </a:lnTo>
                  <a:lnTo>
                    <a:pt x="676275" y="1949451"/>
                  </a:lnTo>
                  <a:lnTo>
                    <a:pt x="666750" y="1936751"/>
                  </a:lnTo>
                  <a:lnTo>
                    <a:pt x="657225" y="1936751"/>
                  </a:lnTo>
                  <a:lnTo>
                    <a:pt x="644525" y="1939926"/>
                  </a:lnTo>
                  <a:lnTo>
                    <a:pt x="631825" y="1939926"/>
                  </a:lnTo>
                  <a:lnTo>
                    <a:pt x="625475" y="1943101"/>
                  </a:lnTo>
                  <a:lnTo>
                    <a:pt x="619125" y="1949451"/>
                  </a:lnTo>
                  <a:lnTo>
                    <a:pt x="609600" y="1955801"/>
                  </a:lnTo>
                  <a:lnTo>
                    <a:pt x="596900" y="1943101"/>
                  </a:lnTo>
                  <a:lnTo>
                    <a:pt x="596900" y="1946276"/>
                  </a:lnTo>
                  <a:lnTo>
                    <a:pt x="593725" y="1946276"/>
                  </a:lnTo>
                  <a:lnTo>
                    <a:pt x="581025" y="1943101"/>
                  </a:lnTo>
                  <a:lnTo>
                    <a:pt x="577850" y="1939926"/>
                  </a:lnTo>
                  <a:lnTo>
                    <a:pt x="574675" y="1936751"/>
                  </a:lnTo>
                  <a:lnTo>
                    <a:pt x="574675" y="1933576"/>
                  </a:lnTo>
                  <a:lnTo>
                    <a:pt x="571500" y="1933576"/>
                  </a:lnTo>
                  <a:lnTo>
                    <a:pt x="568325" y="1933576"/>
                  </a:lnTo>
                  <a:lnTo>
                    <a:pt x="565150" y="1930401"/>
                  </a:lnTo>
                  <a:lnTo>
                    <a:pt x="565150" y="1927226"/>
                  </a:lnTo>
                  <a:lnTo>
                    <a:pt x="561975" y="1924051"/>
                  </a:lnTo>
                  <a:lnTo>
                    <a:pt x="542925" y="1927226"/>
                  </a:lnTo>
                  <a:lnTo>
                    <a:pt x="539750" y="1920876"/>
                  </a:lnTo>
                  <a:lnTo>
                    <a:pt x="530225" y="1917701"/>
                  </a:lnTo>
                  <a:lnTo>
                    <a:pt x="527050" y="1920876"/>
                  </a:lnTo>
                  <a:lnTo>
                    <a:pt x="517525" y="1917701"/>
                  </a:lnTo>
                  <a:lnTo>
                    <a:pt x="511175" y="1917701"/>
                  </a:lnTo>
                  <a:lnTo>
                    <a:pt x="508000" y="1917701"/>
                  </a:lnTo>
                  <a:lnTo>
                    <a:pt x="504825" y="1914526"/>
                  </a:lnTo>
                  <a:lnTo>
                    <a:pt x="495300" y="1927226"/>
                  </a:lnTo>
                  <a:lnTo>
                    <a:pt x="488950" y="1933576"/>
                  </a:lnTo>
                  <a:lnTo>
                    <a:pt x="485775" y="1933576"/>
                  </a:lnTo>
                  <a:lnTo>
                    <a:pt x="466725" y="1952626"/>
                  </a:lnTo>
                  <a:lnTo>
                    <a:pt x="457200" y="1955801"/>
                  </a:lnTo>
                  <a:lnTo>
                    <a:pt x="457200" y="1958976"/>
                  </a:lnTo>
                  <a:lnTo>
                    <a:pt x="463550" y="1974851"/>
                  </a:lnTo>
                  <a:lnTo>
                    <a:pt x="454025" y="1981201"/>
                  </a:lnTo>
                  <a:lnTo>
                    <a:pt x="447675" y="1974851"/>
                  </a:lnTo>
                  <a:lnTo>
                    <a:pt x="438150" y="1962151"/>
                  </a:lnTo>
                  <a:lnTo>
                    <a:pt x="434975" y="1958976"/>
                  </a:lnTo>
                  <a:lnTo>
                    <a:pt x="428625" y="1965326"/>
                  </a:lnTo>
                  <a:lnTo>
                    <a:pt x="428625" y="1974851"/>
                  </a:lnTo>
                  <a:lnTo>
                    <a:pt x="425450" y="1978026"/>
                  </a:lnTo>
                  <a:lnTo>
                    <a:pt x="419100" y="1993901"/>
                  </a:lnTo>
                  <a:lnTo>
                    <a:pt x="425450" y="2003426"/>
                  </a:lnTo>
                  <a:lnTo>
                    <a:pt x="415925" y="2012951"/>
                  </a:lnTo>
                  <a:lnTo>
                    <a:pt x="412750" y="2028826"/>
                  </a:lnTo>
                  <a:lnTo>
                    <a:pt x="419100" y="2028826"/>
                  </a:lnTo>
                  <a:lnTo>
                    <a:pt x="422275" y="2032001"/>
                  </a:lnTo>
                  <a:lnTo>
                    <a:pt x="422275" y="2041526"/>
                  </a:lnTo>
                  <a:lnTo>
                    <a:pt x="425450" y="2044701"/>
                  </a:lnTo>
                  <a:lnTo>
                    <a:pt x="425450" y="2047876"/>
                  </a:lnTo>
                  <a:lnTo>
                    <a:pt x="431800" y="2047876"/>
                  </a:lnTo>
                  <a:lnTo>
                    <a:pt x="444500" y="2047876"/>
                  </a:lnTo>
                  <a:lnTo>
                    <a:pt x="450850" y="2054226"/>
                  </a:lnTo>
                  <a:lnTo>
                    <a:pt x="457200" y="2060576"/>
                  </a:lnTo>
                  <a:lnTo>
                    <a:pt x="466725" y="2079626"/>
                  </a:lnTo>
                  <a:lnTo>
                    <a:pt x="460375" y="2082801"/>
                  </a:lnTo>
                  <a:lnTo>
                    <a:pt x="457200" y="2079626"/>
                  </a:lnTo>
                  <a:lnTo>
                    <a:pt x="457200" y="2082801"/>
                  </a:lnTo>
                  <a:lnTo>
                    <a:pt x="469900" y="2092326"/>
                  </a:lnTo>
                  <a:lnTo>
                    <a:pt x="488950" y="2108201"/>
                  </a:lnTo>
                  <a:lnTo>
                    <a:pt x="473075" y="2124076"/>
                  </a:lnTo>
                  <a:lnTo>
                    <a:pt x="463550" y="2136776"/>
                  </a:lnTo>
                  <a:lnTo>
                    <a:pt x="460375" y="2143126"/>
                  </a:lnTo>
                  <a:lnTo>
                    <a:pt x="463550" y="2149476"/>
                  </a:lnTo>
                  <a:lnTo>
                    <a:pt x="466725" y="2165351"/>
                  </a:lnTo>
                  <a:lnTo>
                    <a:pt x="466725" y="2171701"/>
                  </a:lnTo>
                  <a:lnTo>
                    <a:pt x="469900" y="2178051"/>
                  </a:lnTo>
                  <a:lnTo>
                    <a:pt x="476250" y="2190751"/>
                  </a:lnTo>
                  <a:lnTo>
                    <a:pt x="482600" y="2203451"/>
                  </a:lnTo>
                  <a:lnTo>
                    <a:pt x="457200" y="2224088"/>
                  </a:lnTo>
                  <a:lnTo>
                    <a:pt x="447675" y="2236788"/>
                  </a:lnTo>
                  <a:lnTo>
                    <a:pt x="438150" y="2243138"/>
                  </a:lnTo>
                  <a:lnTo>
                    <a:pt x="428625" y="2239963"/>
                  </a:lnTo>
                  <a:lnTo>
                    <a:pt x="422275" y="2230438"/>
                  </a:lnTo>
                  <a:lnTo>
                    <a:pt x="409575" y="2224088"/>
                  </a:lnTo>
                  <a:lnTo>
                    <a:pt x="403225" y="2220913"/>
                  </a:lnTo>
                  <a:lnTo>
                    <a:pt x="393700" y="2216151"/>
                  </a:lnTo>
                  <a:lnTo>
                    <a:pt x="387350" y="2209801"/>
                  </a:lnTo>
                  <a:lnTo>
                    <a:pt x="381000" y="2203451"/>
                  </a:lnTo>
                  <a:lnTo>
                    <a:pt x="374650" y="2206626"/>
                  </a:lnTo>
                  <a:lnTo>
                    <a:pt x="361950" y="2206626"/>
                  </a:lnTo>
                  <a:lnTo>
                    <a:pt x="352425" y="2203451"/>
                  </a:lnTo>
                  <a:lnTo>
                    <a:pt x="342900" y="2197101"/>
                  </a:lnTo>
                  <a:lnTo>
                    <a:pt x="333375" y="2190751"/>
                  </a:lnTo>
                  <a:lnTo>
                    <a:pt x="320675" y="2187576"/>
                  </a:lnTo>
                  <a:lnTo>
                    <a:pt x="311150" y="2187576"/>
                  </a:lnTo>
                  <a:lnTo>
                    <a:pt x="301625" y="2184401"/>
                  </a:lnTo>
                  <a:lnTo>
                    <a:pt x="292100" y="2181226"/>
                  </a:lnTo>
                  <a:lnTo>
                    <a:pt x="282575" y="2178051"/>
                  </a:lnTo>
                  <a:lnTo>
                    <a:pt x="273050" y="2184401"/>
                  </a:lnTo>
                  <a:lnTo>
                    <a:pt x="254000" y="2165351"/>
                  </a:lnTo>
                  <a:lnTo>
                    <a:pt x="234950" y="2152651"/>
                  </a:lnTo>
                  <a:lnTo>
                    <a:pt x="225425" y="2146301"/>
                  </a:lnTo>
                  <a:lnTo>
                    <a:pt x="219075" y="2143126"/>
                  </a:lnTo>
                  <a:lnTo>
                    <a:pt x="209550" y="2136776"/>
                  </a:lnTo>
                  <a:lnTo>
                    <a:pt x="206375" y="2127251"/>
                  </a:lnTo>
                  <a:lnTo>
                    <a:pt x="215900" y="2127251"/>
                  </a:lnTo>
                  <a:lnTo>
                    <a:pt x="225425" y="2111376"/>
                  </a:lnTo>
                  <a:lnTo>
                    <a:pt x="228600" y="2105026"/>
                  </a:lnTo>
                  <a:lnTo>
                    <a:pt x="234950" y="2101851"/>
                  </a:lnTo>
                  <a:lnTo>
                    <a:pt x="241300" y="2101851"/>
                  </a:lnTo>
                  <a:lnTo>
                    <a:pt x="228600" y="2092326"/>
                  </a:lnTo>
                  <a:lnTo>
                    <a:pt x="225425" y="2082801"/>
                  </a:lnTo>
                  <a:lnTo>
                    <a:pt x="238125" y="2076451"/>
                  </a:lnTo>
                  <a:lnTo>
                    <a:pt x="244475" y="2076451"/>
                  </a:lnTo>
                  <a:lnTo>
                    <a:pt x="257175" y="2070101"/>
                  </a:lnTo>
                  <a:lnTo>
                    <a:pt x="257175" y="2066926"/>
                  </a:lnTo>
                  <a:lnTo>
                    <a:pt x="257175" y="2063751"/>
                  </a:lnTo>
                  <a:lnTo>
                    <a:pt x="254000" y="2063751"/>
                  </a:lnTo>
                  <a:lnTo>
                    <a:pt x="250825" y="2063751"/>
                  </a:lnTo>
                  <a:lnTo>
                    <a:pt x="247650" y="2066926"/>
                  </a:lnTo>
                  <a:lnTo>
                    <a:pt x="234950" y="2070101"/>
                  </a:lnTo>
                  <a:lnTo>
                    <a:pt x="234950" y="2060576"/>
                  </a:lnTo>
                  <a:lnTo>
                    <a:pt x="238125" y="2051051"/>
                  </a:lnTo>
                  <a:lnTo>
                    <a:pt x="247650" y="2047876"/>
                  </a:lnTo>
                  <a:lnTo>
                    <a:pt x="257175" y="2044701"/>
                  </a:lnTo>
                  <a:lnTo>
                    <a:pt x="266700" y="2044701"/>
                  </a:lnTo>
                  <a:lnTo>
                    <a:pt x="266700" y="2041526"/>
                  </a:lnTo>
                  <a:lnTo>
                    <a:pt x="269875" y="2035176"/>
                  </a:lnTo>
                  <a:lnTo>
                    <a:pt x="269875" y="2028826"/>
                  </a:lnTo>
                  <a:lnTo>
                    <a:pt x="266700" y="2022476"/>
                  </a:lnTo>
                  <a:lnTo>
                    <a:pt x="266700" y="2016126"/>
                  </a:lnTo>
                  <a:lnTo>
                    <a:pt x="266700" y="2006601"/>
                  </a:lnTo>
                  <a:lnTo>
                    <a:pt x="273050" y="2003426"/>
                  </a:lnTo>
                  <a:lnTo>
                    <a:pt x="276225" y="1997076"/>
                  </a:lnTo>
                  <a:lnTo>
                    <a:pt x="273050" y="1987551"/>
                  </a:lnTo>
                  <a:lnTo>
                    <a:pt x="244475" y="1978026"/>
                  </a:lnTo>
                  <a:lnTo>
                    <a:pt x="228600" y="1974851"/>
                  </a:lnTo>
                  <a:lnTo>
                    <a:pt x="222250" y="1968501"/>
                  </a:lnTo>
                  <a:lnTo>
                    <a:pt x="215900" y="1962151"/>
                  </a:lnTo>
                  <a:lnTo>
                    <a:pt x="212725" y="1962151"/>
                  </a:lnTo>
                  <a:lnTo>
                    <a:pt x="206375" y="1965326"/>
                  </a:lnTo>
                  <a:lnTo>
                    <a:pt x="193675" y="1965326"/>
                  </a:lnTo>
                  <a:lnTo>
                    <a:pt x="177800" y="1958976"/>
                  </a:lnTo>
                  <a:lnTo>
                    <a:pt x="174625" y="1952626"/>
                  </a:lnTo>
                  <a:lnTo>
                    <a:pt x="171450" y="1943101"/>
                  </a:lnTo>
                  <a:lnTo>
                    <a:pt x="165100" y="1933576"/>
                  </a:lnTo>
                  <a:lnTo>
                    <a:pt x="149225" y="1930401"/>
                  </a:lnTo>
                  <a:lnTo>
                    <a:pt x="146050" y="1917701"/>
                  </a:lnTo>
                  <a:lnTo>
                    <a:pt x="142875" y="1898651"/>
                  </a:lnTo>
                  <a:lnTo>
                    <a:pt x="139700" y="1895476"/>
                  </a:lnTo>
                  <a:lnTo>
                    <a:pt x="130175" y="1892301"/>
                  </a:lnTo>
                  <a:lnTo>
                    <a:pt x="117475" y="1898651"/>
                  </a:lnTo>
                  <a:lnTo>
                    <a:pt x="104775" y="1905001"/>
                  </a:lnTo>
                  <a:lnTo>
                    <a:pt x="101600" y="1905001"/>
                  </a:lnTo>
                  <a:lnTo>
                    <a:pt x="95250" y="1901826"/>
                  </a:lnTo>
                  <a:lnTo>
                    <a:pt x="92075" y="1895476"/>
                  </a:lnTo>
                  <a:lnTo>
                    <a:pt x="92075" y="1892301"/>
                  </a:lnTo>
                  <a:lnTo>
                    <a:pt x="92075" y="1889126"/>
                  </a:lnTo>
                  <a:lnTo>
                    <a:pt x="88900" y="1882776"/>
                  </a:lnTo>
                  <a:lnTo>
                    <a:pt x="88900" y="1876426"/>
                  </a:lnTo>
                  <a:lnTo>
                    <a:pt x="85725" y="1873251"/>
                  </a:lnTo>
                  <a:lnTo>
                    <a:pt x="85725" y="1863726"/>
                  </a:lnTo>
                  <a:lnTo>
                    <a:pt x="92075" y="1863726"/>
                  </a:lnTo>
                  <a:lnTo>
                    <a:pt x="95250" y="1866901"/>
                  </a:lnTo>
                  <a:lnTo>
                    <a:pt x="101600" y="1870076"/>
                  </a:lnTo>
                  <a:lnTo>
                    <a:pt x="111125" y="1860551"/>
                  </a:lnTo>
                  <a:lnTo>
                    <a:pt x="117475" y="1854201"/>
                  </a:lnTo>
                  <a:lnTo>
                    <a:pt x="111125" y="1844676"/>
                  </a:lnTo>
                  <a:lnTo>
                    <a:pt x="95250" y="1841501"/>
                  </a:lnTo>
                  <a:lnTo>
                    <a:pt x="98425" y="1835151"/>
                  </a:lnTo>
                  <a:lnTo>
                    <a:pt x="82550" y="1809751"/>
                  </a:lnTo>
                  <a:lnTo>
                    <a:pt x="79375" y="1809751"/>
                  </a:lnTo>
                  <a:lnTo>
                    <a:pt x="76200" y="1797051"/>
                  </a:lnTo>
                  <a:lnTo>
                    <a:pt x="79375" y="1784351"/>
                  </a:lnTo>
                  <a:lnTo>
                    <a:pt x="76200" y="1774826"/>
                  </a:lnTo>
                  <a:lnTo>
                    <a:pt x="57150" y="1765301"/>
                  </a:lnTo>
                  <a:lnTo>
                    <a:pt x="44450" y="1768476"/>
                  </a:lnTo>
                  <a:lnTo>
                    <a:pt x="38100" y="1758951"/>
                  </a:lnTo>
                  <a:lnTo>
                    <a:pt x="31750" y="1758951"/>
                  </a:lnTo>
                  <a:lnTo>
                    <a:pt x="28575" y="1758951"/>
                  </a:lnTo>
                  <a:lnTo>
                    <a:pt x="22225" y="1755776"/>
                  </a:lnTo>
                  <a:lnTo>
                    <a:pt x="19050" y="1758951"/>
                  </a:lnTo>
                  <a:lnTo>
                    <a:pt x="15875" y="1752601"/>
                  </a:lnTo>
                  <a:lnTo>
                    <a:pt x="19050" y="1746251"/>
                  </a:lnTo>
                  <a:lnTo>
                    <a:pt x="15875" y="1736726"/>
                  </a:lnTo>
                  <a:lnTo>
                    <a:pt x="9525" y="1717676"/>
                  </a:lnTo>
                  <a:lnTo>
                    <a:pt x="9525" y="1711326"/>
                  </a:lnTo>
                  <a:lnTo>
                    <a:pt x="9525" y="1708151"/>
                  </a:lnTo>
                  <a:lnTo>
                    <a:pt x="0" y="1698626"/>
                  </a:lnTo>
                  <a:lnTo>
                    <a:pt x="3175" y="1689101"/>
                  </a:lnTo>
                  <a:lnTo>
                    <a:pt x="6350" y="1689101"/>
                  </a:lnTo>
                  <a:lnTo>
                    <a:pt x="9525" y="1682751"/>
                  </a:lnTo>
                  <a:lnTo>
                    <a:pt x="6350" y="1679576"/>
                  </a:lnTo>
                  <a:lnTo>
                    <a:pt x="3175" y="1654176"/>
                  </a:lnTo>
                  <a:lnTo>
                    <a:pt x="9525" y="1631951"/>
                  </a:lnTo>
                  <a:lnTo>
                    <a:pt x="12700" y="1619251"/>
                  </a:lnTo>
                  <a:lnTo>
                    <a:pt x="15875" y="1612901"/>
                  </a:lnTo>
                  <a:lnTo>
                    <a:pt x="28575" y="1606551"/>
                  </a:lnTo>
                  <a:lnTo>
                    <a:pt x="34925" y="1603376"/>
                  </a:lnTo>
                  <a:lnTo>
                    <a:pt x="38100" y="1597026"/>
                  </a:lnTo>
                  <a:lnTo>
                    <a:pt x="34925" y="1587501"/>
                  </a:lnTo>
                  <a:lnTo>
                    <a:pt x="22225" y="1574801"/>
                  </a:lnTo>
                  <a:lnTo>
                    <a:pt x="9525" y="1574801"/>
                  </a:lnTo>
                  <a:lnTo>
                    <a:pt x="53975" y="1527176"/>
                  </a:lnTo>
                  <a:lnTo>
                    <a:pt x="76200" y="1492250"/>
                  </a:lnTo>
                  <a:lnTo>
                    <a:pt x="85725" y="1482725"/>
                  </a:lnTo>
                  <a:lnTo>
                    <a:pt x="92075" y="1466850"/>
                  </a:lnTo>
                  <a:lnTo>
                    <a:pt x="69850" y="1441450"/>
                  </a:lnTo>
                  <a:lnTo>
                    <a:pt x="60325" y="1431925"/>
                  </a:lnTo>
                  <a:lnTo>
                    <a:pt x="57150" y="1425575"/>
                  </a:lnTo>
                  <a:lnTo>
                    <a:pt x="60325" y="1422400"/>
                  </a:lnTo>
                  <a:lnTo>
                    <a:pt x="69850" y="1409700"/>
                  </a:lnTo>
                  <a:lnTo>
                    <a:pt x="63500" y="1384300"/>
                  </a:lnTo>
                  <a:lnTo>
                    <a:pt x="53975" y="1374775"/>
                  </a:lnTo>
                  <a:lnTo>
                    <a:pt x="47625" y="1362075"/>
                  </a:lnTo>
                  <a:lnTo>
                    <a:pt x="50800" y="1343025"/>
                  </a:lnTo>
                  <a:lnTo>
                    <a:pt x="53975" y="1330325"/>
                  </a:lnTo>
                  <a:lnTo>
                    <a:pt x="60325" y="1323975"/>
                  </a:lnTo>
                  <a:lnTo>
                    <a:pt x="44450" y="1276350"/>
                  </a:lnTo>
                  <a:lnTo>
                    <a:pt x="38100" y="1260475"/>
                  </a:lnTo>
                  <a:lnTo>
                    <a:pt x="41275" y="1250950"/>
                  </a:lnTo>
                  <a:lnTo>
                    <a:pt x="47625" y="1241425"/>
                  </a:lnTo>
                  <a:lnTo>
                    <a:pt x="57150" y="1225550"/>
                  </a:lnTo>
                  <a:lnTo>
                    <a:pt x="57150" y="1216025"/>
                  </a:lnTo>
                  <a:lnTo>
                    <a:pt x="50800" y="1206500"/>
                  </a:lnTo>
                  <a:lnTo>
                    <a:pt x="38100" y="1193800"/>
                  </a:lnTo>
                  <a:lnTo>
                    <a:pt x="31750" y="1190625"/>
                  </a:lnTo>
                  <a:lnTo>
                    <a:pt x="25400" y="1181100"/>
                  </a:lnTo>
                  <a:lnTo>
                    <a:pt x="22225" y="1168400"/>
                  </a:lnTo>
                  <a:lnTo>
                    <a:pt x="22225" y="1149350"/>
                  </a:lnTo>
                  <a:lnTo>
                    <a:pt x="28575" y="1143000"/>
                  </a:lnTo>
                  <a:lnTo>
                    <a:pt x="34925" y="1139825"/>
                  </a:lnTo>
                  <a:lnTo>
                    <a:pt x="41275" y="1127125"/>
                  </a:lnTo>
                  <a:lnTo>
                    <a:pt x="41275" y="1123950"/>
                  </a:lnTo>
                  <a:lnTo>
                    <a:pt x="57150" y="1114425"/>
                  </a:lnTo>
                  <a:lnTo>
                    <a:pt x="63500" y="1108075"/>
                  </a:lnTo>
                  <a:lnTo>
                    <a:pt x="73025" y="1108075"/>
                  </a:lnTo>
                  <a:lnTo>
                    <a:pt x="76200" y="1092200"/>
                  </a:lnTo>
                  <a:lnTo>
                    <a:pt x="85725" y="1098550"/>
                  </a:lnTo>
                  <a:lnTo>
                    <a:pt x="92075" y="1098550"/>
                  </a:lnTo>
                  <a:lnTo>
                    <a:pt x="95250" y="1092200"/>
                  </a:lnTo>
                  <a:lnTo>
                    <a:pt x="101600" y="1082675"/>
                  </a:lnTo>
                  <a:lnTo>
                    <a:pt x="114300" y="1092200"/>
                  </a:lnTo>
                  <a:lnTo>
                    <a:pt x="123825" y="1095375"/>
                  </a:lnTo>
                  <a:lnTo>
                    <a:pt x="120650" y="1108075"/>
                  </a:lnTo>
                  <a:lnTo>
                    <a:pt x="130175" y="1114425"/>
                  </a:lnTo>
                  <a:lnTo>
                    <a:pt x="142875" y="1120775"/>
                  </a:lnTo>
                  <a:lnTo>
                    <a:pt x="161925" y="1123950"/>
                  </a:lnTo>
                  <a:lnTo>
                    <a:pt x="184150" y="1130300"/>
                  </a:lnTo>
                  <a:lnTo>
                    <a:pt x="212725" y="1152525"/>
                  </a:lnTo>
                  <a:lnTo>
                    <a:pt x="225425" y="1162050"/>
                  </a:lnTo>
                  <a:lnTo>
                    <a:pt x="238125" y="1174750"/>
                  </a:lnTo>
                  <a:lnTo>
                    <a:pt x="254000" y="1190625"/>
                  </a:lnTo>
                  <a:lnTo>
                    <a:pt x="263525" y="1196975"/>
                  </a:lnTo>
                  <a:lnTo>
                    <a:pt x="292100" y="1216025"/>
                  </a:lnTo>
                  <a:lnTo>
                    <a:pt x="301625" y="1244600"/>
                  </a:lnTo>
                  <a:lnTo>
                    <a:pt x="298450" y="1266825"/>
                  </a:lnTo>
                  <a:lnTo>
                    <a:pt x="288925" y="1282700"/>
                  </a:lnTo>
                  <a:lnTo>
                    <a:pt x="276225" y="1295400"/>
                  </a:lnTo>
                  <a:lnTo>
                    <a:pt x="250825" y="1304925"/>
                  </a:lnTo>
                  <a:lnTo>
                    <a:pt x="225425" y="1304925"/>
                  </a:lnTo>
                  <a:lnTo>
                    <a:pt x="196850" y="1295400"/>
                  </a:lnTo>
                  <a:lnTo>
                    <a:pt x="168275" y="1285875"/>
                  </a:lnTo>
                  <a:lnTo>
                    <a:pt x="142875" y="1273175"/>
                  </a:lnTo>
                  <a:lnTo>
                    <a:pt x="130175" y="1270000"/>
                  </a:lnTo>
                  <a:lnTo>
                    <a:pt x="117475" y="1257300"/>
                  </a:lnTo>
                  <a:lnTo>
                    <a:pt x="117475" y="1254125"/>
                  </a:lnTo>
                  <a:lnTo>
                    <a:pt x="111125" y="1247775"/>
                  </a:lnTo>
                  <a:lnTo>
                    <a:pt x="95250" y="1247775"/>
                  </a:lnTo>
                  <a:lnTo>
                    <a:pt x="107950" y="1260475"/>
                  </a:lnTo>
                  <a:lnTo>
                    <a:pt x="114300" y="1266825"/>
                  </a:lnTo>
                  <a:lnTo>
                    <a:pt x="117475" y="1276350"/>
                  </a:lnTo>
                  <a:lnTo>
                    <a:pt x="130175" y="1285875"/>
                  </a:lnTo>
                  <a:lnTo>
                    <a:pt x="136525" y="1292225"/>
                  </a:lnTo>
                  <a:lnTo>
                    <a:pt x="161925" y="1317625"/>
                  </a:lnTo>
                  <a:lnTo>
                    <a:pt x="165100" y="1327150"/>
                  </a:lnTo>
                  <a:lnTo>
                    <a:pt x="158750" y="1339850"/>
                  </a:lnTo>
                  <a:lnTo>
                    <a:pt x="155575" y="1339850"/>
                  </a:lnTo>
                  <a:lnTo>
                    <a:pt x="152400" y="1343025"/>
                  </a:lnTo>
                  <a:lnTo>
                    <a:pt x="158750" y="1365250"/>
                  </a:lnTo>
                  <a:lnTo>
                    <a:pt x="161925" y="1374775"/>
                  </a:lnTo>
                  <a:lnTo>
                    <a:pt x="158750" y="1387475"/>
                  </a:lnTo>
                  <a:lnTo>
                    <a:pt x="171450" y="1397000"/>
                  </a:lnTo>
                  <a:lnTo>
                    <a:pt x="174625" y="1397000"/>
                  </a:lnTo>
                  <a:lnTo>
                    <a:pt x="177800" y="1393825"/>
                  </a:lnTo>
                  <a:lnTo>
                    <a:pt x="187325" y="1403350"/>
                  </a:lnTo>
                  <a:lnTo>
                    <a:pt x="190500" y="1412875"/>
                  </a:lnTo>
                  <a:lnTo>
                    <a:pt x="200025" y="1416050"/>
                  </a:lnTo>
                  <a:lnTo>
                    <a:pt x="209550" y="1419225"/>
                  </a:lnTo>
                  <a:lnTo>
                    <a:pt x="222250" y="1416050"/>
                  </a:lnTo>
                  <a:lnTo>
                    <a:pt x="231775" y="1412875"/>
                  </a:lnTo>
                  <a:lnTo>
                    <a:pt x="228600" y="1400175"/>
                  </a:lnTo>
                  <a:lnTo>
                    <a:pt x="209550" y="1393825"/>
                  </a:lnTo>
                  <a:lnTo>
                    <a:pt x="200025" y="1374775"/>
                  </a:lnTo>
                  <a:lnTo>
                    <a:pt x="203200" y="1358900"/>
                  </a:lnTo>
                  <a:lnTo>
                    <a:pt x="206375" y="1352550"/>
                  </a:lnTo>
                  <a:lnTo>
                    <a:pt x="222250" y="1358900"/>
                  </a:lnTo>
                  <a:lnTo>
                    <a:pt x="231775" y="1374775"/>
                  </a:lnTo>
                  <a:lnTo>
                    <a:pt x="238125" y="1374775"/>
                  </a:lnTo>
                  <a:lnTo>
                    <a:pt x="244475" y="1374775"/>
                  </a:lnTo>
                  <a:lnTo>
                    <a:pt x="257175" y="1381125"/>
                  </a:lnTo>
                  <a:lnTo>
                    <a:pt x="269875" y="1387475"/>
                  </a:lnTo>
                  <a:lnTo>
                    <a:pt x="282575" y="1387475"/>
                  </a:lnTo>
                  <a:lnTo>
                    <a:pt x="282575" y="1384300"/>
                  </a:lnTo>
                  <a:lnTo>
                    <a:pt x="269875" y="1352550"/>
                  </a:lnTo>
                  <a:lnTo>
                    <a:pt x="266700" y="1339850"/>
                  </a:lnTo>
                  <a:lnTo>
                    <a:pt x="269875" y="1330325"/>
                  </a:lnTo>
                  <a:lnTo>
                    <a:pt x="288925" y="1314450"/>
                  </a:lnTo>
                  <a:lnTo>
                    <a:pt x="307975" y="1301750"/>
                  </a:lnTo>
                  <a:lnTo>
                    <a:pt x="317500" y="1289050"/>
                  </a:lnTo>
                  <a:lnTo>
                    <a:pt x="323850" y="1282700"/>
                  </a:lnTo>
                  <a:lnTo>
                    <a:pt x="339725" y="1289050"/>
                  </a:lnTo>
                  <a:lnTo>
                    <a:pt x="352425" y="1295400"/>
                  </a:lnTo>
                  <a:lnTo>
                    <a:pt x="358775" y="1301750"/>
                  </a:lnTo>
                  <a:lnTo>
                    <a:pt x="361950" y="1298575"/>
                  </a:lnTo>
                  <a:lnTo>
                    <a:pt x="368300" y="1276350"/>
                  </a:lnTo>
                  <a:lnTo>
                    <a:pt x="368300" y="1263650"/>
                  </a:lnTo>
                  <a:lnTo>
                    <a:pt x="361950" y="1247775"/>
                  </a:lnTo>
                  <a:lnTo>
                    <a:pt x="352425" y="1244600"/>
                  </a:lnTo>
                  <a:lnTo>
                    <a:pt x="358775" y="1225550"/>
                  </a:lnTo>
                  <a:lnTo>
                    <a:pt x="361950" y="1193800"/>
                  </a:lnTo>
                  <a:lnTo>
                    <a:pt x="365125" y="1184275"/>
                  </a:lnTo>
                  <a:lnTo>
                    <a:pt x="358775" y="1177925"/>
                  </a:lnTo>
                  <a:lnTo>
                    <a:pt x="346075" y="1168400"/>
                  </a:lnTo>
                  <a:lnTo>
                    <a:pt x="342900" y="1162050"/>
                  </a:lnTo>
                  <a:lnTo>
                    <a:pt x="346075" y="1162050"/>
                  </a:lnTo>
                  <a:lnTo>
                    <a:pt x="358775" y="1168400"/>
                  </a:lnTo>
                  <a:lnTo>
                    <a:pt x="371475" y="1168400"/>
                  </a:lnTo>
                  <a:lnTo>
                    <a:pt x="396875" y="1171575"/>
                  </a:lnTo>
                  <a:lnTo>
                    <a:pt x="406400" y="1184275"/>
                  </a:lnTo>
                  <a:lnTo>
                    <a:pt x="412750" y="1193800"/>
                  </a:lnTo>
                  <a:lnTo>
                    <a:pt x="415925" y="1206500"/>
                  </a:lnTo>
                  <a:lnTo>
                    <a:pt x="406400" y="1212850"/>
                  </a:lnTo>
                  <a:lnTo>
                    <a:pt x="393700" y="1212850"/>
                  </a:lnTo>
                  <a:lnTo>
                    <a:pt x="384175" y="1225550"/>
                  </a:lnTo>
                  <a:lnTo>
                    <a:pt x="381000" y="1238250"/>
                  </a:lnTo>
                  <a:lnTo>
                    <a:pt x="393700" y="1254125"/>
                  </a:lnTo>
                  <a:lnTo>
                    <a:pt x="396875" y="1263650"/>
                  </a:lnTo>
                  <a:lnTo>
                    <a:pt x="403225" y="1266825"/>
                  </a:lnTo>
                  <a:lnTo>
                    <a:pt x="412750" y="1266825"/>
                  </a:lnTo>
                  <a:lnTo>
                    <a:pt x="428625" y="1263650"/>
                  </a:lnTo>
                  <a:lnTo>
                    <a:pt x="438150" y="1257300"/>
                  </a:lnTo>
                  <a:lnTo>
                    <a:pt x="441325" y="1235075"/>
                  </a:lnTo>
                  <a:lnTo>
                    <a:pt x="441325" y="1225550"/>
                  </a:lnTo>
                  <a:lnTo>
                    <a:pt x="447675" y="1219200"/>
                  </a:lnTo>
                  <a:lnTo>
                    <a:pt x="460375" y="1216025"/>
                  </a:lnTo>
                  <a:lnTo>
                    <a:pt x="488950" y="1193800"/>
                  </a:lnTo>
                  <a:lnTo>
                    <a:pt x="501650" y="1184275"/>
                  </a:lnTo>
                  <a:lnTo>
                    <a:pt x="514350" y="1177925"/>
                  </a:lnTo>
                  <a:lnTo>
                    <a:pt x="527050" y="1171575"/>
                  </a:lnTo>
                  <a:lnTo>
                    <a:pt x="549275" y="1155700"/>
                  </a:lnTo>
                  <a:lnTo>
                    <a:pt x="561975" y="1149350"/>
                  </a:lnTo>
                  <a:lnTo>
                    <a:pt x="574675" y="1143000"/>
                  </a:lnTo>
                  <a:lnTo>
                    <a:pt x="581025" y="1146175"/>
                  </a:lnTo>
                  <a:lnTo>
                    <a:pt x="571500" y="1155700"/>
                  </a:lnTo>
                  <a:lnTo>
                    <a:pt x="561975" y="1177925"/>
                  </a:lnTo>
                  <a:lnTo>
                    <a:pt x="558800" y="1187450"/>
                  </a:lnTo>
                  <a:lnTo>
                    <a:pt x="571500" y="1187450"/>
                  </a:lnTo>
                  <a:lnTo>
                    <a:pt x="581025" y="1187450"/>
                  </a:lnTo>
                  <a:lnTo>
                    <a:pt x="593725" y="1177925"/>
                  </a:lnTo>
                  <a:lnTo>
                    <a:pt x="603250" y="1168400"/>
                  </a:lnTo>
                  <a:lnTo>
                    <a:pt x="615950" y="1165225"/>
                  </a:lnTo>
                  <a:lnTo>
                    <a:pt x="628650" y="1168400"/>
                  </a:lnTo>
                  <a:lnTo>
                    <a:pt x="628650" y="1165225"/>
                  </a:lnTo>
                  <a:lnTo>
                    <a:pt x="647700" y="1165225"/>
                  </a:lnTo>
                  <a:lnTo>
                    <a:pt x="650875" y="1158875"/>
                  </a:lnTo>
                  <a:lnTo>
                    <a:pt x="660400" y="1152525"/>
                  </a:lnTo>
                  <a:lnTo>
                    <a:pt x="676275" y="1143000"/>
                  </a:lnTo>
                  <a:lnTo>
                    <a:pt x="679450" y="1146175"/>
                  </a:lnTo>
                  <a:lnTo>
                    <a:pt x="682625" y="1146175"/>
                  </a:lnTo>
                  <a:lnTo>
                    <a:pt x="692150" y="1158875"/>
                  </a:lnTo>
                  <a:lnTo>
                    <a:pt x="685800" y="1168400"/>
                  </a:lnTo>
                  <a:lnTo>
                    <a:pt x="685800" y="1177925"/>
                  </a:lnTo>
                  <a:lnTo>
                    <a:pt x="692150" y="1181100"/>
                  </a:lnTo>
                  <a:lnTo>
                    <a:pt x="701675" y="1177925"/>
                  </a:lnTo>
                  <a:lnTo>
                    <a:pt x="717550" y="1155700"/>
                  </a:lnTo>
                  <a:lnTo>
                    <a:pt x="723900" y="1136650"/>
                  </a:lnTo>
                  <a:lnTo>
                    <a:pt x="720725" y="1130300"/>
                  </a:lnTo>
                  <a:lnTo>
                    <a:pt x="714375" y="1120775"/>
                  </a:lnTo>
                  <a:lnTo>
                    <a:pt x="708025" y="1108075"/>
                  </a:lnTo>
                  <a:lnTo>
                    <a:pt x="711200" y="1101725"/>
                  </a:lnTo>
                  <a:lnTo>
                    <a:pt x="723900" y="1089025"/>
                  </a:lnTo>
                  <a:lnTo>
                    <a:pt x="733425" y="1092200"/>
                  </a:lnTo>
                  <a:lnTo>
                    <a:pt x="762000" y="1095375"/>
                  </a:lnTo>
                  <a:lnTo>
                    <a:pt x="790575" y="1108075"/>
                  </a:lnTo>
                  <a:lnTo>
                    <a:pt x="800100" y="1114425"/>
                  </a:lnTo>
                  <a:lnTo>
                    <a:pt x="812800" y="1123950"/>
                  </a:lnTo>
                  <a:lnTo>
                    <a:pt x="822325" y="1130300"/>
                  </a:lnTo>
                  <a:lnTo>
                    <a:pt x="825500" y="1133475"/>
                  </a:lnTo>
                  <a:lnTo>
                    <a:pt x="831850" y="1139825"/>
                  </a:lnTo>
                  <a:lnTo>
                    <a:pt x="841375" y="1143000"/>
                  </a:lnTo>
                  <a:lnTo>
                    <a:pt x="857250" y="1155700"/>
                  </a:lnTo>
                  <a:lnTo>
                    <a:pt x="869950" y="1168400"/>
                  </a:lnTo>
                  <a:lnTo>
                    <a:pt x="879475" y="1174750"/>
                  </a:lnTo>
                  <a:lnTo>
                    <a:pt x="882650" y="1184275"/>
                  </a:lnTo>
                  <a:lnTo>
                    <a:pt x="882650" y="1190625"/>
                  </a:lnTo>
                  <a:lnTo>
                    <a:pt x="892175" y="1184275"/>
                  </a:lnTo>
                  <a:lnTo>
                    <a:pt x="895350" y="1165225"/>
                  </a:lnTo>
                  <a:lnTo>
                    <a:pt x="895350" y="1146175"/>
                  </a:lnTo>
                  <a:lnTo>
                    <a:pt x="879475" y="1127125"/>
                  </a:lnTo>
                  <a:lnTo>
                    <a:pt x="876300" y="1111250"/>
                  </a:lnTo>
                  <a:lnTo>
                    <a:pt x="866775" y="1104900"/>
                  </a:lnTo>
                  <a:lnTo>
                    <a:pt x="860425" y="1101725"/>
                  </a:lnTo>
                  <a:lnTo>
                    <a:pt x="854075" y="1098550"/>
                  </a:lnTo>
                  <a:lnTo>
                    <a:pt x="854075" y="1108075"/>
                  </a:lnTo>
                  <a:lnTo>
                    <a:pt x="850900" y="1089025"/>
                  </a:lnTo>
                  <a:lnTo>
                    <a:pt x="854075" y="1079500"/>
                  </a:lnTo>
                  <a:lnTo>
                    <a:pt x="860425" y="1041400"/>
                  </a:lnTo>
                  <a:lnTo>
                    <a:pt x="857250" y="1028700"/>
                  </a:lnTo>
                  <a:lnTo>
                    <a:pt x="850900" y="1031875"/>
                  </a:lnTo>
                  <a:lnTo>
                    <a:pt x="847725" y="1009650"/>
                  </a:lnTo>
                  <a:lnTo>
                    <a:pt x="854075" y="996950"/>
                  </a:lnTo>
                  <a:lnTo>
                    <a:pt x="857250" y="996950"/>
                  </a:lnTo>
                  <a:lnTo>
                    <a:pt x="882650" y="971550"/>
                  </a:lnTo>
                  <a:lnTo>
                    <a:pt x="898525" y="898525"/>
                  </a:lnTo>
                  <a:lnTo>
                    <a:pt x="904875" y="885825"/>
                  </a:lnTo>
                  <a:lnTo>
                    <a:pt x="908050" y="879475"/>
                  </a:lnTo>
                  <a:lnTo>
                    <a:pt x="914400" y="879475"/>
                  </a:lnTo>
                  <a:lnTo>
                    <a:pt x="936625" y="882650"/>
                  </a:lnTo>
                  <a:lnTo>
                    <a:pt x="952500" y="882650"/>
                  </a:lnTo>
                  <a:lnTo>
                    <a:pt x="974725" y="895350"/>
                  </a:lnTo>
                  <a:lnTo>
                    <a:pt x="981075" y="898525"/>
                  </a:lnTo>
                  <a:lnTo>
                    <a:pt x="981075" y="920750"/>
                  </a:lnTo>
                  <a:lnTo>
                    <a:pt x="974725" y="946150"/>
                  </a:lnTo>
                  <a:lnTo>
                    <a:pt x="971550" y="965200"/>
                  </a:lnTo>
                  <a:lnTo>
                    <a:pt x="968375" y="971550"/>
                  </a:lnTo>
                  <a:lnTo>
                    <a:pt x="958850" y="984250"/>
                  </a:lnTo>
                  <a:lnTo>
                    <a:pt x="965200" y="996950"/>
                  </a:lnTo>
                  <a:lnTo>
                    <a:pt x="974725" y="1006475"/>
                  </a:lnTo>
                  <a:lnTo>
                    <a:pt x="981075" y="1022350"/>
                  </a:lnTo>
                  <a:lnTo>
                    <a:pt x="981075" y="1031875"/>
                  </a:lnTo>
                  <a:lnTo>
                    <a:pt x="977900" y="1054100"/>
                  </a:lnTo>
                  <a:lnTo>
                    <a:pt x="974725" y="1060450"/>
                  </a:lnTo>
                  <a:lnTo>
                    <a:pt x="977900" y="1085850"/>
                  </a:lnTo>
                  <a:lnTo>
                    <a:pt x="977900" y="1123950"/>
                  </a:lnTo>
                  <a:lnTo>
                    <a:pt x="974725" y="1130300"/>
                  </a:lnTo>
                  <a:lnTo>
                    <a:pt x="974725" y="1143000"/>
                  </a:lnTo>
                  <a:lnTo>
                    <a:pt x="984250" y="1155700"/>
                  </a:lnTo>
                  <a:lnTo>
                    <a:pt x="996950" y="1168400"/>
                  </a:lnTo>
                  <a:lnTo>
                    <a:pt x="1000125" y="1174750"/>
                  </a:lnTo>
                  <a:lnTo>
                    <a:pt x="996950" y="1174750"/>
                  </a:lnTo>
                  <a:lnTo>
                    <a:pt x="990600" y="1184275"/>
                  </a:lnTo>
                  <a:lnTo>
                    <a:pt x="987425" y="1187450"/>
                  </a:lnTo>
                  <a:lnTo>
                    <a:pt x="987425" y="1200150"/>
                  </a:lnTo>
                  <a:lnTo>
                    <a:pt x="981075" y="1222375"/>
                  </a:lnTo>
                  <a:lnTo>
                    <a:pt x="965200" y="1254125"/>
                  </a:lnTo>
                  <a:lnTo>
                    <a:pt x="949325" y="1263650"/>
                  </a:lnTo>
                  <a:lnTo>
                    <a:pt x="955675" y="1273175"/>
                  </a:lnTo>
                  <a:lnTo>
                    <a:pt x="952500" y="1276350"/>
                  </a:lnTo>
                  <a:lnTo>
                    <a:pt x="955675" y="1295400"/>
                  </a:lnTo>
                  <a:lnTo>
                    <a:pt x="958850" y="1298575"/>
                  </a:lnTo>
                  <a:lnTo>
                    <a:pt x="965200" y="1298575"/>
                  </a:lnTo>
                  <a:lnTo>
                    <a:pt x="968375" y="1292225"/>
                  </a:lnTo>
                  <a:lnTo>
                    <a:pt x="974725" y="1279525"/>
                  </a:lnTo>
                  <a:lnTo>
                    <a:pt x="984250" y="1270000"/>
                  </a:lnTo>
                  <a:lnTo>
                    <a:pt x="996950" y="1266825"/>
                  </a:lnTo>
                  <a:lnTo>
                    <a:pt x="1003300" y="1257300"/>
                  </a:lnTo>
                  <a:lnTo>
                    <a:pt x="1006475" y="1247775"/>
                  </a:lnTo>
                  <a:lnTo>
                    <a:pt x="1019175" y="1225550"/>
                  </a:lnTo>
                  <a:lnTo>
                    <a:pt x="1025525" y="1206500"/>
                  </a:lnTo>
                  <a:lnTo>
                    <a:pt x="1019175" y="1184275"/>
                  </a:lnTo>
                  <a:lnTo>
                    <a:pt x="1012825" y="1177925"/>
                  </a:lnTo>
                  <a:lnTo>
                    <a:pt x="1016000" y="1165225"/>
                  </a:lnTo>
                  <a:lnTo>
                    <a:pt x="1025525" y="1152525"/>
                  </a:lnTo>
                  <a:lnTo>
                    <a:pt x="1038225" y="1149350"/>
                  </a:lnTo>
                  <a:lnTo>
                    <a:pt x="1050925" y="1143000"/>
                  </a:lnTo>
                  <a:lnTo>
                    <a:pt x="1057275" y="1133475"/>
                  </a:lnTo>
                  <a:lnTo>
                    <a:pt x="1035050" y="1130300"/>
                  </a:lnTo>
                  <a:lnTo>
                    <a:pt x="1022350" y="1133475"/>
                  </a:lnTo>
                  <a:lnTo>
                    <a:pt x="1009650" y="1136650"/>
                  </a:lnTo>
                  <a:lnTo>
                    <a:pt x="1000125" y="1127125"/>
                  </a:lnTo>
                  <a:lnTo>
                    <a:pt x="1000125" y="1085850"/>
                  </a:lnTo>
                  <a:lnTo>
                    <a:pt x="1009650" y="1054100"/>
                  </a:lnTo>
                  <a:lnTo>
                    <a:pt x="1012825" y="1035050"/>
                  </a:lnTo>
                  <a:lnTo>
                    <a:pt x="987425" y="990600"/>
                  </a:lnTo>
                  <a:lnTo>
                    <a:pt x="996950" y="958850"/>
                  </a:lnTo>
                  <a:lnTo>
                    <a:pt x="1012825" y="949325"/>
                  </a:lnTo>
                  <a:lnTo>
                    <a:pt x="1028700" y="939800"/>
                  </a:lnTo>
                  <a:lnTo>
                    <a:pt x="1028700" y="908050"/>
                  </a:lnTo>
                  <a:lnTo>
                    <a:pt x="1025525" y="885825"/>
                  </a:lnTo>
                  <a:lnTo>
                    <a:pt x="1038225" y="892175"/>
                  </a:lnTo>
                  <a:lnTo>
                    <a:pt x="1041400" y="908050"/>
                  </a:lnTo>
                  <a:lnTo>
                    <a:pt x="1041400" y="927100"/>
                  </a:lnTo>
                  <a:lnTo>
                    <a:pt x="1038225" y="946150"/>
                  </a:lnTo>
                  <a:lnTo>
                    <a:pt x="1031875" y="958850"/>
                  </a:lnTo>
                  <a:lnTo>
                    <a:pt x="1035050" y="990600"/>
                  </a:lnTo>
                  <a:lnTo>
                    <a:pt x="1044575" y="1000125"/>
                  </a:lnTo>
                  <a:lnTo>
                    <a:pt x="1060450" y="1003300"/>
                  </a:lnTo>
                  <a:lnTo>
                    <a:pt x="1069975" y="1009650"/>
                  </a:lnTo>
                  <a:lnTo>
                    <a:pt x="1066800" y="984250"/>
                  </a:lnTo>
                  <a:lnTo>
                    <a:pt x="1054100" y="977900"/>
                  </a:lnTo>
                  <a:lnTo>
                    <a:pt x="1050925" y="958850"/>
                  </a:lnTo>
                  <a:lnTo>
                    <a:pt x="1050925" y="952500"/>
                  </a:lnTo>
                  <a:lnTo>
                    <a:pt x="1063625" y="946150"/>
                  </a:lnTo>
                  <a:lnTo>
                    <a:pt x="1082675" y="933450"/>
                  </a:lnTo>
                  <a:lnTo>
                    <a:pt x="1108075" y="920750"/>
                  </a:lnTo>
                  <a:lnTo>
                    <a:pt x="1136650" y="933450"/>
                  </a:lnTo>
                  <a:lnTo>
                    <a:pt x="1149350" y="942975"/>
                  </a:lnTo>
                  <a:lnTo>
                    <a:pt x="1155700" y="952500"/>
                  </a:lnTo>
                  <a:lnTo>
                    <a:pt x="1162050" y="962025"/>
                  </a:lnTo>
                  <a:lnTo>
                    <a:pt x="1187450" y="965200"/>
                  </a:lnTo>
                  <a:lnTo>
                    <a:pt x="1190625" y="946150"/>
                  </a:lnTo>
                  <a:lnTo>
                    <a:pt x="1187450" y="939800"/>
                  </a:lnTo>
                  <a:lnTo>
                    <a:pt x="1187450" y="933450"/>
                  </a:lnTo>
                  <a:lnTo>
                    <a:pt x="1184275" y="927100"/>
                  </a:lnTo>
                  <a:lnTo>
                    <a:pt x="1155700" y="914400"/>
                  </a:lnTo>
                  <a:lnTo>
                    <a:pt x="1149350" y="889000"/>
                  </a:lnTo>
                  <a:lnTo>
                    <a:pt x="1146175" y="841375"/>
                  </a:lnTo>
                  <a:lnTo>
                    <a:pt x="1149350" y="831850"/>
                  </a:lnTo>
                  <a:lnTo>
                    <a:pt x="1158875" y="831850"/>
                  </a:lnTo>
                  <a:lnTo>
                    <a:pt x="1171575" y="828675"/>
                  </a:lnTo>
                  <a:lnTo>
                    <a:pt x="1200150" y="825500"/>
                  </a:lnTo>
                  <a:lnTo>
                    <a:pt x="1225550" y="822325"/>
                  </a:lnTo>
                  <a:lnTo>
                    <a:pt x="1244600" y="819150"/>
                  </a:lnTo>
                  <a:lnTo>
                    <a:pt x="1254125" y="815975"/>
                  </a:lnTo>
                  <a:lnTo>
                    <a:pt x="1266825" y="809625"/>
                  </a:lnTo>
                  <a:lnTo>
                    <a:pt x="1282700" y="806450"/>
                  </a:lnTo>
                  <a:lnTo>
                    <a:pt x="1285875" y="796925"/>
                  </a:lnTo>
                  <a:lnTo>
                    <a:pt x="1292225" y="796925"/>
                  </a:lnTo>
                  <a:lnTo>
                    <a:pt x="1285875" y="768350"/>
                  </a:lnTo>
                  <a:lnTo>
                    <a:pt x="1270000" y="752475"/>
                  </a:lnTo>
                  <a:lnTo>
                    <a:pt x="1270000" y="733425"/>
                  </a:lnTo>
                  <a:lnTo>
                    <a:pt x="1289050" y="742950"/>
                  </a:lnTo>
                  <a:lnTo>
                    <a:pt x="1292225" y="723900"/>
                  </a:lnTo>
                  <a:lnTo>
                    <a:pt x="1285875" y="711200"/>
                  </a:lnTo>
                  <a:lnTo>
                    <a:pt x="1285875" y="708025"/>
                  </a:lnTo>
                  <a:lnTo>
                    <a:pt x="1292225" y="704850"/>
                  </a:lnTo>
                  <a:lnTo>
                    <a:pt x="1314450" y="701675"/>
                  </a:lnTo>
                  <a:lnTo>
                    <a:pt x="1320800" y="692150"/>
                  </a:lnTo>
                  <a:lnTo>
                    <a:pt x="1330325" y="682625"/>
                  </a:lnTo>
                  <a:lnTo>
                    <a:pt x="1333500" y="679450"/>
                  </a:lnTo>
                  <a:lnTo>
                    <a:pt x="1387475" y="660400"/>
                  </a:lnTo>
                  <a:lnTo>
                    <a:pt x="1416050" y="650875"/>
                  </a:lnTo>
                  <a:lnTo>
                    <a:pt x="1416050" y="644525"/>
                  </a:lnTo>
                  <a:lnTo>
                    <a:pt x="1412875" y="635000"/>
                  </a:lnTo>
                  <a:lnTo>
                    <a:pt x="1419225" y="625475"/>
                  </a:lnTo>
                  <a:lnTo>
                    <a:pt x="1431925" y="622300"/>
                  </a:lnTo>
                  <a:lnTo>
                    <a:pt x="1444625" y="622300"/>
                  </a:lnTo>
                  <a:lnTo>
                    <a:pt x="1447800" y="628650"/>
                  </a:lnTo>
                  <a:lnTo>
                    <a:pt x="1457325" y="625475"/>
                  </a:lnTo>
                  <a:lnTo>
                    <a:pt x="1466850" y="619125"/>
                  </a:lnTo>
                  <a:lnTo>
                    <a:pt x="1482725" y="622300"/>
                  </a:lnTo>
                  <a:lnTo>
                    <a:pt x="1492250" y="635000"/>
                  </a:lnTo>
                  <a:lnTo>
                    <a:pt x="1504950" y="635000"/>
                  </a:lnTo>
                  <a:lnTo>
                    <a:pt x="1517650" y="635000"/>
                  </a:lnTo>
                  <a:lnTo>
                    <a:pt x="1533525" y="612775"/>
                  </a:lnTo>
                  <a:lnTo>
                    <a:pt x="1552575" y="612775"/>
                  </a:lnTo>
                  <a:lnTo>
                    <a:pt x="1558925" y="603250"/>
                  </a:lnTo>
                  <a:lnTo>
                    <a:pt x="1562100" y="590550"/>
                  </a:lnTo>
                  <a:lnTo>
                    <a:pt x="1590675" y="590550"/>
                  </a:lnTo>
                  <a:lnTo>
                    <a:pt x="1593850" y="587375"/>
                  </a:lnTo>
                  <a:lnTo>
                    <a:pt x="1587500" y="558800"/>
                  </a:lnTo>
                  <a:lnTo>
                    <a:pt x="1593850" y="530225"/>
                  </a:lnTo>
                  <a:lnTo>
                    <a:pt x="1609725" y="508000"/>
                  </a:lnTo>
                  <a:lnTo>
                    <a:pt x="1635125" y="479425"/>
                  </a:lnTo>
                  <a:lnTo>
                    <a:pt x="1647825" y="473075"/>
                  </a:lnTo>
                  <a:close/>
                  <a:moveTo>
                    <a:pt x="1720850" y="422275"/>
                  </a:moveTo>
                  <a:lnTo>
                    <a:pt x="1733550" y="425450"/>
                  </a:lnTo>
                  <a:lnTo>
                    <a:pt x="1730375" y="434975"/>
                  </a:lnTo>
                  <a:lnTo>
                    <a:pt x="1724025" y="434975"/>
                  </a:lnTo>
                  <a:lnTo>
                    <a:pt x="1704975" y="428625"/>
                  </a:lnTo>
                  <a:lnTo>
                    <a:pt x="1708150" y="425450"/>
                  </a:lnTo>
                  <a:close/>
                  <a:moveTo>
                    <a:pt x="1708150" y="406400"/>
                  </a:moveTo>
                  <a:lnTo>
                    <a:pt x="1714500" y="412750"/>
                  </a:lnTo>
                  <a:lnTo>
                    <a:pt x="1704975" y="419100"/>
                  </a:lnTo>
                  <a:lnTo>
                    <a:pt x="1698625" y="419100"/>
                  </a:lnTo>
                  <a:close/>
                  <a:moveTo>
                    <a:pt x="1619250" y="282575"/>
                  </a:moveTo>
                  <a:lnTo>
                    <a:pt x="1635125" y="295275"/>
                  </a:lnTo>
                  <a:lnTo>
                    <a:pt x="1631950" y="301625"/>
                  </a:lnTo>
                  <a:lnTo>
                    <a:pt x="1628775" y="311150"/>
                  </a:lnTo>
                  <a:lnTo>
                    <a:pt x="1619250" y="352425"/>
                  </a:lnTo>
                  <a:lnTo>
                    <a:pt x="1628775" y="336550"/>
                  </a:lnTo>
                  <a:lnTo>
                    <a:pt x="1641475" y="320675"/>
                  </a:lnTo>
                  <a:lnTo>
                    <a:pt x="1663700" y="333375"/>
                  </a:lnTo>
                  <a:lnTo>
                    <a:pt x="1679575" y="352425"/>
                  </a:lnTo>
                  <a:lnTo>
                    <a:pt x="1682750" y="384175"/>
                  </a:lnTo>
                  <a:lnTo>
                    <a:pt x="1679575" y="393700"/>
                  </a:lnTo>
                  <a:lnTo>
                    <a:pt x="1673225" y="403225"/>
                  </a:lnTo>
                  <a:lnTo>
                    <a:pt x="1663700" y="403225"/>
                  </a:lnTo>
                  <a:lnTo>
                    <a:pt x="1638300" y="415925"/>
                  </a:lnTo>
                  <a:lnTo>
                    <a:pt x="1609725" y="419100"/>
                  </a:lnTo>
                  <a:lnTo>
                    <a:pt x="1581150" y="434975"/>
                  </a:lnTo>
                  <a:lnTo>
                    <a:pt x="1568450" y="444500"/>
                  </a:lnTo>
                  <a:lnTo>
                    <a:pt x="1555750" y="444500"/>
                  </a:lnTo>
                  <a:lnTo>
                    <a:pt x="1603375" y="292100"/>
                  </a:lnTo>
                  <a:close/>
                  <a:moveTo>
                    <a:pt x="1374775" y="206375"/>
                  </a:moveTo>
                  <a:lnTo>
                    <a:pt x="1393825" y="206375"/>
                  </a:lnTo>
                  <a:lnTo>
                    <a:pt x="1422400" y="215900"/>
                  </a:lnTo>
                  <a:lnTo>
                    <a:pt x="1431925" y="222250"/>
                  </a:lnTo>
                  <a:lnTo>
                    <a:pt x="1435100" y="228600"/>
                  </a:lnTo>
                  <a:lnTo>
                    <a:pt x="1419225" y="244475"/>
                  </a:lnTo>
                  <a:lnTo>
                    <a:pt x="1393825" y="254000"/>
                  </a:lnTo>
                  <a:lnTo>
                    <a:pt x="1381125" y="238125"/>
                  </a:lnTo>
                  <a:lnTo>
                    <a:pt x="1374775" y="231775"/>
                  </a:lnTo>
                  <a:lnTo>
                    <a:pt x="1374775" y="209550"/>
                  </a:lnTo>
                  <a:close/>
                  <a:moveTo>
                    <a:pt x="437861" y="202478"/>
                  </a:moveTo>
                  <a:lnTo>
                    <a:pt x="438150" y="203200"/>
                  </a:lnTo>
                  <a:lnTo>
                    <a:pt x="434975" y="203200"/>
                  </a:lnTo>
                  <a:close/>
                  <a:moveTo>
                    <a:pt x="1517650" y="193675"/>
                  </a:moveTo>
                  <a:lnTo>
                    <a:pt x="1530350" y="206375"/>
                  </a:lnTo>
                  <a:lnTo>
                    <a:pt x="1546225" y="209550"/>
                  </a:lnTo>
                  <a:lnTo>
                    <a:pt x="1555750" y="215900"/>
                  </a:lnTo>
                  <a:lnTo>
                    <a:pt x="1568450" y="241300"/>
                  </a:lnTo>
                  <a:lnTo>
                    <a:pt x="1562100" y="288925"/>
                  </a:lnTo>
                  <a:lnTo>
                    <a:pt x="1565275" y="320675"/>
                  </a:lnTo>
                  <a:lnTo>
                    <a:pt x="1565275" y="339725"/>
                  </a:lnTo>
                  <a:lnTo>
                    <a:pt x="1555750" y="352425"/>
                  </a:lnTo>
                  <a:lnTo>
                    <a:pt x="1520825" y="352425"/>
                  </a:lnTo>
                  <a:lnTo>
                    <a:pt x="1504950" y="346075"/>
                  </a:lnTo>
                  <a:lnTo>
                    <a:pt x="1495425" y="336550"/>
                  </a:lnTo>
                  <a:lnTo>
                    <a:pt x="1476375" y="327025"/>
                  </a:lnTo>
                  <a:lnTo>
                    <a:pt x="1466850" y="327025"/>
                  </a:lnTo>
                  <a:lnTo>
                    <a:pt x="1454150" y="320675"/>
                  </a:lnTo>
                  <a:lnTo>
                    <a:pt x="1444625" y="288925"/>
                  </a:lnTo>
                  <a:lnTo>
                    <a:pt x="1431925" y="263525"/>
                  </a:lnTo>
                  <a:lnTo>
                    <a:pt x="1441450" y="234950"/>
                  </a:lnTo>
                  <a:lnTo>
                    <a:pt x="1450975" y="215900"/>
                  </a:lnTo>
                  <a:lnTo>
                    <a:pt x="1466850" y="203200"/>
                  </a:lnTo>
                  <a:lnTo>
                    <a:pt x="1492250" y="196850"/>
                  </a:lnTo>
                  <a:close/>
                  <a:moveTo>
                    <a:pt x="625475" y="168275"/>
                  </a:moveTo>
                  <a:lnTo>
                    <a:pt x="641350" y="184150"/>
                  </a:lnTo>
                  <a:lnTo>
                    <a:pt x="638175" y="206375"/>
                  </a:lnTo>
                  <a:lnTo>
                    <a:pt x="628650" y="206375"/>
                  </a:lnTo>
                  <a:lnTo>
                    <a:pt x="609600" y="200025"/>
                  </a:lnTo>
                  <a:lnTo>
                    <a:pt x="612775" y="200025"/>
                  </a:lnTo>
                  <a:lnTo>
                    <a:pt x="619125" y="171450"/>
                  </a:lnTo>
                  <a:close/>
                  <a:moveTo>
                    <a:pt x="638175" y="152400"/>
                  </a:moveTo>
                  <a:lnTo>
                    <a:pt x="650875" y="152400"/>
                  </a:lnTo>
                  <a:lnTo>
                    <a:pt x="663575" y="152400"/>
                  </a:lnTo>
                  <a:lnTo>
                    <a:pt x="676275" y="158750"/>
                  </a:lnTo>
                  <a:lnTo>
                    <a:pt x="688975" y="171450"/>
                  </a:lnTo>
                  <a:lnTo>
                    <a:pt x="654050" y="200025"/>
                  </a:lnTo>
                  <a:lnTo>
                    <a:pt x="644525" y="193675"/>
                  </a:lnTo>
                  <a:close/>
                  <a:moveTo>
                    <a:pt x="596900" y="104775"/>
                  </a:moveTo>
                  <a:lnTo>
                    <a:pt x="603250" y="107950"/>
                  </a:lnTo>
                  <a:lnTo>
                    <a:pt x="615950" y="117475"/>
                  </a:lnTo>
                  <a:lnTo>
                    <a:pt x="593725" y="127000"/>
                  </a:lnTo>
                  <a:lnTo>
                    <a:pt x="584200" y="123825"/>
                  </a:lnTo>
                  <a:lnTo>
                    <a:pt x="574675" y="117475"/>
                  </a:lnTo>
                  <a:lnTo>
                    <a:pt x="574675" y="114300"/>
                  </a:lnTo>
                  <a:lnTo>
                    <a:pt x="584200" y="107950"/>
                  </a:lnTo>
                  <a:close/>
                  <a:moveTo>
                    <a:pt x="428625" y="104775"/>
                  </a:moveTo>
                  <a:lnTo>
                    <a:pt x="447675" y="104775"/>
                  </a:lnTo>
                  <a:lnTo>
                    <a:pt x="460375" y="117475"/>
                  </a:lnTo>
                  <a:lnTo>
                    <a:pt x="460375" y="136525"/>
                  </a:lnTo>
                  <a:lnTo>
                    <a:pt x="450850" y="133350"/>
                  </a:lnTo>
                  <a:lnTo>
                    <a:pt x="441325" y="117475"/>
                  </a:lnTo>
                  <a:lnTo>
                    <a:pt x="428625" y="130175"/>
                  </a:lnTo>
                  <a:lnTo>
                    <a:pt x="403225" y="158750"/>
                  </a:lnTo>
                  <a:lnTo>
                    <a:pt x="390525" y="146050"/>
                  </a:lnTo>
                  <a:lnTo>
                    <a:pt x="377825" y="133350"/>
                  </a:lnTo>
                  <a:lnTo>
                    <a:pt x="381000" y="133350"/>
                  </a:lnTo>
                  <a:lnTo>
                    <a:pt x="412750" y="120650"/>
                  </a:lnTo>
                  <a:close/>
                  <a:moveTo>
                    <a:pt x="742950" y="98425"/>
                  </a:moveTo>
                  <a:lnTo>
                    <a:pt x="752475" y="117475"/>
                  </a:lnTo>
                  <a:lnTo>
                    <a:pt x="749300" y="133350"/>
                  </a:lnTo>
                  <a:lnTo>
                    <a:pt x="742950" y="146050"/>
                  </a:lnTo>
                  <a:lnTo>
                    <a:pt x="727075" y="161925"/>
                  </a:lnTo>
                  <a:lnTo>
                    <a:pt x="714375" y="161925"/>
                  </a:lnTo>
                  <a:lnTo>
                    <a:pt x="688975" y="146050"/>
                  </a:lnTo>
                  <a:lnTo>
                    <a:pt x="692150" y="114300"/>
                  </a:lnTo>
                  <a:lnTo>
                    <a:pt x="698500" y="104775"/>
                  </a:lnTo>
                  <a:lnTo>
                    <a:pt x="708025" y="104775"/>
                  </a:lnTo>
                  <a:lnTo>
                    <a:pt x="717550" y="107950"/>
                  </a:lnTo>
                  <a:close/>
                  <a:moveTo>
                    <a:pt x="488950" y="95250"/>
                  </a:moveTo>
                  <a:lnTo>
                    <a:pt x="514350" y="111125"/>
                  </a:lnTo>
                  <a:lnTo>
                    <a:pt x="523875" y="117475"/>
                  </a:lnTo>
                  <a:lnTo>
                    <a:pt x="527050" y="127000"/>
                  </a:lnTo>
                  <a:lnTo>
                    <a:pt x="514350" y="139700"/>
                  </a:lnTo>
                  <a:lnTo>
                    <a:pt x="485775" y="149225"/>
                  </a:lnTo>
                  <a:lnTo>
                    <a:pt x="473075" y="158750"/>
                  </a:lnTo>
                  <a:lnTo>
                    <a:pt x="463550" y="165100"/>
                  </a:lnTo>
                  <a:lnTo>
                    <a:pt x="460375" y="180975"/>
                  </a:lnTo>
                  <a:lnTo>
                    <a:pt x="457200" y="196850"/>
                  </a:lnTo>
                  <a:lnTo>
                    <a:pt x="447675" y="200025"/>
                  </a:lnTo>
                  <a:lnTo>
                    <a:pt x="437861" y="202478"/>
                  </a:lnTo>
                  <a:lnTo>
                    <a:pt x="431800" y="187325"/>
                  </a:lnTo>
                  <a:lnTo>
                    <a:pt x="422275" y="190500"/>
                  </a:lnTo>
                  <a:lnTo>
                    <a:pt x="415925" y="177800"/>
                  </a:lnTo>
                  <a:lnTo>
                    <a:pt x="422275" y="168275"/>
                  </a:lnTo>
                  <a:lnTo>
                    <a:pt x="431800" y="174625"/>
                  </a:lnTo>
                  <a:lnTo>
                    <a:pt x="431800" y="155575"/>
                  </a:lnTo>
                  <a:lnTo>
                    <a:pt x="447675" y="146050"/>
                  </a:lnTo>
                  <a:lnTo>
                    <a:pt x="454025" y="142875"/>
                  </a:lnTo>
                  <a:lnTo>
                    <a:pt x="463550" y="152400"/>
                  </a:lnTo>
                  <a:lnTo>
                    <a:pt x="479425" y="133350"/>
                  </a:lnTo>
                  <a:lnTo>
                    <a:pt x="479425" y="120650"/>
                  </a:lnTo>
                  <a:lnTo>
                    <a:pt x="476250" y="123825"/>
                  </a:lnTo>
                  <a:lnTo>
                    <a:pt x="473075" y="123825"/>
                  </a:lnTo>
                  <a:lnTo>
                    <a:pt x="466725" y="120650"/>
                  </a:lnTo>
                  <a:close/>
                  <a:moveTo>
                    <a:pt x="600075" y="76200"/>
                  </a:moveTo>
                  <a:lnTo>
                    <a:pt x="609600" y="82550"/>
                  </a:lnTo>
                  <a:lnTo>
                    <a:pt x="619125" y="76200"/>
                  </a:lnTo>
                  <a:lnTo>
                    <a:pt x="635000" y="88900"/>
                  </a:lnTo>
                  <a:lnTo>
                    <a:pt x="647700" y="104775"/>
                  </a:lnTo>
                  <a:lnTo>
                    <a:pt x="654050" y="111125"/>
                  </a:lnTo>
                  <a:lnTo>
                    <a:pt x="647700" y="120650"/>
                  </a:lnTo>
                  <a:lnTo>
                    <a:pt x="638175" y="123825"/>
                  </a:lnTo>
                  <a:lnTo>
                    <a:pt x="622300" y="104775"/>
                  </a:lnTo>
                  <a:lnTo>
                    <a:pt x="603250" y="95250"/>
                  </a:lnTo>
                  <a:lnTo>
                    <a:pt x="590550" y="88900"/>
                  </a:lnTo>
                  <a:lnTo>
                    <a:pt x="584200" y="79375"/>
                  </a:lnTo>
                  <a:close/>
                  <a:moveTo>
                    <a:pt x="622300" y="60325"/>
                  </a:moveTo>
                  <a:lnTo>
                    <a:pt x="644525" y="66675"/>
                  </a:lnTo>
                  <a:lnTo>
                    <a:pt x="657225" y="73025"/>
                  </a:lnTo>
                  <a:lnTo>
                    <a:pt x="666750" y="88900"/>
                  </a:lnTo>
                  <a:lnTo>
                    <a:pt x="644525" y="88900"/>
                  </a:lnTo>
                  <a:lnTo>
                    <a:pt x="631825" y="73025"/>
                  </a:lnTo>
                  <a:close/>
                  <a:moveTo>
                    <a:pt x="809625" y="57150"/>
                  </a:moveTo>
                  <a:lnTo>
                    <a:pt x="822325" y="76200"/>
                  </a:lnTo>
                  <a:lnTo>
                    <a:pt x="819150" y="95250"/>
                  </a:lnTo>
                  <a:lnTo>
                    <a:pt x="812800" y="107950"/>
                  </a:lnTo>
                  <a:lnTo>
                    <a:pt x="787400" y="120650"/>
                  </a:lnTo>
                  <a:lnTo>
                    <a:pt x="771525" y="123825"/>
                  </a:lnTo>
                  <a:lnTo>
                    <a:pt x="758825" y="111125"/>
                  </a:lnTo>
                  <a:lnTo>
                    <a:pt x="758825" y="104775"/>
                  </a:lnTo>
                  <a:lnTo>
                    <a:pt x="784225" y="73025"/>
                  </a:lnTo>
                  <a:close/>
                  <a:moveTo>
                    <a:pt x="1371600" y="50800"/>
                  </a:moveTo>
                  <a:lnTo>
                    <a:pt x="1384300" y="63500"/>
                  </a:lnTo>
                  <a:lnTo>
                    <a:pt x="1365250" y="73025"/>
                  </a:lnTo>
                  <a:lnTo>
                    <a:pt x="1352550" y="69850"/>
                  </a:lnTo>
                  <a:lnTo>
                    <a:pt x="1352550" y="53975"/>
                  </a:lnTo>
                  <a:close/>
                  <a:moveTo>
                    <a:pt x="1473200" y="34925"/>
                  </a:moveTo>
                  <a:lnTo>
                    <a:pt x="1482725" y="47625"/>
                  </a:lnTo>
                  <a:lnTo>
                    <a:pt x="1492250" y="69850"/>
                  </a:lnTo>
                  <a:lnTo>
                    <a:pt x="1501775" y="88900"/>
                  </a:lnTo>
                  <a:lnTo>
                    <a:pt x="1511300" y="98425"/>
                  </a:lnTo>
                  <a:lnTo>
                    <a:pt x="1524000" y="111125"/>
                  </a:lnTo>
                  <a:lnTo>
                    <a:pt x="1520825" y="117475"/>
                  </a:lnTo>
                  <a:lnTo>
                    <a:pt x="1514475" y="120650"/>
                  </a:lnTo>
                  <a:lnTo>
                    <a:pt x="1508125" y="120650"/>
                  </a:lnTo>
                  <a:lnTo>
                    <a:pt x="1504950" y="133350"/>
                  </a:lnTo>
                  <a:lnTo>
                    <a:pt x="1504950" y="142875"/>
                  </a:lnTo>
                  <a:lnTo>
                    <a:pt x="1511300" y="168275"/>
                  </a:lnTo>
                  <a:lnTo>
                    <a:pt x="1492250" y="180975"/>
                  </a:lnTo>
                  <a:lnTo>
                    <a:pt x="1435100" y="206375"/>
                  </a:lnTo>
                  <a:lnTo>
                    <a:pt x="1406525" y="193675"/>
                  </a:lnTo>
                  <a:lnTo>
                    <a:pt x="1397000" y="184150"/>
                  </a:lnTo>
                  <a:lnTo>
                    <a:pt x="1381125" y="168275"/>
                  </a:lnTo>
                  <a:lnTo>
                    <a:pt x="1400175" y="142875"/>
                  </a:lnTo>
                  <a:lnTo>
                    <a:pt x="1412875" y="142875"/>
                  </a:lnTo>
                  <a:lnTo>
                    <a:pt x="1419225" y="107950"/>
                  </a:lnTo>
                  <a:lnTo>
                    <a:pt x="1409700" y="111125"/>
                  </a:lnTo>
                  <a:lnTo>
                    <a:pt x="1406525" y="107950"/>
                  </a:lnTo>
                  <a:lnTo>
                    <a:pt x="1409700" y="92075"/>
                  </a:lnTo>
                  <a:lnTo>
                    <a:pt x="1428750" y="69850"/>
                  </a:lnTo>
                  <a:lnTo>
                    <a:pt x="1470025" y="44450"/>
                  </a:lnTo>
                  <a:close/>
                  <a:moveTo>
                    <a:pt x="654050" y="0"/>
                  </a:moveTo>
                  <a:lnTo>
                    <a:pt x="673100" y="25400"/>
                  </a:lnTo>
                  <a:lnTo>
                    <a:pt x="657225" y="28575"/>
                  </a:lnTo>
                  <a:lnTo>
                    <a:pt x="635000" y="19050"/>
                  </a:lnTo>
                  <a:lnTo>
                    <a:pt x="635000" y="158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4" name="Google Shape;655;p35">
              <a:extLst>
                <a:ext uri="{FF2B5EF4-FFF2-40B4-BE49-F238E27FC236}">
                  <a16:creationId xmlns:a16="http://schemas.microsoft.com/office/drawing/2014/main" id="{27BF5403-46AA-2A3D-C56D-42E2745C1949}"/>
                </a:ext>
              </a:extLst>
            </p:cNvPr>
            <p:cNvSpPr/>
            <p:nvPr/>
          </p:nvSpPr>
          <p:spPr>
            <a:xfrm>
              <a:off x="9531747" y="3111420"/>
              <a:ext cx="51435" cy="28575"/>
            </a:xfrm>
            <a:custGeom>
              <a:avLst/>
              <a:gdLst/>
              <a:ahLst/>
              <a:cxnLst/>
              <a:rect l="l" t="t" r="r" b="b"/>
              <a:pathLst>
                <a:path w="36" h="20" extrusionOk="0">
                  <a:moveTo>
                    <a:pt x="16" y="2"/>
                  </a:move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2" y="0"/>
                  </a:lnTo>
                  <a:lnTo>
                    <a:pt x="0" y="6"/>
                  </a:lnTo>
                  <a:lnTo>
                    <a:pt x="4" y="12"/>
                  </a:lnTo>
                  <a:lnTo>
                    <a:pt x="10" y="8"/>
                  </a:lnTo>
                  <a:lnTo>
                    <a:pt x="18" y="8"/>
                  </a:lnTo>
                  <a:lnTo>
                    <a:pt x="24" y="14"/>
                  </a:lnTo>
                  <a:lnTo>
                    <a:pt x="28" y="18"/>
                  </a:lnTo>
                  <a:lnTo>
                    <a:pt x="30" y="20"/>
                  </a:lnTo>
                  <a:lnTo>
                    <a:pt x="36" y="14"/>
                  </a:lnTo>
                  <a:lnTo>
                    <a:pt x="30" y="6"/>
                  </a:lnTo>
                  <a:lnTo>
                    <a:pt x="22" y="0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5" name="Google Shape;656;p35">
              <a:extLst>
                <a:ext uri="{FF2B5EF4-FFF2-40B4-BE49-F238E27FC236}">
                  <a16:creationId xmlns:a16="http://schemas.microsoft.com/office/drawing/2014/main" id="{348D151D-FCCA-2232-F76A-87FCF3AF127C}"/>
                </a:ext>
              </a:extLst>
            </p:cNvPr>
            <p:cNvSpPr/>
            <p:nvPr/>
          </p:nvSpPr>
          <p:spPr>
            <a:xfrm>
              <a:off x="4692570" y="5881767"/>
              <a:ext cx="488632" cy="114300"/>
            </a:xfrm>
            <a:custGeom>
              <a:avLst/>
              <a:gdLst/>
              <a:ahLst/>
              <a:cxnLst/>
              <a:rect l="l" t="t" r="r" b="b"/>
              <a:pathLst>
                <a:path w="542925" h="127000" extrusionOk="0">
                  <a:moveTo>
                    <a:pt x="501650" y="95250"/>
                  </a:moveTo>
                  <a:lnTo>
                    <a:pt x="511175" y="95250"/>
                  </a:lnTo>
                  <a:lnTo>
                    <a:pt x="523875" y="98425"/>
                  </a:lnTo>
                  <a:lnTo>
                    <a:pt x="542925" y="123825"/>
                  </a:lnTo>
                  <a:lnTo>
                    <a:pt x="539750" y="127000"/>
                  </a:lnTo>
                  <a:lnTo>
                    <a:pt x="530225" y="114300"/>
                  </a:lnTo>
                  <a:lnTo>
                    <a:pt x="514350" y="98425"/>
                  </a:lnTo>
                  <a:lnTo>
                    <a:pt x="508000" y="98425"/>
                  </a:lnTo>
                  <a:close/>
                  <a:moveTo>
                    <a:pt x="44450" y="0"/>
                  </a:moveTo>
                  <a:lnTo>
                    <a:pt x="50800" y="0"/>
                  </a:lnTo>
                  <a:lnTo>
                    <a:pt x="57150" y="0"/>
                  </a:lnTo>
                  <a:lnTo>
                    <a:pt x="60325" y="0"/>
                  </a:lnTo>
                  <a:lnTo>
                    <a:pt x="69850" y="3175"/>
                  </a:lnTo>
                  <a:lnTo>
                    <a:pt x="69850" y="12700"/>
                  </a:lnTo>
                  <a:lnTo>
                    <a:pt x="63500" y="12700"/>
                  </a:lnTo>
                  <a:lnTo>
                    <a:pt x="57150" y="15875"/>
                  </a:lnTo>
                  <a:lnTo>
                    <a:pt x="53975" y="22225"/>
                  </a:lnTo>
                  <a:lnTo>
                    <a:pt x="41275" y="31750"/>
                  </a:lnTo>
                  <a:lnTo>
                    <a:pt x="34925" y="34925"/>
                  </a:lnTo>
                  <a:lnTo>
                    <a:pt x="28575" y="28575"/>
                  </a:lnTo>
                  <a:lnTo>
                    <a:pt x="34925" y="15875"/>
                  </a:lnTo>
                  <a:lnTo>
                    <a:pt x="41275" y="15875"/>
                  </a:lnTo>
                  <a:lnTo>
                    <a:pt x="44450" y="15875"/>
                  </a:lnTo>
                  <a:lnTo>
                    <a:pt x="44450" y="6350"/>
                  </a:lnTo>
                  <a:close/>
                  <a:moveTo>
                    <a:pt x="9525" y="0"/>
                  </a:moveTo>
                  <a:lnTo>
                    <a:pt x="12700" y="3175"/>
                  </a:lnTo>
                  <a:lnTo>
                    <a:pt x="34925" y="3175"/>
                  </a:lnTo>
                  <a:lnTo>
                    <a:pt x="34925" y="0"/>
                  </a:lnTo>
                  <a:lnTo>
                    <a:pt x="38100" y="3175"/>
                  </a:lnTo>
                  <a:lnTo>
                    <a:pt x="34925" y="6350"/>
                  </a:lnTo>
                  <a:lnTo>
                    <a:pt x="31750" y="9525"/>
                  </a:lnTo>
                  <a:lnTo>
                    <a:pt x="28575" y="15875"/>
                  </a:lnTo>
                  <a:lnTo>
                    <a:pt x="12700" y="28575"/>
                  </a:lnTo>
                  <a:lnTo>
                    <a:pt x="9525" y="31750"/>
                  </a:lnTo>
                  <a:lnTo>
                    <a:pt x="0" y="25400"/>
                  </a:lnTo>
                  <a:lnTo>
                    <a:pt x="9525" y="22225"/>
                  </a:lnTo>
                  <a:lnTo>
                    <a:pt x="12700" y="15875"/>
                  </a:lnTo>
                  <a:lnTo>
                    <a:pt x="19050" y="12700"/>
                  </a:lnTo>
                  <a:lnTo>
                    <a:pt x="9525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6" name="Google Shape;657;p35">
              <a:extLst>
                <a:ext uri="{FF2B5EF4-FFF2-40B4-BE49-F238E27FC236}">
                  <a16:creationId xmlns:a16="http://schemas.microsoft.com/office/drawing/2014/main" id="{C8EA30C4-D701-313A-2FC9-B934D1D57BDE}"/>
                </a:ext>
              </a:extLst>
            </p:cNvPr>
            <p:cNvSpPr/>
            <p:nvPr/>
          </p:nvSpPr>
          <p:spPr>
            <a:xfrm>
              <a:off x="4298235" y="4721622"/>
              <a:ext cx="245745" cy="360045"/>
            </a:xfrm>
            <a:custGeom>
              <a:avLst/>
              <a:gdLst/>
              <a:ahLst/>
              <a:cxnLst/>
              <a:rect l="l" t="t" r="r" b="b"/>
              <a:pathLst>
                <a:path w="172" h="252" extrusionOk="0">
                  <a:moveTo>
                    <a:pt x="158" y="244"/>
                  </a:moveTo>
                  <a:lnTo>
                    <a:pt x="160" y="240"/>
                  </a:lnTo>
                  <a:lnTo>
                    <a:pt x="160" y="238"/>
                  </a:lnTo>
                  <a:lnTo>
                    <a:pt x="160" y="236"/>
                  </a:lnTo>
                  <a:lnTo>
                    <a:pt x="164" y="232"/>
                  </a:lnTo>
                  <a:lnTo>
                    <a:pt x="168" y="228"/>
                  </a:lnTo>
                  <a:lnTo>
                    <a:pt x="166" y="224"/>
                  </a:lnTo>
                  <a:lnTo>
                    <a:pt x="166" y="222"/>
                  </a:lnTo>
                  <a:lnTo>
                    <a:pt x="164" y="222"/>
                  </a:lnTo>
                  <a:lnTo>
                    <a:pt x="162" y="216"/>
                  </a:lnTo>
                  <a:lnTo>
                    <a:pt x="162" y="214"/>
                  </a:lnTo>
                  <a:lnTo>
                    <a:pt x="162" y="208"/>
                  </a:lnTo>
                  <a:lnTo>
                    <a:pt x="162" y="202"/>
                  </a:lnTo>
                  <a:lnTo>
                    <a:pt x="164" y="200"/>
                  </a:lnTo>
                  <a:lnTo>
                    <a:pt x="166" y="198"/>
                  </a:lnTo>
                  <a:lnTo>
                    <a:pt x="168" y="194"/>
                  </a:lnTo>
                  <a:lnTo>
                    <a:pt x="168" y="176"/>
                  </a:lnTo>
                  <a:lnTo>
                    <a:pt x="170" y="174"/>
                  </a:lnTo>
                  <a:lnTo>
                    <a:pt x="172" y="170"/>
                  </a:lnTo>
                  <a:lnTo>
                    <a:pt x="168" y="164"/>
                  </a:lnTo>
                  <a:lnTo>
                    <a:pt x="160" y="148"/>
                  </a:lnTo>
                  <a:lnTo>
                    <a:pt x="154" y="148"/>
                  </a:lnTo>
                  <a:lnTo>
                    <a:pt x="152" y="150"/>
                  </a:lnTo>
                  <a:lnTo>
                    <a:pt x="148" y="150"/>
                  </a:lnTo>
                  <a:lnTo>
                    <a:pt x="146" y="148"/>
                  </a:lnTo>
                  <a:lnTo>
                    <a:pt x="146" y="150"/>
                  </a:lnTo>
                  <a:lnTo>
                    <a:pt x="146" y="138"/>
                  </a:lnTo>
                  <a:lnTo>
                    <a:pt x="146" y="134"/>
                  </a:lnTo>
                  <a:lnTo>
                    <a:pt x="146" y="128"/>
                  </a:lnTo>
                  <a:lnTo>
                    <a:pt x="142" y="130"/>
                  </a:lnTo>
                  <a:lnTo>
                    <a:pt x="138" y="134"/>
                  </a:lnTo>
                  <a:lnTo>
                    <a:pt x="132" y="136"/>
                  </a:lnTo>
                  <a:lnTo>
                    <a:pt x="124" y="136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0" y="128"/>
                  </a:lnTo>
                  <a:lnTo>
                    <a:pt x="114" y="122"/>
                  </a:lnTo>
                  <a:lnTo>
                    <a:pt x="110" y="118"/>
                  </a:lnTo>
                  <a:lnTo>
                    <a:pt x="104" y="108"/>
                  </a:lnTo>
                  <a:lnTo>
                    <a:pt x="100" y="102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2" y="96"/>
                  </a:lnTo>
                  <a:lnTo>
                    <a:pt x="106" y="90"/>
                  </a:lnTo>
                  <a:lnTo>
                    <a:pt x="108" y="88"/>
                  </a:lnTo>
                  <a:lnTo>
                    <a:pt x="110" y="84"/>
                  </a:lnTo>
                  <a:lnTo>
                    <a:pt x="112" y="76"/>
                  </a:lnTo>
                  <a:lnTo>
                    <a:pt x="114" y="70"/>
                  </a:lnTo>
                  <a:lnTo>
                    <a:pt x="116" y="68"/>
                  </a:lnTo>
                  <a:lnTo>
                    <a:pt x="124" y="64"/>
                  </a:lnTo>
                  <a:lnTo>
                    <a:pt x="130" y="60"/>
                  </a:lnTo>
                  <a:lnTo>
                    <a:pt x="140" y="58"/>
                  </a:lnTo>
                  <a:lnTo>
                    <a:pt x="148" y="56"/>
                  </a:lnTo>
                  <a:lnTo>
                    <a:pt x="154" y="56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4" y="50"/>
                  </a:lnTo>
                  <a:lnTo>
                    <a:pt x="152" y="40"/>
                  </a:lnTo>
                  <a:lnTo>
                    <a:pt x="154" y="36"/>
                  </a:lnTo>
                  <a:lnTo>
                    <a:pt x="150" y="34"/>
                  </a:lnTo>
                  <a:lnTo>
                    <a:pt x="144" y="30"/>
                  </a:lnTo>
                  <a:lnTo>
                    <a:pt x="130" y="30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18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0" y="30"/>
                  </a:lnTo>
                  <a:lnTo>
                    <a:pt x="112" y="28"/>
                  </a:lnTo>
                  <a:lnTo>
                    <a:pt x="110" y="22"/>
                  </a:lnTo>
                  <a:lnTo>
                    <a:pt x="104" y="16"/>
                  </a:lnTo>
                  <a:lnTo>
                    <a:pt x="98" y="14"/>
                  </a:lnTo>
                  <a:lnTo>
                    <a:pt x="96" y="12"/>
                  </a:lnTo>
                  <a:lnTo>
                    <a:pt x="94" y="8"/>
                  </a:lnTo>
                  <a:lnTo>
                    <a:pt x="88" y="2"/>
                  </a:lnTo>
                  <a:lnTo>
                    <a:pt x="84" y="0"/>
                  </a:lnTo>
                  <a:lnTo>
                    <a:pt x="82" y="2"/>
                  </a:lnTo>
                  <a:lnTo>
                    <a:pt x="78" y="2"/>
                  </a:lnTo>
                  <a:lnTo>
                    <a:pt x="82" y="6"/>
                  </a:lnTo>
                  <a:lnTo>
                    <a:pt x="82" y="12"/>
                  </a:lnTo>
                  <a:lnTo>
                    <a:pt x="80" y="12"/>
                  </a:lnTo>
                  <a:lnTo>
                    <a:pt x="78" y="20"/>
                  </a:lnTo>
                  <a:lnTo>
                    <a:pt x="72" y="26"/>
                  </a:lnTo>
                  <a:lnTo>
                    <a:pt x="60" y="36"/>
                  </a:lnTo>
                  <a:lnTo>
                    <a:pt x="52" y="38"/>
                  </a:lnTo>
                  <a:lnTo>
                    <a:pt x="46" y="40"/>
                  </a:lnTo>
                  <a:lnTo>
                    <a:pt x="44" y="44"/>
                  </a:lnTo>
                  <a:lnTo>
                    <a:pt x="42" y="46"/>
                  </a:lnTo>
                  <a:lnTo>
                    <a:pt x="38" y="52"/>
                  </a:lnTo>
                  <a:lnTo>
                    <a:pt x="36" y="60"/>
                  </a:lnTo>
                  <a:lnTo>
                    <a:pt x="32" y="66"/>
                  </a:lnTo>
                  <a:lnTo>
                    <a:pt x="30" y="66"/>
                  </a:lnTo>
                  <a:lnTo>
                    <a:pt x="26" y="62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6" y="52"/>
                  </a:lnTo>
                  <a:lnTo>
                    <a:pt x="14" y="46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4" y="68"/>
                  </a:lnTo>
                  <a:lnTo>
                    <a:pt x="4" y="72"/>
                  </a:lnTo>
                  <a:lnTo>
                    <a:pt x="6" y="78"/>
                  </a:lnTo>
                  <a:lnTo>
                    <a:pt x="2" y="80"/>
                  </a:lnTo>
                  <a:lnTo>
                    <a:pt x="6" y="84"/>
                  </a:lnTo>
                  <a:lnTo>
                    <a:pt x="14" y="88"/>
                  </a:lnTo>
                  <a:lnTo>
                    <a:pt x="20" y="92"/>
                  </a:lnTo>
                  <a:lnTo>
                    <a:pt x="24" y="100"/>
                  </a:lnTo>
                  <a:lnTo>
                    <a:pt x="26" y="104"/>
                  </a:lnTo>
                  <a:lnTo>
                    <a:pt x="28" y="108"/>
                  </a:lnTo>
                  <a:lnTo>
                    <a:pt x="32" y="112"/>
                  </a:lnTo>
                  <a:lnTo>
                    <a:pt x="36" y="120"/>
                  </a:lnTo>
                  <a:lnTo>
                    <a:pt x="36" y="122"/>
                  </a:lnTo>
                  <a:lnTo>
                    <a:pt x="40" y="126"/>
                  </a:lnTo>
                  <a:lnTo>
                    <a:pt x="42" y="134"/>
                  </a:lnTo>
                  <a:lnTo>
                    <a:pt x="46" y="142"/>
                  </a:lnTo>
                  <a:lnTo>
                    <a:pt x="48" y="148"/>
                  </a:lnTo>
                  <a:lnTo>
                    <a:pt x="52" y="154"/>
                  </a:lnTo>
                  <a:lnTo>
                    <a:pt x="56" y="160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62" y="170"/>
                  </a:lnTo>
                  <a:lnTo>
                    <a:pt x="66" y="176"/>
                  </a:lnTo>
                  <a:lnTo>
                    <a:pt x="70" y="186"/>
                  </a:lnTo>
                  <a:lnTo>
                    <a:pt x="68" y="188"/>
                  </a:lnTo>
                  <a:lnTo>
                    <a:pt x="66" y="190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84" y="210"/>
                  </a:lnTo>
                  <a:lnTo>
                    <a:pt x="92" y="214"/>
                  </a:lnTo>
                  <a:lnTo>
                    <a:pt x="100" y="220"/>
                  </a:lnTo>
                  <a:lnTo>
                    <a:pt x="108" y="222"/>
                  </a:lnTo>
                  <a:lnTo>
                    <a:pt x="114" y="226"/>
                  </a:lnTo>
                  <a:lnTo>
                    <a:pt x="118" y="228"/>
                  </a:lnTo>
                  <a:lnTo>
                    <a:pt x="120" y="228"/>
                  </a:lnTo>
                  <a:lnTo>
                    <a:pt x="128" y="234"/>
                  </a:lnTo>
                  <a:lnTo>
                    <a:pt x="128" y="236"/>
                  </a:lnTo>
                  <a:lnTo>
                    <a:pt x="130" y="236"/>
                  </a:lnTo>
                  <a:lnTo>
                    <a:pt x="134" y="238"/>
                  </a:lnTo>
                  <a:lnTo>
                    <a:pt x="136" y="240"/>
                  </a:lnTo>
                  <a:lnTo>
                    <a:pt x="138" y="244"/>
                  </a:lnTo>
                  <a:lnTo>
                    <a:pt x="144" y="248"/>
                  </a:lnTo>
                  <a:lnTo>
                    <a:pt x="148" y="252"/>
                  </a:lnTo>
                  <a:lnTo>
                    <a:pt x="156" y="248"/>
                  </a:lnTo>
                  <a:lnTo>
                    <a:pt x="158" y="24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7" name="Google Shape;658;p35">
              <a:extLst>
                <a:ext uri="{FF2B5EF4-FFF2-40B4-BE49-F238E27FC236}">
                  <a16:creationId xmlns:a16="http://schemas.microsoft.com/office/drawing/2014/main" id="{CDF50452-BE05-1D59-0435-17787FE94046}"/>
                </a:ext>
              </a:extLst>
            </p:cNvPr>
            <p:cNvSpPr/>
            <p:nvPr/>
          </p:nvSpPr>
          <p:spPr>
            <a:xfrm>
              <a:off x="2972355" y="5064522"/>
              <a:ext cx="8572" cy="8572"/>
            </a:xfrm>
            <a:custGeom>
              <a:avLst/>
              <a:gdLst/>
              <a:ahLst/>
              <a:cxnLst/>
              <a:rect l="l" t="t" r="r" b="b"/>
              <a:pathLst>
                <a:path w="6" h="6" extrusionOk="0">
                  <a:moveTo>
                    <a:pt x="0" y="0"/>
                  </a:moveTo>
                  <a:lnTo>
                    <a:pt x="0" y="4"/>
                  </a:lnTo>
                  <a:lnTo>
                    <a:pt x="6" y="6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8" name="Google Shape;659;p35">
              <a:extLst>
                <a:ext uri="{FF2B5EF4-FFF2-40B4-BE49-F238E27FC236}">
                  <a16:creationId xmlns:a16="http://schemas.microsoft.com/office/drawing/2014/main" id="{74B90CAA-F477-EA53-6B98-AD05ED294AFD}"/>
                </a:ext>
              </a:extLst>
            </p:cNvPr>
            <p:cNvSpPr/>
            <p:nvPr/>
          </p:nvSpPr>
          <p:spPr>
            <a:xfrm>
              <a:off x="4101067" y="4693047"/>
              <a:ext cx="314325" cy="122872"/>
            </a:xfrm>
            <a:custGeom>
              <a:avLst/>
              <a:gdLst/>
              <a:ahLst/>
              <a:cxnLst/>
              <a:rect l="l" t="t" r="r" b="b"/>
              <a:pathLst>
                <a:path w="349250" h="136525" extrusionOk="0">
                  <a:moveTo>
                    <a:pt x="244475" y="88900"/>
                  </a:moveTo>
                  <a:lnTo>
                    <a:pt x="250825" y="92075"/>
                  </a:lnTo>
                  <a:lnTo>
                    <a:pt x="244475" y="98425"/>
                  </a:lnTo>
                  <a:lnTo>
                    <a:pt x="241300" y="92075"/>
                  </a:lnTo>
                  <a:close/>
                  <a:moveTo>
                    <a:pt x="0" y="28575"/>
                  </a:moveTo>
                  <a:lnTo>
                    <a:pt x="9525" y="41275"/>
                  </a:lnTo>
                  <a:lnTo>
                    <a:pt x="12700" y="50800"/>
                  </a:lnTo>
                  <a:lnTo>
                    <a:pt x="0" y="53975"/>
                  </a:lnTo>
                  <a:lnTo>
                    <a:pt x="3175" y="44450"/>
                  </a:lnTo>
                  <a:close/>
                  <a:moveTo>
                    <a:pt x="273050" y="0"/>
                  </a:moveTo>
                  <a:lnTo>
                    <a:pt x="282575" y="6350"/>
                  </a:lnTo>
                  <a:lnTo>
                    <a:pt x="292100" y="12700"/>
                  </a:lnTo>
                  <a:lnTo>
                    <a:pt x="295275" y="12700"/>
                  </a:lnTo>
                  <a:lnTo>
                    <a:pt x="298450" y="12700"/>
                  </a:lnTo>
                  <a:lnTo>
                    <a:pt x="301625" y="22225"/>
                  </a:lnTo>
                  <a:lnTo>
                    <a:pt x="311150" y="25400"/>
                  </a:lnTo>
                  <a:lnTo>
                    <a:pt x="323850" y="25400"/>
                  </a:lnTo>
                  <a:lnTo>
                    <a:pt x="323850" y="22225"/>
                  </a:lnTo>
                  <a:lnTo>
                    <a:pt x="330200" y="22225"/>
                  </a:lnTo>
                  <a:lnTo>
                    <a:pt x="339725" y="28575"/>
                  </a:lnTo>
                  <a:lnTo>
                    <a:pt x="349250" y="34925"/>
                  </a:lnTo>
                  <a:lnTo>
                    <a:pt x="342900" y="34925"/>
                  </a:lnTo>
                  <a:lnTo>
                    <a:pt x="349250" y="41275"/>
                  </a:lnTo>
                  <a:lnTo>
                    <a:pt x="349250" y="50800"/>
                  </a:lnTo>
                  <a:lnTo>
                    <a:pt x="346075" y="50800"/>
                  </a:lnTo>
                  <a:lnTo>
                    <a:pt x="342900" y="63500"/>
                  </a:lnTo>
                  <a:lnTo>
                    <a:pt x="333375" y="73025"/>
                  </a:lnTo>
                  <a:lnTo>
                    <a:pt x="314325" y="88900"/>
                  </a:lnTo>
                  <a:lnTo>
                    <a:pt x="301625" y="92075"/>
                  </a:lnTo>
                  <a:lnTo>
                    <a:pt x="292100" y="95250"/>
                  </a:lnTo>
                  <a:lnTo>
                    <a:pt x="288925" y="101600"/>
                  </a:lnTo>
                  <a:lnTo>
                    <a:pt x="285750" y="104775"/>
                  </a:lnTo>
                  <a:lnTo>
                    <a:pt x="279400" y="114300"/>
                  </a:lnTo>
                  <a:lnTo>
                    <a:pt x="276225" y="127000"/>
                  </a:lnTo>
                  <a:lnTo>
                    <a:pt x="269875" y="136525"/>
                  </a:lnTo>
                  <a:lnTo>
                    <a:pt x="266700" y="136525"/>
                  </a:lnTo>
                  <a:lnTo>
                    <a:pt x="260350" y="130175"/>
                  </a:lnTo>
                  <a:lnTo>
                    <a:pt x="247650" y="123825"/>
                  </a:lnTo>
                  <a:lnTo>
                    <a:pt x="244475" y="123825"/>
                  </a:lnTo>
                  <a:lnTo>
                    <a:pt x="238125" y="127000"/>
                  </a:lnTo>
                  <a:lnTo>
                    <a:pt x="238125" y="117475"/>
                  </a:lnTo>
                  <a:lnTo>
                    <a:pt x="241300" y="117475"/>
                  </a:lnTo>
                  <a:lnTo>
                    <a:pt x="244475" y="114300"/>
                  </a:lnTo>
                  <a:lnTo>
                    <a:pt x="241300" y="104775"/>
                  </a:lnTo>
                  <a:lnTo>
                    <a:pt x="250825" y="98425"/>
                  </a:lnTo>
                  <a:lnTo>
                    <a:pt x="250825" y="92075"/>
                  </a:lnTo>
                  <a:lnTo>
                    <a:pt x="250825" y="85725"/>
                  </a:lnTo>
                  <a:lnTo>
                    <a:pt x="241300" y="88900"/>
                  </a:lnTo>
                  <a:lnTo>
                    <a:pt x="231775" y="85725"/>
                  </a:lnTo>
                  <a:lnTo>
                    <a:pt x="228600" y="79375"/>
                  </a:lnTo>
                  <a:lnTo>
                    <a:pt x="231775" y="69850"/>
                  </a:lnTo>
                  <a:lnTo>
                    <a:pt x="228600" y="57150"/>
                  </a:lnTo>
                  <a:lnTo>
                    <a:pt x="228600" y="50800"/>
                  </a:lnTo>
                  <a:lnTo>
                    <a:pt x="231775" y="50800"/>
                  </a:lnTo>
                  <a:lnTo>
                    <a:pt x="238125" y="41275"/>
                  </a:lnTo>
                  <a:lnTo>
                    <a:pt x="247650" y="28575"/>
                  </a:lnTo>
                  <a:lnTo>
                    <a:pt x="244475" y="19050"/>
                  </a:lnTo>
                  <a:lnTo>
                    <a:pt x="250825" y="12700"/>
                  </a:lnTo>
                  <a:lnTo>
                    <a:pt x="260350" y="6350"/>
                  </a:lnTo>
                  <a:lnTo>
                    <a:pt x="26670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9" name="Google Shape;660;p35">
              <a:extLst>
                <a:ext uri="{FF2B5EF4-FFF2-40B4-BE49-F238E27FC236}">
                  <a16:creationId xmlns:a16="http://schemas.microsoft.com/office/drawing/2014/main" id="{41C8A07B-4B1D-E283-D102-79400894D076}"/>
                </a:ext>
              </a:extLst>
            </p:cNvPr>
            <p:cNvSpPr/>
            <p:nvPr/>
          </p:nvSpPr>
          <p:spPr>
            <a:xfrm>
              <a:off x="3455273" y="3622913"/>
              <a:ext cx="1122997" cy="595789"/>
            </a:xfrm>
            <a:custGeom>
              <a:avLst/>
              <a:gdLst/>
              <a:ahLst/>
              <a:cxnLst/>
              <a:rect l="l" t="t" r="r" b="b"/>
              <a:pathLst>
                <a:path w="1247775" h="661988" extrusionOk="0">
                  <a:moveTo>
                    <a:pt x="638175" y="0"/>
                  </a:moveTo>
                  <a:lnTo>
                    <a:pt x="644525" y="3175"/>
                  </a:lnTo>
                  <a:lnTo>
                    <a:pt x="647700" y="15875"/>
                  </a:lnTo>
                  <a:lnTo>
                    <a:pt x="666750" y="22225"/>
                  </a:lnTo>
                  <a:lnTo>
                    <a:pt x="676275" y="25400"/>
                  </a:lnTo>
                  <a:lnTo>
                    <a:pt x="685800" y="25400"/>
                  </a:lnTo>
                  <a:lnTo>
                    <a:pt x="695325" y="28575"/>
                  </a:lnTo>
                  <a:lnTo>
                    <a:pt x="695325" y="31750"/>
                  </a:lnTo>
                  <a:lnTo>
                    <a:pt x="695325" y="34925"/>
                  </a:lnTo>
                  <a:lnTo>
                    <a:pt x="698500" y="34925"/>
                  </a:lnTo>
                  <a:lnTo>
                    <a:pt x="711200" y="38100"/>
                  </a:lnTo>
                  <a:lnTo>
                    <a:pt x="714375" y="41275"/>
                  </a:lnTo>
                  <a:lnTo>
                    <a:pt x="717550" y="41275"/>
                  </a:lnTo>
                  <a:lnTo>
                    <a:pt x="727075" y="38100"/>
                  </a:lnTo>
                  <a:lnTo>
                    <a:pt x="730250" y="38100"/>
                  </a:lnTo>
                  <a:lnTo>
                    <a:pt x="736600" y="41275"/>
                  </a:lnTo>
                  <a:lnTo>
                    <a:pt x="742950" y="41275"/>
                  </a:lnTo>
                  <a:lnTo>
                    <a:pt x="758825" y="44450"/>
                  </a:lnTo>
                  <a:lnTo>
                    <a:pt x="762000" y="44450"/>
                  </a:lnTo>
                  <a:lnTo>
                    <a:pt x="771525" y="38100"/>
                  </a:lnTo>
                  <a:lnTo>
                    <a:pt x="784225" y="34925"/>
                  </a:lnTo>
                  <a:lnTo>
                    <a:pt x="796925" y="41275"/>
                  </a:lnTo>
                  <a:lnTo>
                    <a:pt x="809625" y="47625"/>
                  </a:lnTo>
                  <a:lnTo>
                    <a:pt x="835025" y="63500"/>
                  </a:lnTo>
                  <a:lnTo>
                    <a:pt x="860425" y="79375"/>
                  </a:lnTo>
                  <a:lnTo>
                    <a:pt x="863600" y="85725"/>
                  </a:lnTo>
                  <a:lnTo>
                    <a:pt x="869950" y="92075"/>
                  </a:lnTo>
                  <a:lnTo>
                    <a:pt x="879475" y="98425"/>
                  </a:lnTo>
                  <a:lnTo>
                    <a:pt x="889000" y="104775"/>
                  </a:lnTo>
                  <a:lnTo>
                    <a:pt x="889000" y="107950"/>
                  </a:lnTo>
                  <a:lnTo>
                    <a:pt x="885825" y="111125"/>
                  </a:lnTo>
                  <a:lnTo>
                    <a:pt x="904875" y="123825"/>
                  </a:lnTo>
                  <a:lnTo>
                    <a:pt x="911225" y="130175"/>
                  </a:lnTo>
                  <a:lnTo>
                    <a:pt x="914400" y="146050"/>
                  </a:lnTo>
                  <a:lnTo>
                    <a:pt x="917575" y="171450"/>
                  </a:lnTo>
                  <a:lnTo>
                    <a:pt x="917575" y="184150"/>
                  </a:lnTo>
                  <a:lnTo>
                    <a:pt x="914400" y="196850"/>
                  </a:lnTo>
                  <a:lnTo>
                    <a:pt x="908050" y="209550"/>
                  </a:lnTo>
                  <a:lnTo>
                    <a:pt x="904875" y="215900"/>
                  </a:lnTo>
                  <a:lnTo>
                    <a:pt x="898525" y="215900"/>
                  </a:lnTo>
                  <a:lnTo>
                    <a:pt x="898525" y="227013"/>
                  </a:lnTo>
                  <a:lnTo>
                    <a:pt x="908050" y="233363"/>
                  </a:lnTo>
                  <a:lnTo>
                    <a:pt x="914400" y="233363"/>
                  </a:lnTo>
                  <a:lnTo>
                    <a:pt x="920750" y="230188"/>
                  </a:lnTo>
                  <a:lnTo>
                    <a:pt x="933450" y="220663"/>
                  </a:lnTo>
                  <a:lnTo>
                    <a:pt x="946150" y="219075"/>
                  </a:lnTo>
                  <a:lnTo>
                    <a:pt x="962025" y="215900"/>
                  </a:lnTo>
                  <a:lnTo>
                    <a:pt x="971550" y="209550"/>
                  </a:lnTo>
                  <a:lnTo>
                    <a:pt x="984250" y="203200"/>
                  </a:lnTo>
                  <a:lnTo>
                    <a:pt x="987425" y="200025"/>
                  </a:lnTo>
                  <a:lnTo>
                    <a:pt x="984250" y="193675"/>
                  </a:lnTo>
                  <a:lnTo>
                    <a:pt x="984250" y="190500"/>
                  </a:lnTo>
                  <a:lnTo>
                    <a:pt x="984250" y="184150"/>
                  </a:lnTo>
                  <a:lnTo>
                    <a:pt x="996950" y="177800"/>
                  </a:lnTo>
                  <a:lnTo>
                    <a:pt x="1012825" y="177800"/>
                  </a:lnTo>
                  <a:lnTo>
                    <a:pt x="1031875" y="177800"/>
                  </a:lnTo>
                  <a:lnTo>
                    <a:pt x="1038225" y="174625"/>
                  </a:lnTo>
                  <a:lnTo>
                    <a:pt x="1041400" y="165100"/>
                  </a:lnTo>
                  <a:lnTo>
                    <a:pt x="1057275" y="152400"/>
                  </a:lnTo>
                  <a:lnTo>
                    <a:pt x="1079500" y="136525"/>
                  </a:lnTo>
                  <a:lnTo>
                    <a:pt x="1108075" y="136525"/>
                  </a:lnTo>
                  <a:lnTo>
                    <a:pt x="1139825" y="136525"/>
                  </a:lnTo>
                  <a:lnTo>
                    <a:pt x="1149350" y="136525"/>
                  </a:lnTo>
                  <a:lnTo>
                    <a:pt x="1162050" y="123825"/>
                  </a:lnTo>
                  <a:lnTo>
                    <a:pt x="1171575" y="114300"/>
                  </a:lnTo>
                  <a:lnTo>
                    <a:pt x="1174750" y="107950"/>
                  </a:lnTo>
                  <a:lnTo>
                    <a:pt x="1177925" y="98425"/>
                  </a:lnTo>
                  <a:lnTo>
                    <a:pt x="1181100" y="92075"/>
                  </a:lnTo>
                  <a:lnTo>
                    <a:pt x="1181100" y="82550"/>
                  </a:lnTo>
                  <a:lnTo>
                    <a:pt x="1190625" y="69850"/>
                  </a:lnTo>
                  <a:lnTo>
                    <a:pt x="1200150" y="60325"/>
                  </a:lnTo>
                  <a:lnTo>
                    <a:pt x="1200150" y="66675"/>
                  </a:lnTo>
                  <a:lnTo>
                    <a:pt x="1206500" y="69850"/>
                  </a:lnTo>
                  <a:lnTo>
                    <a:pt x="1216025" y="63500"/>
                  </a:lnTo>
                  <a:lnTo>
                    <a:pt x="1225550" y="69850"/>
                  </a:lnTo>
                  <a:lnTo>
                    <a:pt x="1228725" y="76200"/>
                  </a:lnTo>
                  <a:lnTo>
                    <a:pt x="1228725" y="85725"/>
                  </a:lnTo>
                  <a:lnTo>
                    <a:pt x="1228725" y="111125"/>
                  </a:lnTo>
                  <a:lnTo>
                    <a:pt x="1228725" y="117475"/>
                  </a:lnTo>
                  <a:lnTo>
                    <a:pt x="1231900" y="117475"/>
                  </a:lnTo>
                  <a:lnTo>
                    <a:pt x="1238250" y="120650"/>
                  </a:lnTo>
                  <a:lnTo>
                    <a:pt x="1241425" y="133350"/>
                  </a:lnTo>
                  <a:lnTo>
                    <a:pt x="1247775" y="142875"/>
                  </a:lnTo>
                  <a:lnTo>
                    <a:pt x="1241425" y="149225"/>
                  </a:lnTo>
                  <a:lnTo>
                    <a:pt x="1228725" y="152400"/>
                  </a:lnTo>
                  <a:lnTo>
                    <a:pt x="1222375" y="158750"/>
                  </a:lnTo>
                  <a:lnTo>
                    <a:pt x="1219200" y="152400"/>
                  </a:lnTo>
                  <a:lnTo>
                    <a:pt x="1203325" y="165100"/>
                  </a:lnTo>
                  <a:lnTo>
                    <a:pt x="1196975" y="171450"/>
                  </a:lnTo>
                  <a:lnTo>
                    <a:pt x="1187450" y="174625"/>
                  </a:lnTo>
                  <a:lnTo>
                    <a:pt x="1184275" y="177800"/>
                  </a:lnTo>
                  <a:lnTo>
                    <a:pt x="1181100" y="174625"/>
                  </a:lnTo>
                  <a:lnTo>
                    <a:pt x="1174750" y="187325"/>
                  </a:lnTo>
                  <a:lnTo>
                    <a:pt x="1165225" y="193675"/>
                  </a:lnTo>
                  <a:lnTo>
                    <a:pt x="1165225" y="196850"/>
                  </a:lnTo>
                  <a:lnTo>
                    <a:pt x="1162050" y="203200"/>
                  </a:lnTo>
                  <a:lnTo>
                    <a:pt x="1168400" y="209550"/>
                  </a:lnTo>
                  <a:lnTo>
                    <a:pt x="1162050" y="212725"/>
                  </a:lnTo>
                  <a:lnTo>
                    <a:pt x="1158875" y="219075"/>
                  </a:lnTo>
                  <a:lnTo>
                    <a:pt x="1165225" y="227013"/>
                  </a:lnTo>
                  <a:lnTo>
                    <a:pt x="1177925" y="233363"/>
                  </a:lnTo>
                  <a:lnTo>
                    <a:pt x="1177925" y="223838"/>
                  </a:lnTo>
                  <a:lnTo>
                    <a:pt x="1181100" y="223838"/>
                  </a:lnTo>
                  <a:lnTo>
                    <a:pt x="1181100" y="233363"/>
                  </a:lnTo>
                  <a:lnTo>
                    <a:pt x="1177925" y="236538"/>
                  </a:lnTo>
                  <a:lnTo>
                    <a:pt x="1171575" y="236538"/>
                  </a:lnTo>
                  <a:lnTo>
                    <a:pt x="1165225" y="236538"/>
                  </a:lnTo>
                  <a:lnTo>
                    <a:pt x="1165225" y="233363"/>
                  </a:lnTo>
                  <a:lnTo>
                    <a:pt x="1162050" y="236538"/>
                  </a:lnTo>
                  <a:lnTo>
                    <a:pt x="1158875" y="239713"/>
                  </a:lnTo>
                  <a:lnTo>
                    <a:pt x="1152525" y="233363"/>
                  </a:lnTo>
                  <a:lnTo>
                    <a:pt x="1149350" y="239713"/>
                  </a:lnTo>
                  <a:lnTo>
                    <a:pt x="1146175" y="242888"/>
                  </a:lnTo>
                  <a:lnTo>
                    <a:pt x="1130300" y="242888"/>
                  </a:lnTo>
                  <a:lnTo>
                    <a:pt x="1120775" y="246063"/>
                  </a:lnTo>
                  <a:lnTo>
                    <a:pt x="1108075" y="252413"/>
                  </a:lnTo>
                  <a:lnTo>
                    <a:pt x="1101725" y="252413"/>
                  </a:lnTo>
                  <a:lnTo>
                    <a:pt x="1099185" y="257493"/>
                  </a:lnTo>
                  <a:lnTo>
                    <a:pt x="1104900" y="255588"/>
                  </a:lnTo>
                  <a:lnTo>
                    <a:pt x="1111250" y="255588"/>
                  </a:lnTo>
                  <a:lnTo>
                    <a:pt x="1120775" y="255588"/>
                  </a:lnTo>
                  <a:lnTo>
                    <a:pt x="1133475" y="249238"/>
                  </a:lnTo>
                  <a:lnTo>
                    <a:pt x="1139825" y="252413"/>
                  </a:lnTo>
                  <a:lnTo>
                    <a:pt x="1123950" y="258763"/>
                  </a:lnTo>
                  <a:lnTo>
                    <a:pt x="1117600" y="261938"/>
                  </a:lnTo>
                  <a:lnTo>
                    <a:pt x="1104900" y="265113"/>
                  </a:lnTo>
                  <a:lnTo>
                    <a:pt x="1095375" y="265113"/>
                  </a:lnTo>
                  <a:lnTo>
                    <a:pt x="1095375" y="261938"/>
                  </a:lnTo>
                  <a:lnTo>
                    <a:pt x="1089025" y="268288"/>
                  </a:lnTo>
                  <a:lnTo>
                    <a:pt x="1095375" y="274638"/>
                  </a:lnTo>
                  <a:lnTo>
                    <a:pt x="1092200" y="290513"/>
                  </a:lnTo>
                  <a:lnTo>
                    <a:pt x="1082675" y="300038"/>
                  </a:lnTo>
                  <a:lnTo>
                    <a:pt x="1076325" y="312738"/>
                  </a:lnTo>
                  <a:lnTo>
                    <a:pt x="1076325" y="306388"/>
                  </a:lnTo>
                  <a:lnTo>
                    <a:pt x="1066800" y="300038"/>
                  </a:lnTo>
                  <a:lnTo>
                    <a:pt x="1063625" y="303213"/>
                  </a:lnTo>
                  <a:lnTo>
                    <a:pt x="1066800" y="309563"/>
                  </a:lnTo>
                  <a:lnTo>
                    <a:pt x="1073150" y="325438"/>
                  </a:lnTo>
                  <a:lnTo>
                    <a:pt x="1066800" y="338138"/>
                  </a:lnTo>
                  <a:lnTo>
                    <a:pt x="1060450" y="350838"/>
                  </a:lnTo>
                  <a:lnTo>
                    <a:pt x="1054100" y="360363"/>
                  </a:lnTo>
                  <a:lnTo>
                    <a:pt x="1050925" y="357188"/>
                  </a:lnTo>
                  <a:lnTo>
                    <a:pt x="1054100" y="350838"/>
                  </a:lnTo>
                  <a:lnTo>
                    <a:pt x="1057275" y="341313"/>
                  </a:lnTo>
                  <a:lnTo>
                    <a:pt x="1057275" y="334963"/>
                  </a:lnTo>
                  <a:lnTo>
                    <a:pt x="1050925" y="328613"/>
                  </a:lnTo>
                  <a:lnTo>
                    <a:pt x="1047750" y="325438"/>
                  </a:lnTo>
                  <a:lnTo>
                    <a:pt x="1047750" y="322263"/>
                  </a:lnTo>
                  <a:lnTo>
                    <a:pt x="1044575" y="309563"/>
                  </a:lnTo>
                  <a:lnTo>
                    <a:pt x="1047750" y="300038"/>
                  </a:lnTo>
                  <a:lnTo>
                    <a:pt x="1050925" y="300038"/>
                  </a:lnTo>
                  <a:lnTo>
                    <a:pt x="1050925" y="293688"/>
                  </a:lnTo>
                  <a:lnTo>
                    <a:pt x="1044575" y="300038"/>
                  </a:lnTo>
                  <a:lnTo>
                    <a:pt x="1041400" y="306388"/>
                  </a:lnTo>
                  <a:lnTo>
                    <a:pt x="1041400" y="319088"/>
                  </a:lnTo>
                  <a:lnTo>
                    <a:pt x="1038225" y="322263"/>
                  </a:lnTo>
                  <a:lnTo>
                    <a:pt x="1044575" y="334963"/>
                  </a:lnTo>
                  <a:lnTo>
                    <a:pt x="1044575" y="341313"/>
                  </a:lnTo>
                  <a:lnTo>
                    <a:pt x="1041400" y="347663"/>
                  </a:lnTo>
                  <a:lnTo>
                    <a:pt x="1044575" y="360363"/>
                  </a:lnTo>
                  <a:lnTo>
                    <a:pt x="1044575" y="366713"/>
                  </a:lnTo>
                  <a:lnTo>
                    <a:pt x="1050925" y="366713"/>
                  </a:lnTo>
                  <a:lnTo>
                    <a:pt x="1054100" y="379413"/>
                  </a:lnTo>
                  <a:lnTo>
                    <a:pt x="1060450" y="395288"/>
                  </a:lnTo>
                  <a:lnTo>
                    <a:pt x="1047750" y="388938"/>
                  </a:lnTo>
                  <a:lnTo>
                    <a:pt x="1035050" y="392113"/>
                  </a:lnTo>
                  <a:lnTo>
                    <a:pt x="1047750" y="395288"/>
                  </a:lnTo>
                  <a:lnTo>
                    <a:pt x="1054100" y="392113"/>
                  </a:lnTo>
                  <a:lnTo>
                    <a:pt x="1057275" y="395288"/>
                  </a:lnTo>
                  <a:lnTo>
                    <a:pt x="1054100" y="404813"/>
                  </a:lnTo>
                  <a:lnTo>
                    <a:pt x="1047750" y="407988"/>
                  </a:lnTo>
                  <a:lnTo>
                    <a:pt x="1044575" y="417513"/>
                  </a:lnTo>
                  <a:lnTo>
                    <a:pt x="1038225" y="423863"/>
                  </a:lnTo>
                  <a:lnTo>
                    <a:pt x="1022350" y="430213"/>
                  </a:lnTo>
                  <a:lnTo>
                    <a:pt x="1009650" y="436563"/>
                  </a:lnTo>
                  <a:lnTo>
                    <a:pt x="1003300" y="446088"/>
                  </a:lnTo>
                  <a:lnTo>
                    <a:pt x="996950" y="446088"/>
                  </a:lnTo>
                  <a:lnTo>
                    <a:pt x="987425" y="452438"/>
                  </a:lnTo>
                  <a:lnTo>
                    <a:pt x="984250" y="458788"/>
                  </a:lnTo>
                  <a:lnTo>
                    <a:pt x="977900" y="465138"/>
                  </a:lnTo>
                  <a:lnTo>
                    <a:pt x="971550" y="471488"/>
                  </a:lnTo>
                  <a:lnTo>
                    <a:pt x="965200" y="477838"/>
                  </a:lnTo>
                  <a:lnTo>
                    <a:pt x="949325" y="484188"/>
                  </a:lnTo>
                  <a:lnTo>
                    <a:pt x="942975" y="496888"/>
                  </a:lnTo>
                  <a:lnTo>
                    <a:pt x="939800" y="503238"/>
                  </a:lnTo>
                  <a:lnTo>
                    <a:pt x="936625" y="512763"/>
                  </a:lnTo>
                  <a:lnTo>
                    <a:pt x="936625" y="515938"/>
                  </a:lnTo>
                  <a:lnTo>
                    <a:pt x="933450" y="522288"/>
                  </a:lnTo>
                  <a:lnTo>
                    <a:pt x="936625" y="538163"/>
                  </a:lnTo>
                  <a:lnTo>
                    <a:pt x="936625" y="550863"/>
                  </a:lnTo>
                  <a:lnTo>
                    <a:pt x="942975" y="566738"/>
                  </a:lnTo>
                  <a:lnTo>
                    <a:pt x="946150" y="573088"/>
                  </a:lnTo>
                  <a:lnTo>
                    <a:pt x="946150" y="579438"/>
                  </a:lnTo>
                  <a:lnTo>
                    <a:pt x="958850" y="604838"/>
                  </a:lnTo>
                  <a:lnTo>
                    <a:pt x="965200" y="630238"/>
                  </a:lnTo>
                  <a:lnTo>
                    <a:pt x="962025" y="646113"/>
                  </a:lnTo>
                  <a:lnTo>
                    <a:pt x="958850" y="652463"/>
                  </a:lnTo>
                  <a:lnTo>
                    <a:pt x="958850" y="658813"/>
                  </a:lnTo>
                  <a:lnTo>
                    <a:pt x="952500" y="661988"/>
                  </a:lnTo>
                  <a:lnTo>
                    <a:pt x="946150" y="661988"/>
                  </a:lnTo>
                  <a:lnTo>
                    <a:pt x="939800" y="661988"/>
                  </a:lnTo>
                  <a:lnTo>
                    <a:pt x="936625" y="652463"/>
                  </a:lnTo>
                  <a:lnTo>
                    <a:pt x="933450" y="646113"/>
                  </a:lnTo>
                  <a:lnTo>
                    <a:pt x="930275" y="642938"/>
                  </a:lnTo>
                  <a:lnTo>
                    <a:pt x="927100" y="642938"/>
                  </a:lnTo>
                  <a:lnTo>
                    <a:pt x="927100" y="636588"/>
                  </a:lnTo>
                  <a:lnTo>
                    <a:pt x="927100" y="623888"/>
                  </a:lnTo>
                  <a:lnTo>
                    <a:pt x="923925" y="630238"/>
                  </a:lnTo>
                  <a:lnTo>
                    <a:pt x="920750" y="627063"/>
                  </a:lnTo>
                  <a:lnTo>
                    <a:pt x="920750" y="623888"/>
                  </a:lnTo>
                  <a:lnTo>
                    <a:pt x="920750" y="620713"/>
                  </a:lnTo>
                  <a:lnTo>
                    <a:pt x="917575" y="620713"/>
                  </a:lnTo>
                  <a:lnTo>
                    <a:pt x="914400" y="620713"/>
                  </a:lnTo>
                  <a:lnTo>
                    <a:pt x="908050" y="604838"/>
                  </a:lnTo>
                  <a:lnTo>
                    <a:pt x="904875" y="595313"/>
                  </a:lnTo>
                  <a:lnTo>
                    <a:pt x="904875" y="592138"/>
                  </a:lnTo>
                  <a:lnTo>
                    <a:pt x="904875" y="588963"/>
                  </a:lnTo>
                  <a:lnTo>
                    <a:pt x="908050" y="576263"/>
                  </a:lnTo>
                  <a:lnTo>
                    <a:pt x="908050" y="569913"/>
                  </a:lnTo>
                  <a:lnTo>
                    <a:pt x="901700" y="566738"/>
                  </a:lnTo>
                  <a:lnTo>
                    <a:pt x="898525" y="563563"/>
                  </a:lnTo>
                  <a:lnTo>
                    <a:pt x="895350" y="560388"/>
                  </a:lnTo>
                  <a:lnTo>
                    <a:pt x="885825" y="547688"/>
                  </a:lnTo>
                  <a:lnTo>
                    <a:pt x="869950" y="544513"/>
                  </a:lnTo>
                  <a:lnTo>
                    <a:pt x="860425" y="550863"/>
                  </a:lnTo>
                  <a:lnTo>
                    <a:pt x="857250" y="554038"/>
                  </a:lnTo>
                  <a:lnTo>
                    <a:pt x="850900" y="554038"/>
                  </a:lnTo>
                  <a:lnTo>
                    <a:pt x="847725" y="550863"/>
                  </a:lnTo>
                  <a:lnTo>
                    <a:pt x="847725" y="547688"/>
                  </a:lnTo>
                  <a:lnTo>
                    <a:pt x="841375" y="541338"/>
                  </a:lnTo>
                  <a:lnTo>
                    <a:pt x="831850" y="538163"/>
                  </a:lnTo>
                  <a:lnTo>
                    <a:pt x="825500" y="531813"/>
                  </a:lnTo>
                  <a:lnTo>
                    <a:pt x="815975" y="534988"/>
                  </a:lnTo>
                  <a:lnTo>
                    <a:pt x="803275" y="538163"/>
                  </a:lnTo>
                  <a:lnTo>
                    <a:pt x="796925" y="538163"/>
                  </a:lnTo>
                  <a:lnTo>
                    <a:pt x="793750" y="534988"/>
                  </a:lnTo>
                  <a:lnTo>
                    <a:pt x="793750" y="528638"/>
                  </a:lnTo>
                  <a:lnTo>
                    <a:pt x="793750" y="525463"/>
                  </a:lnTo>
                  <a:lnTo>
                    <a:pt x="784225" y="534988"/>
                  </a:lnTo>
                  <a:lnTo>
                    <a:pt x="781050" y="538163"/>
                  </a:lnTo>
                  <a:lnTo>
                    <a:pt x="774700" y="534988"/>
                  </a:lnTo>
                  <a:lnTo>
                    <a:pt x="765175" y="538163"/>
                  </a:lnTo>
                  <a:lnTo>
                    <a:pt x="762000" y="544513"/>
                  </a:lnTo>
                  <a:lnTo>
                    <a:pt x="755650" y="554038"/>
                  </a:lnTo>
                  <a:lnTo>
                    <a:pt x="771525" y="566738"/>
                  </a:lnTo>
                  <a:lnTo>
                    <a:pt x="762000" y="566738"/>
                  </a:lnTo>
                  <a:lnTo>
                    <a:pt x="755650" y="560388"/>
                  </a:lnTo>
                  <a:lnTo>
                    <a:pt x="746125" y="557213"/>
                  </a:lnTo>
                  <a:lnTo>
                    <a:pt x="746125" y="566738"/>
                  </a:lnTo>
                  <a:lnTo>
                    <a:pt x="739775" y="563563"/>
                  </a:lnTo>
                  <a:lnTo>
                    <a:pt x="733425" y="566738"/>
                  </a:lnTo>
                  <a:lnTo>
                    <a:pt x="720725" y="563563"/>
                  </a:lnTo>
                  <a:lnTo>
                    <a:pt x="717550" y="557213"/>
                  </a:lnTo>
                  <a:lnTo>
                    <a:pt x="711200" y="550863"/>
                  </a:lnTo>
                  <a:lnTo>
                    <a:pt x="704850" y="550863"/>
                  </a:lnTo>
                  <a:lnTo>
                    <a:pt x="704850" y="554038"/>
                  </a:lnTo>
                  <a:lnTo>
                    <a:pt x="682625" y="550863"/>
                  </a:lnTo>
                  <a:lnTo>
                    <a:pt x="669925" y="550863"/>
                  </a:lnTo>
                  <a:lnTo>
                    <a:pt x="657225" y="554038"/>
                  </a:lnTo>
                  <a:lnTo>
                    <a:pt x="644525" y="563563"/>
                  </a:lnTo>
                  <a:lnTo>
                    <a:pt x="638175" y="566738"/>
                  </a:lnTo>
                  <a:lnTo>
                    <a:pt x="635000" y="573088"/>
                  </a:lnTo>
                  <a:lnTo>
                    <a:pt x="622300" y="579438"/>
                  </a:lnTo>
                  <a:lnTo>
                    <a:pt x="615950" y="579438"/>
                  </a:lnTo>
                  <a:lnTo>
                    <a:pt x="606425" y="579438"/>
                  </a:lnTo>
                  <a:lnTo>
                    <a:pt x="603250" y="582613"/>
                  </a:lnTo>
                  <a:lnTo>
                    <a:pt x="603250" y="588963"/>
                  </a:lnTo>
                  <a:lnTo>
                    <a:pt x="596900" y="592138"/>
                  </a:lnTo>
                  <a:lnTo>
                    <a:pt x="596900" y="595313"/>
                  </a:lnTo>
                  <a:lnTo>
                    <a:pt x="590550" y="598488"/>
                  </a:lnTo>
                  <a:lnTo>
                    <a:pt x="590550" y="608013"/>
                  </a:lnTo>
                  <a:lnTo>
                    <a:pt x="587375" y="611188"/>
                  </a:lnTo>
                  <a:lnTo>
                    <a:pt x="587375" y="614363"/>
                  </a:lnTo>
                  <a:lnTo>
                    <a:pt x="587375" y="623888"/>
                  </a:lnTo>
                  <a:lnTo>
                    <a:pt x="590550" y="636588"/>
                  </a:lnTo>
                  <a:lnTo>
                    <a:pt x="593725" y="639763"/>
                  </a:lnTo>
                  <a:lnTo>
                    <a:pt x="593725" y="642938"/>
                  </a:lnTo>
                  <a:lnTo>
                    <a:pt x="590550" y="642938"/>
                  </a:lnTo>
                  <a:lnTo>
                    <a:pt x="574675" y="639763"/>
                  </a:lnTo>
                  <a:lnTo>
                    <a:pt x="565150" y="636588"/>
                  </a:lnTo>
                  <a:lnTo>
                    <a:pt x="552450" y="630238"/>
                  </a:lnTo>
                  <a:lnTo>
                    <a:pt x="549275" y="623888"/>
                  </a:lnTo>
                  <a:lnTo>
                    <a:pt x="546100" y="617538"/>
                  </a:lnTo>
                  <a:lnTo>
                    <a:pt x="546100" y="614363"/>
                  </a:lnTo>
                  <a:lnTo>
                    <a:pt x="546100" y="611188"/>
                  </a:lnTo>
                  <a:lnTo>
                    <a:pt x="542925" y="604838"/>
                  </a:lnTo>
                  <a:lnTo>
                    <a:pt x="539750" y="601663"/>
                  </a:lnTo>
                  <a:lnTo>
                    <a:pt x="536575" y="598488"/>
                  </a:lnTo>
                  <a:lnTo>
                    <a:pt x="527050" y="585788"/>
                  </a:lnTo>
                  <a:lnTo>
                    <a:pt x="520700" y="569913"/>
                  </a:lnTo>
                  <a:lnTo>
                    <a:pt x="517525" y="566738"/>
                  </a:lnTo>
                  <a:lnTo>
                    <a:pt x="514350" y="560388"/>
                  </a:lnTo>
                  <a:lnTo>
                    <a:pt x="504825" y="554038"/>
                  </a:lnTo>
                  <a:lnTo>
                    <a:pt x="492125" y="547688"/>
                  </a:lnTo>
                  <a:lnTo>
                    <a:pt x="482600" y="547688"/>
                  </a:lnTo>
                  <a:lnTo>
                    <a:pt x="479425" y="550863"/>
                  </a:lnTo>
                  <a:lnTo>
                    <a:pt x="473075" y="557213"/>
                  </a:lnTo>
                  <a:lnTo>
                    <a:pt x="469900" y="563563"/>
                  </a:lnTo>
                  <a:lnTo>
                    <a:pt x="466725" y="569913"/>
                  </a:lnTo>
                  <a:lnTo>
                    <a:pt x="463550" y="569913"/>
                  </a:lnTo>
                  <a:lnTo>
                    <a:pt x="450850" y="563563"/>
                  </a:lnTo>
                  <a:lnTo>
                    <a:pt x="438150" y="557213"/>
                  </a:lnTo>
                  <a:lnTo>
                    <a:pt x="431800" y="544513"/>
                  </a:lnTo>
                  <a:lnTo>
                    <a:pt x="431800" y="541338"/>
                  </a:lnTo>
                  <a:lnTo>
                    <a:pt x="428625" y="531813"/>
                  </a:lnTo>
                  <a:lnTo>
                    <a:pt x="419100" y="525463"/>
                  </a:lnTo>
                  <a:lnTo>
                    <a:pt x="409575" y="515938"/>
                  </a:lnTo>
                  <a:lnTo>
                    <a:pt x="396875" y="503238"/>
                  </a:lnTo>
                  <a:lnTo>
                    <a:pt x="387350" y="500063"/>
                  </a:lnTo>
                  <a:lnTo>
                    <a:pt x="355600" y="500063"/>
                  </a:lnTo>
                  <a:lnTo>
                    <a:pt x="355600" y="512763"/>
                  </a:lnTo>
                  <a:lnTo>
                    <a:pt x="342900" y="512763"/>
                  </a:lnTo>
                  <a:lnTo>
                    <a:pt x="323850" y="512763"/>
                  </a:lnTo>
                  <a:lnTo>
                    <a:pt x="301625" y="512763"/>
                  </a:lnTo>
                  <a:lnTo>
                    <a:pt x="292100" y="512763"/>
                  </a:lnTo>
                  <a:lnTo>
                    <a:pt x="266700" y="500063"/>
                  </a:lnTo>
                  <a:lnTo>
                    <a:pt x="212725" y="481013"/>
                  </a:lnTo>
                  <a:lnTo>
                    <a:pt x="215900" y="477838"/>
                  </a:lnTo>
                  <a:lnTo>
                    <a:pt x="165100" y="481013"/>
                  </a:lnTo>
                  <a:lnTo>
                    <a:pt x="152400" y="458788"/>
                  </a:lnTo>
                  <a:lnTo>
                    <a:pt x="142875" y="449263"/>
                  </a:lnTo>
                  <a:lnTo>
                    <a:pt x="133350" y="442913"/>
                  </a:lnTo>
                  <a:lnTo>
                    <a:pt x="104775" y="433388"/>
                  </a:lnTo>
                  <a:lnTo>
                    <a:pt x="92075" y="430213"/>
                  </a:lnTo>
                  <a:lnTo>
                    <a:pt x="88900" y="420688"/>
                  </a:lnTo>
                  <a:lnTo>
                    <a:pt x="73025" y="398463"/>
                  </a:lnTo>
                  <a:lnTo>
                    <a:pt x="60325" y="382588"/>
                  </a:lnTo>
                  <a:lnTo>
                    <a:pt x="60325" y="376238"/>
                  </a:lnTo>
                  <a:lnTo>
                    <a:pt x="63500" y="373063"/>
                  </a:lnTo>
                  <a:lnTo>
                    <a:pt x="60325" y="366713"/>
                  </a:lnTo>
                  <a:lnTo>
                    <a:pt x="57150" y="366713"/>
                  </a:lnTo>
                  <a:lnTo>
                    <a:pt x="50800" y="360363"/>
                  </a:lnTo>
                  <a:lnTo>
                    <a:pt x="47625" y="347663"/>
                  </a:lnTo>
                  <a:lnTo>
                    <a:pt x="47625" y="341313"/>
                  </a:lnTo>
                  <a:lnTo>
                    <a:pt x="41275" y="338138"/>
                  </a:lnTo>
                  <a:lnTo>
                    <a:pt x="34925" y="325438"/>
                  </a:lnTo>
                  <a:lnTo>
                    <a:pt x="28575" y="319088"/>
                  </a:lnTo>
                  <a:lnTo>
                    <a:pt x="22225" y="312738"/>
                  </a:lnTo>
                  <a:lnTo>
                    <a:pt x="19050" y="300038"/>
                  </a:lnTo>
                  <a:lnTo>
                    <a:pt x="22225" y="293688"/>
                  </a:lnTo>
                  <a:lnTo>
                    <a:pt x="19050" y="287338"/>
                  </a:lnTo>
                  <a:lnTo>
                    <a:pt x="12700" y="277813"/>
                  </a:lnTo>
                  <a:lnTo>
                    <a:pt x="6350" y="265113"/>
                  </a:lnTo>
                  <a:lnTo>
                    <a:pt x="12700" y="258763"/>
                  </a:lnTo>
                  <a:lnTo>
                    <a:pt x="12700" y="252413"/>
                  </a:lnTo>
                  <a:lnTo>
                    <a:pt x="12700" y="236538"/>
                  </a:lnTo>
                  <a:lnTo>
                    <a:pt x="9525" y="227013"/>
                  </a:lnTo>
                  <a:lnTo>
                    <a:pt x="9525" y="220663"/>
                  </a:lnTo>
                  <a:lnTo>
                    <a:pt x="6350" y="212725"/>
                  </a:lnTo>
                  <a:lnTo>
                    <a:pt x="6350" y="203200"/>
                  </a:lnTo>
                  <a:lnTo>
                    <a:pt x="6350" y="193675"/>
                  </a:lnTo>
                  <a:lnTo>
                    <a:pt x="9525" y="187325"/>
                  </a:lnTo>
                  <a:lnTo>
                    <a:pt x="12700" y="171450"/>
                  </a:lnTo>
                  <a:lnTo>
                    <a:pt x="12700" y="146050"/>
                  </a:lnTo>
                  <a:lnTo>
                    <a:pt x="15875" y="139700"/>
                  </a:lnTo>
                  <a:lnTo>
                    <a:pt x="15875" y="133350"/>
                  </a:lnTo>
                  <a:lnTo>
                    <a:pt x="15875" y="114300"/>
                  </a:lnTo>
                  <a:lnTo>
                    <a:pt x="15875" y="104775"/>
                  </a:lnTo>
                  <a:lnTo>
                    <a:pt x="15875" y="95250"/>
                  </a:lnTo>
                  <a:lnTo>
                    <a:pt x="22225" y="85725"/>
                  </a:lnTo>
                  <a:lnTo>
                    <a:pt x="19050" y="76200"/>
                  </a:lnTo>
                  <a:lnTo>
                    <a:pt x="15875" y="69850"/>
                  </a:lnTo>
                  <a:lnTo>
                    <a:pt x="9525" y="63500"/>
                  </a:lnTo>
                  <a:lnTo>
                    <a:pt x="6350" y="53975"/>
                  </a:lnTo>
                  <a:lnTo>
                    <a:pt x="6350" y="47625"/>
                  </a:lnTo>
                  <a:lnTo>
                    <a:pt x="0" y="44450"/>
                  </a:lnTo>
                  <a:lnTo>
                    <a:pt x="0" y="31750"/>
                  </a:lnTo>
                  <a:lnTo>
                    <a:pt x="15875" y="38100"/>
                  </a:lnTo>
                  <a:lnTo>
                    <a:pt x="34925" y="41275"/>
                  </a:lnTo>
                  <a:lnTo>
                    <a:pt x="41275" y="41275"/>
                  </a:lnTo>
                  <a:lnTo>
                    <a:pt x="47625" y="50800"/>
                  </a:lnTo>
                  <a:lnTo>
                    <a:pt x="47625" y="63500"/>
                  </a:lnTo>
                  <a:lnTo>
                    <a:pt x="44450" y="66675"/>
                  </a:lnTo>
                  <a:lnTo>
                    <a:pt x="34925" y="69850"/>
                  </a:lnTo>
                  <a:lnTo>
                    <a:pt x="38100" y="73025"/>
                  </a:lnTo>
                  <a:lnTo>
                    <a:pt x="41275" y="73025"/>
                  </a:lnTo>
                  <a:lnTo>
                    <a:pt x="50800" y="66675"/>
                  </a:lnTo>
                  <a:lnTo>
                    <a:pt x="50800" y="63500"/>
                  </a:lnTo>
                  <a:lnTo>
                    <a:pt x="50800" y="60325"/>
                  </a:lnTo>
                  <a:lnTo>
                    <a:pt x="53975" y="44450"/>
                  </a:lnTo>
                  <a:lnTo>
                    <a:pt x="50800" y="34925"/>
                  </a:lnTo>
                  <a:lnTo>
                    <a:pt x="47625" y="31750"/>
                  </a:lnTo>
                  <a:lnTo>
                    <a:pt x="44450" y="25400"/>
                  </a:lnTo>
                  <a:lnTo>
                    <a:pt x="44450" y="19050"/>
                  </a:lnTo>
                  <a:lnTo>
                    <a:pt x="41275" y="12700"/>
                  </a:lnTo>
                  <a:lnTo>
                    <a:pt x="165100" y="12700"/>
                  </a:lnTo>
                  <a:lnTo>
                    <a:pt x="187325" y="12700"/>
                  </a:lnTo>
                  <a:lnTo>
                    <a:pt x="228600" y="12700"/>
                  </a:lnTo>
                  <a:lnTo>
                    <a:pt x="317500" y="12700"/>
                  </a:lnTo>
                  <a:lnTo>
                    <a:pt x="447675" y="12700"/>
                  </a:lnTo>
                  <a:lnTo>
                    <a:pt x="504825" y="12700"/>
                  </a:lnTo>
                  <a:lnTo>
                    <a:pt x="593725" y="12700"/>
                  </a:lnTo>
                  <a:lnTo>
                    <a:pt x="638175" y="1270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2400">
                <a:solidFill>
                  <a:schemeClr val="lt1"/>
                </a:solidFill>
              </a:endParaRPr>
            </a:p>
          </p:txBody>
        </p:sp>
        <p:sp>
          <p:nvSpPr>
            <p:cNvPr id="210" name="Google Shape;661;p35">
              <a:extLst>
                <a:ext uri="{FF2B5EF4-FFF2-40B4-BE49-F238E27FC236}">
                  <a16:creationId xmlns:a16="http://schemas.microsoft.com/office/drawing/2014/main" id="{040DA581-5566-9D86-A539-2D26D6AB799F}"/>
                </a:ext>
              </a:extLst>
            </p:cNvPr>
            <p:cNvSpPr/>
            <p:nvPr/>
          </p:nvSpPr>
          <p:spPr>
            <a:xfrm>
              <a:off x="3603862" y="4052967"/>
              <a:ext cx="588645" cy="385763"/>
            </a:xfrm>
            <a:custGeom>
              <a:avLst/>
              <a:gdLst/>
              <a:ahLst/>
              <a:cxnLst/>
              <a:rect l="l" t="t" r="r" b="b"/>
              <a:pathLst>
                <a:path w="654050" h="428625" extrusionOk="0">
                  <a:moveTo>
                    <a:pt x="98425" y="88900"/>
                  </a:moveTo>
                  <a:lnTo>
                    <a:pt x="104775" y="88900"/>
                  </a:lnTo>
                  <a:lnTo>
                    <a:pt x="104775" y="92075"/>
                  </a:lnTo>
                  <a:lnTo>
                    <a:pt x="98425" y="95250"/>
                  </a:lnTo>
                  <a:lnTo>
                    <a:pt x="98425" y="92075"/>
                  </a:lnTo>
                  <a:close/>
                  <a:moveTo>
                    <a:pt x="76200" y="76200"/>
                  </a:moveTo>
                  <a:lnTo>
                    <a:pt x="79375" y="82550"/>
                  </a:lnTo>
                  <a:lnTo>
                    <a:pt x="85725" y="92075"/>
                  </a:lnTo>
                  <a:lnTo>
                    <a:pt x="79375" y="85725"/>
                  </a:lnTo>
                  <a:close/>
                  <a:moveTo>
                    <a:pt x="50800" y="0"/>
                  </a:moveTo>
                  <a:lnTo>
                    <a:pt x="47625" y="3175"/>
                  </a:lnTo>
                  <a:lnTo>
                    <a:pt x="101600" y="22225"/>
                  </a:lnTo>
                  <a:lnTo>
                    <a:pt x="127000" y="34925"/>
                  </a:lnTo>
                  <a:lnTo>
                    <a:pt x="136525" y="34925"/>
                  </a:lnTo>
                  <a:lnTo>
                    <a:pt x="158750" y="34925"/>
                  </a:lnTo>
                  <a:lnTo>
                    <a:pt x="177800" y="34925"/>
                  </a:lnTo>
                  <a:lnTo>
                    <a:pt x="190500" y="34925"/>
                  </a:lnTo>
                  <a:lnTo>
                    <a:pt x="190500" y="22225"/>
                  </a:lnTo>
                  <a:lnTo>
                    <a:pt x="222250" y="22225"/>
                  </a:lnTo>
                  <a:lnTo>
                    <a:pt x="231775" y="25400"/>
                  </a:lnTo>
                  <a:lnTo>
                    <a:pt x="244475" y="38100"/>
                  </a:lnTo>
                  <a:lnTo>
                    <a:pt x="254000" y="47625"/>
                  </a:lnTo>
                  <a:lnTo>
                    <a:pt x="263525" y="53975"/>
                  </a:lnTo>
                  <a:lnTo>
                    <a:pt x="266700" y="63500"/>
                  </a:lnTo>
                  <a:lnTo>
                    <a:pt x="266700" y="66675"/>
                  </a:lnTo>
                  <a:lnTo>
                    <a:pt x="273050" y="79375"/>
                  </a:lnTo>
                  <a:lnTo>
                    <a:pt x="285750" y="85725"/>
                  </a:lnTo>
                  <a:lnTo>
                    <a:pt x="298450" y="92075"/>
                  </a:lnTo>
                  <a:lnTo>
                    <a:pt x="301625" y="92075"/>
                  </a:lnTo>
                  <a:lnTo>
                    <a:pt x="304800" y="85725"/>
                  </a:lnTo>
                  <a:lnTo>
                    <a:pt x="307975" y="79375"/>
                  </a:lnTo>
                  <a:lnTo>
                    <a:pt x="314325" y="73025"/>
                  </a:lnTo>
                  <a:lnTo>
                    <a:pt x="317500" y="69850"/>
                  </a:lnTo>
                  <a:lnTo>
                    <a:pt x="327025" y="69850"/>
                  </a:lnTo>
                  <a:lnTo>
                    <a:pt x="339725" y="76200"/>
                  </a:lnTo>
                  <a:lnTo>
                    <a:pt x="349250" y="82550"/>
                  </a:lnTo>
                  <a:lnTo>
                    <a:pt x="352425" y="88900"/>
                  </a:lnTo>
                  <a:lnTo>
                    <a:pt x="355600" y="92075"/>
                  </a:lnTo>
                  <a:lnTo>
                    <a:pt x="361950" y="107950"/>
                  </a:lnTo>
                  <a:lnTo>
                    <a:pt x="371475" y="120650"/>
                  </a:lnTo>
                  <a:lnTo>
                    <a:pt x="374650" y="123825"/>
                  </a:lnTo>
                  <a:lnTo>
                    <a:pt x="377825" y="127000"/>
                  </a:lnTo>
                  <a:lnTo>
                    <a:pt x="381000" y="133350"/>
                  </a:lnTo>
                  <a:lnTo>
                    <a:pt x="381000" y="136525"/>
                  </a:lnTo>
                  <a:lnTo>
                    <a:pt x="381000" y="139700"/>
                  </a:lnTo>
                  <a:lnTo>
                    <a:pt x="384175" y="146050"/>
                  </a:lnTo>
                  <a:lnTo>
                    <a:pt x="387350" y="152400"/>
                  </a:lnTo>
                  <a:lnTo>
                    <a:pt x="400050" y="158750"/>
                  </a:lnTo>
                  <a:lnTo>
                    <a:pt x="409575" y="161925"/>
                  </a:lnTo>
                  <a:lnTo>
                    <a:pt x="425450" y="165100"/>
                  </a:lnTo>
                  <a:lnTo>
                    <a:pt x="428625" y="165100"/>
                  </a:lnTo>
                  <a:lnTo>
                    <a:pt x="422275" y="190500"/>
                  </a:lnTo>
                  <a:lnTo>
                    <a:pt x="419100" y="203200"/>
                  </a:lnTo>
                  <a:lnTo>
                    <a:pt x="415925" y="209550"/>
                  </a:lnTo>
                  <a:lnTo>
                    <a:pt x="415925" y="215900"/>
                  </a:lnTo>
                  <a:lnTo>
                    <a:pt x="415925" y="231775"/>
                  </a:lnTo>
                  <a:lnTo>
                    <a:pt x="415925" y="238125"/>
                  </a:lnTo>
                  <a:lnTo>
                    <a:pt x="412750" y="244475"/>
                  </a:lnTo>
                  <a:lnTo>
                    <a:pt x="415925" y="254000"/>
                  </a:lnTo>
                  <a:lnTo>
                    <a:pt x="419100" y="266700"/>
                  </a:lnTo>
                  <a:lnTo>
                    <a:pt x="422275" y="276225"/>
                  </a:lnTo>
                  <a:lnTo>
                    <a:pt x="428625" y="288925"/>
                  </a:lnTo>
                  <a:lnTo>
                    <a:pt x="438150" y="298450"/>
                  </a:lnTo>
                  <a:lnTo>
                    <a:pt x="447675" y="311150"/>
                  </a:lnTo>
                  <a:lnTo>
                    <a:pt x="447675" y="317500"/>
                  </a:lnTo>
                  <a:lnTo>
                    <a:pt x="450850" y="320675"/>
                  </a:lnTo>
                  <a:lnTo>
                    <a:pt x="460375" y="333375"/>
                  </a:lnTo>
                  <a:lnTo>
                    <a:pt x="473075" y="333375"/>
                  </a:lnTo>
                  <a:lnTo>
                    <a:pt x="482600" y="339725"/>
                  </a:lnTo>
                  <a:lnTo>
                    <a:pt x="485775" y="346075"/>
                  </a:lnTo>
                  <a:lnTo>
                    <a:pt x="495300" y="346075"/>
                  </a:lnTo>
                  <a:lnTo>
                    <a:pt x="504825" y="339725"/>
                  </a:lnTo>
                  <a:lnTo>
                    <a:pt x="514350" y="339725"/>
                  </a:lnTo>
                  <a:lnTo>
                    <a:pt x="523875" y="336550"/>
                  </a:lnTo>
                  <a:lnTo>
                    <a:pt x="533400" y="333375"/>
                  </a:lnTo>
                  <a:lnTo>
                    <a:pt x="542925" y="333375"/>
                  </a:lnTo>
                  <a:lnTo>
                    <a:pt x="542925" y="339725"/>
                  </a:lnTo>
                  <a:lnTo>
                    <a:pt x="555625" y="336550"/>
                  </a:lnTo>
                  <a:lnTo>
                    <a:pt x="558800" y="333375"/>
                  </a:lnTo>
                  <a:lnTo>
                    <a:pt x="561975" y="327025"/>
                  </a:lnTo>
                  <a:lnTo>
                    <a:pt x="568325" y="317500"/>
                  </a:lnTo>
                  <a:lnTo>
                    <a:pt x="571500" y="307975"/>
                  </a:lnTo>
                  <a:lnTo>
                    <a:pt x="574675" y="307975"/>
                  </a:lnTo>
                  <a:lnTo>
                    <a:pt x="574675" y="301625"/>
                  </a:lnTo>
                  <a:lnTo>
                    <a:pt x="574675" y="298450"/>
                  </a:lnTo>
                  <a:lnTo>
                    <a:pt x="574675" y="288925"/>
                  </a:lnTo>
                  <a:lnTo>
                    <a:pt x="577850" y="279400"/>
                  </a:lnTo>
                  <a:lnTo>
                    <a:pt x="590550" y="276225"/>
                  </a:lnTo>
                  <a:lnTo>
                    <a:pt x="603250" y="273050"/>
                  </a:lnTo>
                  <a:lnTo>
                    <a:pt x="622300" y="269875"/>
                  </a:lnTo>
                  <a:lnTo>
                    <a:pt x="628650" y="266700"/>
                  </a:lnTo>
                  <a:lnTo>
                    <a:pt x="635000" y="269875"/>
                  </a:lnTo>
                  <a:lnTo>
                    <a:pt x="644525" y="273050"/>
                  </a:lnTo>
                  <a:lnTo>
                    <a:pt x="647700" y="266700"/>
                  </a:lnTo>
                  <a:lnTo>
                    <a:pt x="654050" y="273050"/>
                  </a:lnTo>
                  <a:lnTo>
                    <a:pt x="650875" y="285750"/>
                  </a:lnTo>
                  <a:lnTo>
                    <a:pt x="644525" y="292100"/>
                  </a:lnTo>
                  <a:lnTo>
                    <a:pt x="641350" y="298450"/>
                  </a:lnTo>
                  <a:lnTo>
                    <a:pt x="638175" y="307975"/>
                  </a:lnTo>
                  <a:lnTo>
                    <a:pt x="638175" y="311150"/>
                  </a:lnTo>
                  <a:lnTo>
                    <a:pt x="638175" y="317500"/>
                  </a:lnTo>
                  <a:lnTo>
                    <a:pt x="635000" y="330200"/>
                  </a:lnTo>
                  <a:lnTo>
                    <a:pt x="631825" y="339725"/>
                  </a:lnTo>
                  <a:lnTo>
                    <a:pt x="625475" y="336550"/>
                  </a:lnTo>
                  <a:lnTo>
                    <a:pt x="622300" y="333375"/>
                  </a:lnTo>
                  <a:lnTo>
                    <a:pt x="622300" y="339725"/>
                  </a:lnTo>
                  <a:lnTo>
                    <a:pt x="615950" y="339725"/>
                  </a:lnTo>
                  <a:lnTo>
                    <a:pt x="612775" y="346075"/>
                  </a:lnTo>
                  <a:lnTo>
                    <a:pt x="606425" y="349250"/>
                  </a:lnTo>
                  <a:lnTo>
                    <a:pt x="603250" y="352425"/>
                  </a:lnTo>
                  <a:lnTo>
                    <a:pt x="603250" y="355600"/>
                  </a:lnTo>
                  <a:lnTo>
                    <a:pt x="574675" y="355600"/>
                  </a:lnTo>
                  <a:lnTo>
                    <a:pt x="561975" y="355600"/>
                  </a:lnTo>
                  <a:lnTo>
                    <a:pt x="561975" y="368300"/>
                  </a:lnTo>
                  <a:lnTo>
                    <a:pt x="552450" y="368300"/>
                  </a:lnTo>
                  <a:lnTo>
                    <a:pt x="561975" y="374650"/>
                  </a:lnTo>
                  <a:lnTo>
                    <a:pt x="568325" y="377825"/>
                  </a:lnTo>
                  <a:lnTo>
                    <a:pt x="574675" y="393700"/>
                  </a:lnTo>
                  <a:lnTo>
                    <a:pt x="555625" y="393700"/>
                  </a:lnTo>
                  <a:lnTo>
                    <a:pt x="546100" y="393700"/>
                  </a:lnTo>
                  <a:lnTo>
                    <a:pt x="542925" y="396875"/>
                  </a:lnTo>
                  <a:lnTo>
                    <a:pt x="536575" y="412750"/>
                  </a:lnTo>
                  <a:lnTo>
                    <a:pt x="539750" y="419100"/>
                  </a:lnTo>
                  <a:lnTo>
                    <a:pt x="536575" y="428625"/>
                  </a:lnTo>
                  <a:lnTo>
                    <a:pt x="514350" y="406400"/>
                  </a:lnTo>
                  <a:lnTo>
                    <a:pt x="504825" y="396875"/>
                  </a:lnTo>
                  <a:lnTo>
                    <a:pt x="492125" y="390525"/>
                  </a:lnTo>
                  <a:lnTo>
                    <a:pt x="482600" y="387350"/>
                  </a:lnTo>
                  <a:lnTo>
                    <a:pt x="479425" y="384175"/>
                  </a:lnTo>
                  <a:lnTo>
                    <a:pt x="473075" y="390525"/>
                  </a:lnTo>
                  <a:lnTo>
                    <a:pt x="463550" y="396875"/>
                  </a:lnTo>
                  <a:lnTo>
                    <a:pt x="450850" y="403225"/>
                  </a:lnTo>
                  <a:lnTo>
                    <a:pt x="428625" y="396875"/>
                  </a:lnTo>
                  <a:lnTo>
                    <a:pt x="412750" y="393700"/>
                  </a:lnTo>
                  <a:lnTo>
                    <a:pt x="403225" y="390525"/>
                  </a:lnTo>
                  <a:lnTo>
                    <a:pt x="393700" y="384175"/>
                  </a:lnTo>
                  <a:lnTo>
                    <a:pt x="377825" y="377825"/>
                  </a:lnTo>
                  <a:lnTo>
                    <a:pt x="365125" y="374650"/>
                  </a:lnTo>
                  <a:lnTo>
                    <a:pt x="352425" y="368300"/>
                  </a:lnTo>
                  <a:lnTo>
                    <a:pt x="339725" y="361950"/>
                  </a:lnTo>
                  <a:lnTo>
                    <a:pt x="330200" y="355600"/>
                  </a:lnTo>
                  <a:lnTo>
                    <a:pt x="323850" y="349250"/>
                  </a:lnTo>
                  <a:lnTo>
                    <a:pt x="320675" y="352425"/>
                  </a:lnTo>
                  <a:lnTo>
                    <a:pt x="314325" y="349250"/>
                  </a:lnTo>
                  <a:lnTo>
                    <a:pt x="301625" y="346075"/>
                  </a:lnTo>
                  <a:lnTo>
                    <a:pt x="288925" y="336550"/>
                  </a:lnTo>
                  <a:lnTo>
                    <a:pt x="279400" y="330200"/>
                  </a:lnTo>
                  <a:lnTo>
                    <a:pt x="266700" y="323850"/>
                  </a:lnTo>
                  <a:lnTo>
                    <a:pt x="254000" y="314325"/>
                  </a:lnTo>
                  <a:lnTo>
                    <a:pt x="247650" y="301625"/>
                  </a:lnTo>
                  <a:lnTo>
                    <a:pt x="244475" y="295275"/>
                  </a:lnTo>
                  <a:lnTo>
                    <a:pt x="247650" y="292100"/>
                  </a:lnTo>
                  <a:lnTo>
                    <a:pt x="250825" y="285750"/>
                  </a:lnTo>
                  <a:lnTo>
                    <a:pt x="254000" y="279400"/>
                  </a:lnTo>
                  <a:lnTo>
                    <a:pt x="254000" y="273050"/>
                  </a:lnTo>
                  <a:lnTo>
                    <a:pt x="250825" y="266700"/>
                  </a:lnTo>
                  <a:lnTo>
                    <a:pt x="247650" y="260350"/>
                  </a:lnTo>
                  <a:lnTo>
                    <a:pt x="247650" y="257175"/>
                  </a:lnTo>
                  <a:lnTo>
                    <a:pt x="238125" y="238125"/>
                  </a:lnTo>
                  <a:lnTo>
                    <a:pt x="219075" y="219075"/>
                  </a:lnTo>
                  <a:lnTo>
                    <a:pt x="209550" y="206375"/>
                  </a:lnTo>
                  <a:lnTo>
                    <a:pt x="200025" y="200025"/>
                  </a:lnTo>
                  <a:lnTo>
                    <a:pt x="190500" y="190500"/>
                  </a:lnTo>
                  <a:lnTo>
                    <a:pt x="180975" y="180975"/>
                  </a:lnTo>
                  <a:lnTo>
                    <a:pt x="171450" y="174625"/>
                  </a:lnTo>
                  <a:lnTo>
                    <a:pt x="165100" y="168275"/>
                  </a:lnTo>
                  <a:lnTo>
                    <a:pt x="168275" y="158750"/>
                  </a:lnTo>
                  <a:lnTo>
                    <a:pt x="168275" y="152400"/>
                  </a:lnTo>
                  <a:lnTo>
                    <a:pt x="165100" y="146050"/>
                  </a:lnTo>
                  <a:lnTo>
                    <a:pt x="158750" y="146050"/>
                  </a:lnTo>
                  <a:lnTo>
                    <a:pt x="155575" y="142875"/>
                  </a:lnTo>
                  <a:lnTo>
                    <a:pt x="146050" y="136525"/>
                  </a:lnTo>
                  <a:lnTo>
                    <a:pt x="139700" y="123825"/>
                  </a:lnTo>
                  <a:lnTo>
                    <a:pt x="142875" y="120650"/>
                  </a:lnTo>
                  <a:lnTo>
                    <a:pt x="136525" y="117475"/>
                  </a:lnTo>
                  <a:lnTo>
                    <a:pt x="133350" y="117475"/>
                  </a:lnTo>
                  <a:lnTo>
                    <a:pt x="130175" y="117475"/>
                  </a:lnTo>
                  <a:lnTo>
                    <a:pt x="127000" y="114300"/>
                  </a:lnTo>
                  <a:lnTo>
                    <a:pt x="114300" y="101600"/>
                  </a:lnTo>
                  <a:lnTo>
                    <a:pt x="107950" y="95250"/>
                  </a:lnTo>
                  <a:lnTo>
                    <a:pt x="104775" y="88900"/>
                  </a:lnTo>
                  <a:lnTo>
                    <a:pt x="104775" y="82550"/>
                  </a:lnTo>
                  <a:lnTo>
                    <a:pt x="98425" y="76200"/>
                  </a:lnTo>
                  <a:lnTo>
                    <a:pt x="92075" y="66675"/>
                  </a:lnTo>
                  <a:lnTo>
                    <a:pt x="88900" y="53975"/>
                  </a:lnTo>
                  <a:lnTo>
                    <a:pt x="85725" y="47625"/>
                  </a:lnTo>
                  <a:lnTo>
                    <a:pt x="82550" y="34925"/>
                  </a:lnTo>
                  <a:lnTo>
                    <a:pt x="73025" y="34925"/>
                  </a:lnTo>
                  <a:lnTo>
                    <a:pt x="66675" y="28575"/>
                  </a:lnTo>
                  <a:lnTo>
                    <a:pt x="60325" y="28575"/>
                  </a:lnTo>
                  <a:lnTo>
                    <a:pt x="47625" y="22225"/>
                  </a:lnTo>
                  <a:lnTo>
                    <a:pt x="50800" y="25400"/>
                  </a:lnTo>
                  <a:lnTo>
                    <a:pt x="47625" y="28575"/>
                  </a:lnTo>
                  <a:lnTo>
                    <a:pt x="47625" y="31750"/>
                  </a:lnTo>
                  <a:lnTo>
                    <a:pt x="50800" y="44450"/>
                  </a:lnTo>
                  <a:lnTo>
                    <a:pt x="50800" y="47625"/>
                  </a:lnTo>
                  <a:lnTo>
                    <a:pt x="53975" y="53975"/>
                  </a:lnTo>
                  <a:lnTo>
                    <a:pt x="50800" y="63500"/>
                  </a:lnTo>
                  <a:lnTo>
                    <a:pt x="53975" y="66675"/>
                  </a:lnTo>
                  <a:lnTo>
                    <a:pt x="66675" y="76200"/>
                  </a:lnTo>
                  <a:lnTo>
                    <a:pt x="76200" y="85725"/>
                  </a:lnTo>
                  <a:lnTo>
                    <a:pt x="85725" y="98425"/>
                  </a:lnTo>
                  <a:lnTo>
                    <a:pt x="92075" y="111125"/>
                  </a:lnTo>
                  <a:lnTo>
                    <a:pt x="92075" y="117475"/>
                  </a:lnTo>
                  <a:lnTo>
                    <a:pt x="95250" y="123825"/>
                  </a:lnTo>
                  <a:lnTo>
                    <a:pt x="101600" y="130175"/>
                  </a:lnTo>
                  <a:lnTo>
                    <a:pt x="104775" y="136525"/>
                  </a:lnTo>
                  <a:lnTo>
                    <a:pt x="111125" y="139700"/>
                  </a:lnTo>
                  <a:lnTo>
                    <a:pt x="114300" y="142875"/>
                  </a:lnTo>
                  <a:lnTo>
                    <a:pt x="117475" y="146050"/>
                  </a:lnTo>
                  <a:lnTo>
                    <a:pt x="120650" y="152400"/>
                  </a:lnTo>
                  <a:lnTo>
                    <a:pt x="123825" y="161925"/>
                  </a:lnTo>
                  <a:lnTo>
                    <a:pt x="123825" y="168275"/>
                  </a:lnTo>
                  <a:lnTo>
                    <a:pt x="130175" y="180975"/>
                  </a:lnTo>
                  <a:lnTo>
                    <a:pt x="133350" y="187325"/>
                  </a:lnTo>
                  <a:lnTo>
                    <a:pt x="136525" y="193675"/>
                  </a:lnTo>
                  <a:lnTo>
                    <a:pt x="136525" y="203200"/>
                  </a:lnTo>
                  <a:lnTo>
                    <a:pt x="146050" y="206375"/>
                  </a:lnTo>
                  <a:lnTo>
                    <a:pt x="146050" y="203200"/>
                  </a:lnTo>
                  <a:lnTo>
                    <a:pt x="149225" y="203200"/>
                  </a:lnTo>
                  <a:lnTo>
                    <a:pt x="158750" y="215900"/>
                  </a:lnTo>
                  <a:lnTo>
                    <a:pt x="165100" y="225425"/>
                  </a:lnTo>
                  <a:lnTo>
                    <a:pt x="158750" y="234950"/>
                  </a:lnTo>
                  <a:lnTo>
                    <a:pt x="149225" y="234950"/>
                  </a:lnTo>
                  <a:lnTo>
                    <a:pt x="149225" y="225425"/>
                  </a:lnTo>
                  <a:lnTo>
                    <a:pt x="146050" y="222250"/>
                  </a:lnTo>
                  <a:lnTo>
                    <a:pt x="139700" y="219075"/>
                  </a:lnTo>
                  <a:lnTo>
                    <a:pt x="117475" y="200025"/>
                  </a:lnTo>
                  <a:lnTo>
                    <a:pt x="111125" y="193675"/>
                  </a:lnTo>
                  <a:lnTo>
                    <a:pt x="107950" y="193675"/>
                  </a:lnTo>
                  <a:lnTo>
                    <a:pt x="104775" y="187325"/>
                  </a:lnTo>
                  <a:lnTo>
                    <a:pt x="107950" y="177800"/>
                  </a:lnTo>
                  <a:lnTo>
                    <a:pt x="101600" y="165100"/>
                  </a:lnTo>
                  <a:lnTo>
                    <a:pt x="98425" y="158750"/>
                  </a:lnTo>
                  <a:lnTo>
                    <a:pt x="95250" y="155575"/>
                  </a:lnTo>
                  <a:lnTo>
                    <a:pt x="82550" y="149225"/>
                  </a:lnTo>
                  <a:lnTo>
                    <a:pt x="76200" y="146050"/>
                  </a:lnTo>
                  <a:lnTo>
                    <a:pt x="73025" y="142875"/>
                  </a:lnTo>
                  <a:lnTo>
                    <a:pt x="47625" y="123825"/>
                  </a:lnTo>
                  <a:lnTo>
                    <a:pt x="63500" y="117475"/>
                  </a:lnTo>
                  <a:lnTo>
                    <a:pt x="63500" y="107950"/>
                  </a:lnTo>
                  <a:lnTo>
                    <a:pt x="63500" y="101600"/>
                  </a:lnTo>
                  <a:lnTo>
                    <a:pt x="53975" y="92075"/>
                  </a:lnTo>
                  <a:lnTo>
                    <a:pt x="41275" y="82550"/>
                  </a:lnTo>
                  <a:lnTo>
                    <a:pt x="31750" y="76200"/>
                  </a:lnTo>
                  <a:lnTo>
                    <a:pt x="28575" y="63500"/>
                  </a:lnTo>
                  <a:lnTo>
                    <a:pt x="25400" y="60325"/>
                  </a:lnTo>
                  <a:lnTo>
                    <a:pt x="25400" y="57150"/>
                  </a:lnTo>
                  <a:lnTo>
                    <a:pt x="22225" y="47625"/>
                  </a:lnTo>
                  <a:lnTo>
                    <a:pt x="12700" y="34925"/>
                  </a:lnTo>
                  <a:lnTo>
                    <a:pt x="9525" y="25400"/>
                  </a:lnTo>
                  <a:lnTo>
                    <a:pt x="0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1" name="Google Shape;662;p35">
              <a:extLst>
                <a:ext uri="{FF2B5EF4-FFF2-40B4-BE49-F238E27FC236}">
                  <a16:creationId xmlns:a16="http://schemas.microsoft.com/office/drawing/2014/main" id="{40E71758-5AC6-A1F7-0D33-0849A16CAA34}"/>
                </a:ext>
              </a:extLst>
            </p:cNvPr>
            <p:cNvSpPr/>
            <p:nvPr/>
          </p:nvSpPr>
          <p:spPr>
            <a:xfrm>
              <a:off x="4349670" y="4181554"/>
              <a:ext cx="111443" cy="125730"/>
            </a:xfrm>
            <a:custGeom>
              <a:avLst/>
              <a:gdLst/>
              <a:ahLst/>
              <a:cxnLst/>
              <a:rect l="l" t="t" r="r" b="b"/>
              <a:pathLst>
                <a:path w="123825" h="139700" extrusionOk="0">
                  <a:moveTo>
                    <a:pt x="123825" y="130175"/>
                  </a:moveTo>
                  <a:lnTo>
                    <a:pt x="120650" y="136525"/>
                  </a:lnTo>
                  <a:lnTo>
                    <a:pt x="114300" y="139700"/>
                  </a:lnTo>
                  <a:lnTo>
                    <a:pt x="107950" y="139700"/>
                  </a:lnTo>
                  <a:lnTo>
                    <a:pt x="107950" y="136525"/>
                  </a:lnTo>
                  <a:lnTo>
                    <a:pt x="117475" y="133350"/>
                  </a:lnTo>
                  <a:close/>
                  <a:moveTo>
                    <a:pt x="104775" y="98426"/>
                  </a:moveTo>
                  <a:lnTo>
                    <a:pt x="101600" y="107951"/>
                  </a:lnTo>
                  <a:lnTo>
                    <a:pt x="95250" y="111126"/>
                  </a:lnTo>
                  <a:lnTo>
                    <a:pt x="98425" y="104776"/>
                  </a:lnTo>
                  <a:close/>
                  <a:moveTo>
                    <a:pt x="92075" y="95250"/>
                  </a:moveTo>
                  <a:lnTo>
                    <a:pt x="101600" y="98425"/>
                  </a:lnTo>
                  <a:lnTo>
                    <a:pt x="98425" y="98425"/>
                  </a:lnTo>
                  <a:close/>
                  <a:moveTo>
                    <a:pt x="73025" y="76200"/>
                  </a:moveTo>
                  <a:lnTo>
                    <a:pt x="82550" y="95250"/>
                  </a:lnTo>
                  <a:lnTo>
                    <a:pt x="76200" y="88900"/>
                  </a:lnTo>
                  <a:close/>
                  <a:moveTo>
                    <a:pt x="22225" y="63500"/>
                  </a:moveTo>
                  <a:lnTo>
                    <a:pt x="22225" y="76200"/>
                  </a:lnTo>
                  <a:lnTo>
                    <a:pt x="19050" y="69850"/>
                  </a:lnTo>
                  <a:close/>
                  <a:moveTo>
                    <a:pt x="53975" y="44450"/>
                  </a:moveTo>
                  <a:lnTo>
                    <a:pt x="53975" y="53975"/>
                  </a:lnTo>
                  <a:lnTo>
                    <a:pt x="50800" y="50800"/>
                  </a:lnTo>
                  <a:close/>
                  <a:moveTo>
                    <a:pt x="9525" y="41275"/>
                  </a:moveTo>
                  <a:lnTo>
                    <a:pt x="19050" y="50800"/>
                  </a:lnTo>
                  <a:lnTo>
                    <a:pt x="15875" y="60325"/>
                  </a:lnTo>
                  <a:lnTo>
                    <a:pt x="9525" y="57150"/>
                  </a:lnTo>
                  <a:lnTo>
                    <a:pt x="6350" y="53975"/>
                  </a:lnTo>
                  <a:close/>
                  <a:moveTo>
                    <a:pt x="41275" y="31750"/>
                  </a:moveTo>
                  <a:lnTo>
                    <a:pt x="53975" y="41275"/>
                  </a:lnTo>
                  <a:lnTo>
                    <a:pt x="53975" y="44450"/>
                  </a:lnTo>
                  <a:lnTo>
                    <a:pt x="50800" y="41275"/>
                  </a:lnTo>
                  <a:lnTo>
                    <a:pt x="47625" y="38100"/>
                  </a:lnTo>
                  <a:close/>
                  <a:moveTo>
                    <a:pt x="3175" y="6350"/>
                  </a:moveTo>
                  <a:lnTo>
                    <a:pt x="9525" y="6350"/>
                  </a:lnTo>
                  <a:lnTo>
                    <a:pt x="12700" y="6350"/>
                  </a:lnTo>
                  <a:lnTo>
                    <a:pt x="0" y="9525"/>
                  </a:lnTo>
                  <a:close/>
                  <a:moveTo>
                    <a:pt x="25400" y="0"/>
                  </a:moveTo>
                  <a:lnTo>
                    <a:pt x="34925" y="9525"/>
                  </a:lnTo>
                  <a:lnTo>
                    <a:pt x="34925" y="15875"/>
                  </a:lnTo>
                  <a:lnTo>
                    <a:pt x="31750" y="25400"/>
                  </a:lnTo>
                  <a:lnTo>
                    <a:pt x="28575" y="22225"/>
                  </a:lnTo>
                  <a:lnTo>
                    <a:pt x="31750" y="19050"/>
                  </a:lnTo>
                  <a:lnTo>
                    <a:pt x="31750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2" name="Google Shape;663;p35">
              <a:extLst>
                <a:ext uri="{FF2B5EF4-FFF2-40B4-BE49-F238E27FC236}">
                  <a16:creationId xmlns:a16="http://schemas.microsoft.com/office/drawing/2014/main" id="{9BE8D3D7-181C-8857-03A8-5A4E154F8506}"/>
                </a:ext>
              </a:extLst>
            </p:cNvPr>
            <p:cNvSpPr/>
            <p:nvPr/>
          </p:nvSpPr>
          <p:spPr>
            <a:xfrm>
              <a:off x="4481115" y="4330145"/>
              <a:ext cx="65722" cy="45720"/>
            </a:xfrm>
            <a:custGeom>
              <a:avLst/>
              <a:gdLst/>
              <a:ahLst/>
              <a:cxnLst/>
              <a:rect l="l" t="t" r="r" b="b"/>
              <a:pathLst>
                <a:path w="46" h="32" extrusionOk="0">
                  <a:moveTo>
                    <a:pt x="0" y="12"/>
                  </a:moveTo>
                  <a:lnTo>
                    <a:pt x="2" y="18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4" y="28"/>
                  </a:lnTo>
                  <a:lnTo>
                    <a:pt x="6" y="32"/>
                  </a:lnTo>
                  <a:lnTo>
                    <a:pt x="8" y="28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8" y="22"/>
                  </a:lnTo>
                  <a:lnTo>
                    <a:pt x="22" y="22"/>
                  </a:lnTo>
                  <a:lnTo>
                    <a:pt x="26" y="20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40" y="20"/>
                  </a:lnTo>
                  <a:lnTo>
                    <a:pt x="42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6" y="4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8" y="0"/>
                  </a:lnTo>
                  <a:lnTo>
                    <a:pt x="2" y="0"/>
                  </a:lnTo>
                  <a:lnTo>
                    <a:pt x="4" y="8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3" name="Google Shape;664;p35">
              <a:extLst>
                <a:ext uri="{FF2B5EF4-FFF2-40B4-BE49-F238E27FC236}">
                  <a16:creationId xmlns:a16="http://schemas.microsoft.com/office/drawing/2014/main" id="{E72AB655-8E93-22FE-2CF2-5958EEF98DCB}"/>
                </a:ext>
              </a:extLst>
            </p:cNvPr>
            <p:cNvSpPr/>
            <p:nvPr/>
          </p:nvSpPr>
          <p:spPr>
            <a:xfrm>
              <a:off x="4432538" y="4327287"/>
              <a:ext cx="54292" cy="40005"/>
            </a:xfrm>
            <a:custGeom>
              <a:avLst/>
              <a:gdLst/>
              <a:ahLst/>
              <a:cxnLst/>
              <a:rect l="l" t="t" r="r" b="b"/>
              <a:pathLst>
                <a:path w="38" h="28" extrusionOk="0">
                  <a:moveTo>
                    <a:pt x="2" y="24"/>
                  </a:moveTo>
                  <a:lnTo>
                    <a:pt x="4" y="26"/>
                  </a:lnTo>
                  <a:lnTo>
                    <a:pt x="8" y="26"/>
                  </a:lnTo>
                  <a:lnTo>
                    <a:pt x="12" y="24"/>
                  </a:lnTo>
                  <a:lnTo>
                    <a:pt x="20" y="26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6" y="20"/>
                  </a:lnTo>
                  <a:lnTo>
                    <a:pt x="34" y="14"/>
                  </a:lnTo>
                  <a:lnTo>
                    <a:pt x="38" y="10"/>
                  </a:lnTo>
                  <a:lnTo>
                    <a:pt x="36" y="2"/>
                  </a:lnTo>
                  <a:lnTo>
                    <a:pt x="32" y="4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24" y="14"/>
                  </a:lnTo>
                  <a:lnTo>
                    <a:pt x="26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18" y="22"/>
                  </a:lnTo>
                  <a:lnTo>
                    <a:pt x="10" y="22"/>
                  </a:lnTo>
                  <a:lnTo>
                    <a:pt x="4" y="20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4" name="Google Shape;665;p35">
              <a:extLst>
                <a:ext uri="{FF2B5EF4-FFF2-40B4-BE49-F238E27FC236}">
                  <a16:creationId xmlns:a16="http://schemas.microsoft.com/office/drawing/2014/main" id="{4187CA3D-FB21-0B3D-633F-C2D75C39527B}"/>
                </a:ext>
              </a:extLst>
            </p:cNvPr>
            <p:cNvSpPr/>
            <p:nvPr/>
          </p:nvSpPr>
          <p:spPr>
            <a:xfrm>
              <a:off x="4678282" y="4398724"/>
              <a:ext cx="17145" cy="40005"/>
            </a:xfrm>
            <a:custGeom>
              <a:avLst/>
              <a:gdLst/>
              <a:ahLst/>
              <a:cxnLst/>
              <a:rect l="l" t="t" r="r" b="b"/>
              <a:pathLst>
                <a:path w="19050" h="44450" extrusionOk="0">
                  <a:moveTo>
                    <a:pt x="12700" y="34925"/>
                  </a:moveTo>
                  <a:lnTo>
                    <a:pt x="19050" y="41275"/>
                  </a:lnTo>
                  <a:lnTo>
                    <a:pt x="19050" y="44450"/>
                  </a:lnTo>
                  <a:lnTo>
                    <a:pt x="15875" y="44450"/>
                  </a:lnTo>
                  <a:close/>
                  <a:moveTo>
                    <a:pt x="6350" y="0"/>
                  </a:moveTo>
                  <a:lnTo>
                    <a:pt x="9525" y="3175"/>
                  </a:lnTo>
                  <a:lnTo>
                    <a:pt x="9525" y="6350"/>
                  </a:lnTo>
                  <a:lnTo>
                    <a:pt x="3175" y="6350"/>
                  </a:lnTo>
                  <a:lnTo>
                    <a:pt x="0" y="9525"/>
                  </a:lnTo>
                  <a:lnTo>
                    <a:pt x="0" y="6350"/>
                  </a:lnTo>
                  <a:lnTo>
                    <a:pt x="3175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5" name="Google Shape;666;p35">
              <a:extLst>
                <a:ext uri="{FF2B5EF4-FFF2-40B4-BE49-F238E27FC236}">
                  <a16:creationId xmlns:a16="http://schemas.microsoft.com/office/drawing/2014/main" id="{53E221CB-0EE8-6C9F-07EC-61FCEB164805}"/>
                </a:ext>
              </a:extLst>
            </p:cNvPr>
            <p:cNvSpPr/>
            <p:nvPr/>
          </p:nvSpPr>
          <p:spPr>
            <a:xfrm>
              <a:off x="4355385" y="4358720"/>
              <a:ext cx="40005" cy="14287"/>
            </a:xfrm>
            <a:custGeom>
              <a:avLst/>
              <a:gdLst/>
              <a:ahLst/>
              <a:cxnLst/>
              <a:rect l="l" t="t" r="r" b="b"/>
              <a:pathLst>
                <a:path w="28" h="10" extrusionOk="0">
                  <a:moveTo>
                    <a:pt x="6" y="0"/>
                  </a:moveTo>
                  <a:lnTo>
                    <a:pt x="0" y="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22" y="6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8" y="4"/>
                  </a:lnTo>
                  <a:lnTo>
                    <a:pt x="1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6" name="Google Shape;667;p35">
              <a:extLst>
                <a:ext uri="{FF2B5EF4-FFF2-40B4-BE49-F238E27FC236}">
                  <a16:creationId xmlns:a16="http://schemas.microsoft.com/office/drawing/2014/main" id="{BCF9376D-CC24-9959-B63B-8A0749D4CAE3}"/>
                </a:ext>
              </a:extLst>
            </p:cNvPr>
            <p:cNvSpPr/>
            <p:nvPr/>
          </p:nvSpPr>
          <p:spPr>
            <a:xfrm>
              <a:off x="4229655" y="4261564"/>
              <a:ext cx="205740" cy="68580"/>
            </a:xfrm>
            <a:custGeom>
              <a:avLst/>
              <a:gdLst/>
              <a:ahLst/>
              <a:cxnLst/>
              <a:rect l="l" t="t" r="r" b="b"/>
              <a:pathLst>
                <a:path w="228600" h="76200" extrusionOk="0">
                  <a:moveTo>
                    <a:pt x="41275" y="28575"/>
                  </a:moveTo>
                  <a:lnTo>
                    <a:pt x="47625" y="28575"/>
                  </a:lnTo>
                  <a:lnTo>
                    <a:pt x="47625" y="38100"/>
                  </a:lnTo>
                  <a:lnTo>
                    <a:pt x="38100" y="38100"/>
                  </a:lnTo>
                  <a:lnTo>
                    <a:pt x="38100" y="31750"/>
                  </a:lnTo>
                  <a:close/>
                  <a:moveTo>
                    <a:pt x="53975" y="0"/>
                  </a:moveTo>
                  <a:lnTo>
                    <a:pt x="69850" y="0"/>
                  </a:lnTo>
                  <a:lnTo>
                    <a:pt x="82550" y="0"/>
                  </a:lnTo>
                  <a:lnTo>
                    <a:pt x="88900" y="0"/>
                  </a:lnTo>
                  <a:lnTo>
                    <a:pt x="95250" y="3175"/>
                  </a:lnTo>
                  <a:lnTo>
                    <a:pt x="104775" y="6350"/>
                  </a:lnTo>
                  <a:lnTo>
                    <a:pt x="114300" y="12700"/>
                  </a:lnTo>
                  <a:lnTo>
                    <a:pt x="120650" y="19050"/>
                  </a:lnTo>
                  <a:lnTo>
                    <a:pt x="130175" y="19050"/>
                  </a:lnTo>
                  <a:lnTo>
                    <a:pt x="139700" y="22225"/>
                  </a:lnTo>
                  <a:lnTo>
                    <a:pt x="146050" y="25400"/>
                  </a:lnTo>
                  <a:lnTo>
                    <a:pt x="155575" y="31750"/>
                  </a:lnTo>
                  <a:lnTo>
                    <a:pt x="161925" y="31750"/>
                  </a:lnTo>
                  <a:lnTo>
                    <a:pt x="165100" y="38100"/>
                  </a:lnTo>
                  <a:lnTo>
                    <a:pt x="168275" y="38100"/>
                  </a:lnTo>
                  <a:lnTo>
                    <a:pt x="174625" y="41275"/>
                  </a:lnTo>
                  <a:lnTo>
                    <a:pt x="196850" y="50800"/>
                  </a:lnTo>
                  <a:lnTo>
                    <a:pt x="200025" y="50800"/>
                  </a:lnTo>
                  <a:lnTo>
                    <a:pt x="200025" y="53975"/>
                  </a:lnTo>
                  <a:lnTo>
                    <a:pt x="212725" y="57150"/>
                  </a:lnTo>
                  <a:lnTo>
                    <a:pt x="219075" y="60325"/>
                  </a:lnTo>
                  <a:lnTo>
                    <a:pt x="222250" y="63500"/>
                  </a:lnTo>
                  <a:lnTo>
                    <a:pt x="225425" y="66675"/>
                  </a:lnTo>
                  <a:lnTo>
                    <a:pt x="228600" y="69850"/>
                  </a:lnTo>
                  <a:lnTo>
                    <a:pt x="215900" y="73025"/>
                  </a:lnTo>
                  <a:lnTo>
                    <a:pt x="209550" y="76200"/>
                  </a:lnTo>
                  <a:lnTo>
                    <a:pt x="206375" y="76200"/>
                  </a:lnTo>
                  <a:lnTo>
                    <a:pt x="193675" y="73025"/>
                  </a:lnTo>
                  <a:lnTo>
                    <a:pt x="180975" y="73025"/>
                  </a:lnTo>
                  <a:lnTo>
                    <a:pt x="152400" y="76200"/>
                  </a:lnTo>
                  <a:lnTo>
                    <a:pt x="165100" y="66675"/>
                  </a:lnTo>
                  <a:lnTo>
                    <a:pt x="165100" y="60325"/>
                  </a:lnTo>
                  <a:lnTo>
                    <a:pt x="158750" y="57150"/>
                  </a:lnTo>
                  <a:lnTo>
                    <a:pt x="152400" y="57150"/>
                  </a:lnTo>
                  <a:lnTo>
                    <a:pt x="146050" y="57150"/>
                  </a:lnTo>
                  <a:lnTo>
                    <a:pt x="139700" y="50800"/>
                  </a:lnTo>
                  <a:lnTo>
                    <a:pt x="136525" y="47625"/>
                  </a:lnTo>
                  <a:lnTo>
                    <a:pt x="133350" y="41275"/>
                  </a:lnTo>
                  <a:lnTo>
                    <a:pt x="130175" y="38100"/>
                  </a:lnTo>
                  <a:lnTo>
                    <a:pt x="123825" y="38100"/>
                  </a:lnTo>
                  <a:lnTo>
                    <a:pt x="107950" y="34925"/>
                  </a:lnTo>
                  <a:lnTo>
                    <a:pt x="95250" y="25400"/>
                  </a:lnTo>
                  <a:lnTo>
                    <a:pt x="88900" y="25400"/>
                  </a:lnTo>
                  <a:lnTo>
                    <a:pt x="82550" y="25400"/>
                  </a:lnTo>
                  <a:lnTo>
                    <a:pt x="79375" y="22225"/>
                  </a:lnTo>
                  <a:lnTo>
                    <a:pt x="69850" y="22225"/>
                  </a:lnTo>
                  <a:lnTo>
                    <a:pt x="63500" y="22225"/>
                  </a:lnTo>
                  <a:lnTo>
                    <a:pt x="60325" y="15875"/>
                  </a:lnTo>
                  <a:lnTo>
                    <a:pt x="66675" y="15875"/>
                  </a:lnTo>
                  <a:lnTo>
                    <a:pt x="63500" y="12700"/>
                  </a:lnTo>
                  <a:lnTo>
                    <a:pt x="60325" y="12700"/>
                  </a:lnTo>
                  <a:lnTo>
                    <a:pt x="53975" y="9525"/>
                  </a:lnTo>
                  <a:lnTo>
                    <a:pt x="41275" y="12700"/>
                  </a:lnTo>
                  <a:lnTo>
                    <a:pt x="38100" y="19050"/>
                  </a:lnTo>
                  <a:lnTo>
                    <a:pt x="31750" y="22225"/>
                  </a:lnTo>
                  <a:lnTo>
                    <a:pt x="22225" y="25400"/>
                  </a:lnTo>
                  <a:lnTo>
                    <a:pt x="15875" y="28575"/>
                  </a:lnTo>
                  <a:lnTo>
                    <a:pt x="12700" y="28575"/>
                  </a:lnTo>
                  <a:lnTo>
                    <a:pt x="6350" y="28575"/>
                  </a:lnTo>
                  <a:lnTo>
                    <a:pt x="0" y="28575"/>
                  </a:lnTo>
                  <a:lnTo>
                    <a:pt x="9525" y="25400"/>
                  </a:lnTo>
                  <a:lnTo>
                    <a:pt x="9525" y="19050"/>
                  </a:lnTo>
                  <a:lnTo>
                    <a:pt x="15875" y="12700"/>
                  </a:lnTo>
                  <a:lnTo>
                    <a:pt x="28575" y="6350"/>
                  </a:lnTo>
                  <a:lnTo>
                    <a:pt x="34925" y="3175"/>
                  </a:lnTo>
                  <a:lnTo>
                    <a:pt x="41275" y="3175"/>
                  </a:lnTo>
                  <a:lnTo>
                    <a:pt x="47625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7" name="Google Shape;668;p35">
              <a:extLst>
                <a:ext uri="{FF2B5EF4-FFF2-40B4-BE49-F238E27FC236}">
                  <a16:creationId xmlns:a16="http://schemas.microsoft.com/office/drawing/2014/main" id="{FBDE29D8-8CCC-7827-F0E3-C7B58008E20B}"/>
                </a:ext>
              </a:extLst>
            </p:cNvPr>
            <p:cNvSpPr/>
            <p:nvPr/>
          </p:nvSpPr>
          <p:spPr>
            <a:xfrm>
              <a:off x="4572555" y="4355862"/>
              <a:ext cx="31432" cy="14287"/>
            </a:xfrm>
            <a:custGeom>
              <a:avLst/>
              <a:gdLst/>
              <a:ahLst/>
              <a:cxnLst/>
              <a:rect l="l" t="t" r="r" b="b"/>
              <a:pathLst>
                <a:path w="22" h="10" extrusionOk="0">
                  <a:moveTo>
                    <a:pt x="12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2" y="10"/>
                  </a:lnTo>
                  <a:lnTo>
                    <a:pt x="12" y="10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2" y="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8" name="Google Shape;669;p35">
              <a:extLst>
                <a:ext uri="{FF2B5EF4-FFF2-40B4-BE49-F238E27FC236}">
                  <a16:creationId xmlns:a16="http://schemas.microsoft.com/office/drawing/2014/main" id="{17D2672E-1719-84BE-D377-43FDE6F2A808}"/>
                </a:ext>
              </a:extLst>
            </p:cNvPr>
            <p:cNvSpPr/>
            <p:nvPr/>
          </p:nvSpPr>
          <p:spPr>
            <a:xfrm>
              <a:off x="4086780" y="4373007"/>
              <a:ext cx="77152" cy="80010"/>
            </a:xfrm>
            <a:custGeom>
              <a:avLst/>
              <a:gdLst/>
              <a:ahLst/>
              <a:cxnLst/>
              <a:rect l="l" t="t" r="r" b="b"/>
              <a:pathLst>
                <a:path w="54" h="56" extrusionOk="0">
                  <a:moveTo>
                    <a:pt x="38" y="46"/>
                  </a:moveTo>
                  <a:lnTo>
                    <a:pt x="38" y="46"/>
                  </a:lnTo>
                  <a:lnTo>
                    <a:pt x="40" y="44"/>
                  </a:lnTo>
                  <a:lnTo>
                    <a:pt x="42" y="40"/>
                  </a:lnTo>
                  <a:lnTo>
                    <a:pt x="44" y="36"/>
                  </a:lnTo>
                  <a:lnTo>
                    <a:pt x="46" y="34"/>
                  </a:lnTo>
                  <a:lnTo>
                    <a:pt x="52" y="30"/>
                  </a:lnTo>
                  <a:lnTo>
                    <a:pt x="54" y="28"/>
                  </a:lnTo>
                  <a:lnTo>
                    <a:pt x="50" y="28"/>
                  </a:lnTo>
                  <a:lnTo>
                    <a:pt x="44" y="26"/>
                  </a:lnTo>
                  <a:lnTo>
                    <a:pt x="40" y="2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10" y="8"/>
                  </a:lnTo>
                  <a:lnTo>
                    <a:pt x="16" y="12"/>
                  </a:lnTo>
                  <a:lnTo>
                    <a:pt x="20" y="14"/>
                  </a:lnTo>
                  <a:lnTo>
                    <a:pt x="24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4" y="26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0" y="46"/>
                  </a:lnTo>
                  <a:lnTo>
                    <a:pt x="6" y="50"/>
                  </a:lnTo>
                  <a:lnTo>
                    <a:pt x="10" y="52"/>
                  </a:lnTo>
                  <a:lnTo>
                    <a:pt x="18" y="54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8" y="4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9" name="Google Shape;670;p35">
              <a:extLst>
                <a:ext uri="{FF2B5EF4-FFF2-40B4-BE49-F238E27FC236}">
                  <a16:creationId xmlns:a16="http://schemas.microsoft.com/office/drawing/2014/main" id="{1237D57D-1417-FE42-885B-6632D413D3D6}"/>
                </a:ext>
              </a:extLst>
            </p:cNvPr>
            <p:cNvSpPr/>
            <p:nvPr/>
          </p:nvSpPr>
          <p:spPr>
            <a:xfrm>
              <a:off x="4143930" y="4358720"/>
              <a:ext cx="22860" cy="51435"/>
            </a:xfrm>
            <a:custGeom>
              <a:avLst/>
              <a:gdLst/>
              <a:ahLst/>
              <a:cxnLst/>
              <a:rect l="l" t="t" r="r" b="b"/>
              <a:pathLst>
                <a:path w="16" h="36" extrusionOk="0">
                  <a:moveTo>
                    <a:pt x="8" y="4"/>
                  </a:moveTo>
                  <a:lnTo>
                    <a:pt x="4" y="6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10" y="30"/>
                  </a:lnTo>
                  <a:lnTo>
                    <a:pt x="12" y="26"/>
                  </a:lnTo>
                  <a:lnTo>
                    <a:pt x="14" y="20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0" name="Google Shape;671;p35">
              <a:extLst>
                <a:ext uri="{FF2B5EF4-FFF2-40B4-BE49-F238E27FC236}">
                  <a16:creationId xmlns:a16="http://schemas.microsoft.com/office/drawing/2014/main" id="{E923D6F7-320A-594E-1C91-D4E83C4DE833}"/>
                </a:ext>
              </a:extLst>
            </p:cNvPr>
            <p:cNvSpPr/>
            <p:nvPr/>
          </p:nvSpPr>
          <p:spPr>
            <a:xfrm>
              <a:off x="4175363" y="4427300"/>
              <a:ext cx="88582" cy="85725"/>
            </a:xfrm>
            <a:custGeom>
              <a:avLst/>
              <a:gdLst/>
              <a:ahLst/>
              <a:cxnLst/>
              <a:rect l="l" t="t" r="r" b="b"/>
              <a:pathLst>
                <a:path w="62" h="60" extrusionOk="0">
                  <a:moveTo>
                    <a:pt x="34" y="56"/>
                  </a:moveTo>
                  <a:lnTo>
                    <a:pt x="38" y="58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6" y="58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4" y="58"/>
                  </a:lnTo>
                  <a:lnTo>
                    <a:pt x="52" y="50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4" y="42"/>
                  </a:lnTo>
                  <a:lnTo>
                    <a:pt x="56" y="34"/>
                  </a:lnTo>
                  <a:lnTo>
                    <a:pt x="56" y="28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8" y="16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58" y="2"/>
                  </a:lnTo>
                  <a:lnTo>
                    <a:pt x="62" y="0"/>
                  </a:lnTo>
                  <a:lnTo>
                    <a:pt x="58" y="2"/>
                  </a:lnTo>
                  <a:lnTo>
                    <a:pt x="54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2" y="14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8" y="36"/>
                  </a:lnTo>
                  <a:lnTo>
                    <a:pt x="18" y="46"/>
                  </a:lnTo>
                  <a:lnTo>
                    <a:pt x="26" y="56"/>
                  </a:lnTo>
                  <a:lnTo>
                    <a:pt x="28" y="54"/>
                  </a:lnTo>
                  <a:lnTo>
                    <a:pt x="34" y="5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1" name="Google Shape;672;p35">
              <a:extLst>
                <a:ext uri="{FF2B5EF4-FFF2-40B4-BE49-F238E27FC236}">
                  <a16:creationId xmlns:a16="http://schemas.microsoft.com/office/drawing/2014/main" id="{FF582E0D-7763-2F74-02BF-D35DE0392A9A}"/>
                </a:ext>
              </a:extLst>
            </p:cNvPr>
            <p:cNvSpPr/>
            <p:nvPr/>
          </p:nvSpPr>
          <p:spPr>
            <a:xfrm>
              <a:off x="4141073" y="4410155"/>
              <a:ext cx="122872" cy="57150"/>
            </a:xfrm>
            <a:custGeom>
              <a:avLst/>
              <a:gdLst/>
              <a:ahLst/>
              <a:cxnLst/>
              <a:rect l="l" t="t" r="r" b="b"/>
              <a:pathLst>
                <a:path w="86" h="40" extrusionOk="0">
                  <a:moveTo>
                    <a:pt x="34" y="36"/>
                  </a:moveTo>
                  <a:lnTo>
                    <a:pt x="36" y="32"/>
                  </a:lnTo>
                  <a:lnTo>
                    <a:pt x="38" y="30"/>
                  </a:lnTo>
                  <a:lnTo>
                    <a:pt x="42" y="30"/>
                  </a:lnTo>
                  <a:lnTo>
                    <a:pt x="46" y="26"/>
                  </a:lnTo>
                  <a:lnTo>
                    <a:pt x="50" y="28"/>
                  </a:lnTo>
                  <a:lnTo>
                    <a:pt x="52" y="28"/>
                  </a:lnTo>
                  <a:lnTo>
                    <a:pt x="58" y="20"/>
                  </a:lnTo>
                  <a:lnTo>
                    <a:pt x="62" y="18"/>
                  </a:lnTo>
                  <a:lnTo>
                    <a:pt x="66" y="18"/>
                  </a:lnTo>
                  <a:lnTo>
                    <a:pt x="70" y="18"/>
                  </a:lnTo>
                  <a:lnTo>
                    <a:pt x="76" y="16"/>
                  </a:lnTo>
                  <a:lnTo>
                    <a:pt x="78" y="14"/>
                  </a:lnTo>
                  <a:lnTo>
                    <a:pt x="82" y="14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6" y="10"/>
                  </a:lnTo>
                  <a:lnTo>
                    <a:pt x="74" y="8"/>
                  </a:lnTo>
                  <a:lnTo>
                    <a:pt x="72" y="6"/>
                  </a:lnTo>
                  <a:lnTo>
                    <a:pt x="74" y="6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46" y="0"/>
                  </a:lnTo>
                  <a:lnTo>
                    <a:pt x="38" y="2"/>
                  </a:lnTo>
                  <a:lnTo>
                    <a:pt x="30" y="2"/>
                  </a:lnTo>
                  <a:lnTo>
                    <a:pt x="26" y="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8" y="8"/>
                  </a:lnTo>
                  <a:lnTo>
                    <a:pt x="6" y="10"/>
                  </a:lnTo>
                  <a:lnTo>
                    <a:pt x="4" y="14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8" y="26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2" y="34"/>
                  </a:lnTo>
                  <a:lnTo>
                    <a:pt x="26" y="38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4" y="3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2" name="Google Shape;673;p35">
              <a:extLst>
                <a:ext uri="{FF2B5EF4-FFF2-40B4-BE49-F238E27FC236}">
                  <a16:creationId xmlns:a16="http://schemas.microsoft.com/office/drawing/2014/main" id="{85F54229-43BD-6172-1828-0136C0B52950}"/>
                </a:ext>
              </a:extLst>
            </p:cNvPr>
            <p:cNvSpPr/>
            <p:nvPr/>
          </p:nvSpPr>
          <p:spPr>
            <a:xfrm>
              <a:off x="4126785" y="4438730"/>
              <a:ext cx="45720" cy="25717"/>
            </a:xfrm>
            <a:custGeom>
              <a:avLst/>
              <a:gdLst/>
              <a:ahLst/>
              <a:cxnLst/>
              <a:rect l="l" t="t" r="r" b="b"/>
              <a:pathLst>
                <a:path w="32" h="18" extrusionOk="0">
                  <a:moveTo>
                    <a:pt x="32" y="8"/>
                  </a:moveTo>
                  <a:lnTo>
                    <a:pt x="30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8" y="6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4" y="6"/>
                  </a:lnTo>
                  <a:lnTo>
                    <a:pt x="0" y="10"/>
                  </a:lnTo>
                  <a:lnTo>
                    <a:pt x="10" y="14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2" y="14"/>
                  </a:lnTo>
                  <a:lnTo>
                    <a:pt x="32" y="10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3" name="Google Shape;674;p35">
              <a:extLst>
                <a:ext uri="{FF2B5EF4-FFF2-40B4-BE49-F238E27FC236}">
                  <a16:creationId xmlns:a16="http://schemas.microsoft.com/office/drawing/2014/main" id="{553212DF-3D7E-5809-F7A0-609FA6A719CB}"/>
                </a:ext>
              </a:extLst>
            </p:cNvPr>
            <p:cNvSpPr/>
            <p:nvPr/>
          </p:nvSpPr>
          <p:spPr>
            <a:xfrm>
              <a:off x="4209653" y="4504452"/>
              <a:ext cx="62865" cy="62865"/>
            </a:xfrm>
            <a:custGeom>
              <a:avLst/>
              <a:gdLst/>
              <a:ahLst/>
              <a:cxnLst/>
              <a:rect l="l" t="t" r="r" b="b"/>
              <a:pathLst>
                <a:path w="44" h="44" extrusionOk="0">
                  <a:moveTo>
                    <a:pt x="44" y="30"/>
                  </a:moveTo>
                  <a:lnTo>
                    <a:pt x="40" y="28"/>
                  </a:lnTo>
                  <a:lnTo>
                    <a:pt x="40" y="26"/>
                  </a:lnTo>
                  <a:lnTo>
                    <a:pt x="40" y="22"/>
                  </a:lnTo>
                  <a:lnTo>
                    <a:pt x="44" y="22"/>
                  </a:lnTo>
                  <a:lnTo>
                    <a:pt x="36" y="14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4" y="18"/>
                  </a:lnTo>
                  <a:lnTo>
                    <a:pt x="18" y="20"/>
                  </a:lnTo>
                  <a:lnTo>
                    <a:pt x="20" y="22"/>
                  </a:lnTo>
                  <a:lnTo>
                    <a:pt x="26" y="26"/>
                  </a:lnTo>
                  <a:lnTo>
                    <a:pt x="30" y="32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2" y="34"/>
                  </a:lnTo>
                  <a:lnTo>
                    <a:pt x="36" y="36"/>
                  </a:lnTo>
                  <a:lnTo>
                    <a:pt x="40" y="44"/>
                  </a:lnTo>
                  <a:lnTo>
                    <a:pt x="40" y="34"/>
                  </a:lnTo>
                  <a:lnTo>
                    <a:pt x="44" y="3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4" name="Google Shape;675;p35">
              <a:extLst>
                <a:ext uri="{FF2B5EF4-FFF2-40B4-BE49-F238E27FC236}">
                  <a16:creationId xmlns:a16="http://schemas.microsoft.com/office/drawing/2014/main" id="{D455FC7C-3097-8A39-D57F-318851BFE3B0}"/>
                </a:ext>
              </a:extLst>
            </p:cNvPr>
            <p:cNvSpPr/>
            <p:nvPr/>
          </p:nvSpPr>
          <p:spPr>
            <a:xfrm>
              <a:off x="4341098" y="4481592"/>
              <a:ext cx="237172" cy="320040"/>
            </a:xfrm>
            <a:custGeom>
              <a:avLst/>
              <a:gdLst/>
              <a:ahLst/>
              <a:cxnLst/>
              <a:rect l="l" t="t" r="r" b="b"/>
              <a:pathLst>
                <a:path w="166" h="224" extrusionOk="0">
                  <a:moveTo>
                    <a:pt x="16" y="156"/>
                  </a:moveTo>
                  <a:lnTo>
                    <a:pt x="18" y="156"/>
                  </a:lnTo>
                  <a:lnTo>
                    <a:pt x="20" y="156"/>
                  </a:lnTo>
                  <a:lnTo>
                    <a:pt x="22" y="162"/>
                  </a:lnTo>
                  <a:lnTo>
                    <a:pt x="28" y="164"/>
                  </a:lnTo>
                  <a:lnTo>
                    <a:pt x="36" y="164"/>
                  </a:lnTo>
                  <a:lnTo>
                    <a:pt x="36" y="162"/>
                  </a:lnTo>
                  <a:lnTo>
                    <a:pt x="40" y="162"/>
                  </a:lnTo>
                  <a:lnTo>
                    <a:pt x="46" y="166"/>
                  </a:lnTo>
                  <a:lnTo>
                    <a:pt x="52" y="170"/>
                  </a:lnTo>
                  <a:lnTo>
                    <a:pt x="54" y="168"/>
                  </a:lnTo>
                  <a:lnTo>
                    <a:pt x="58" y="170"/>
                  </a:lnTo>
                  <a:lnTo>
                    <a:pt x="64" y="176"/>
                  </a:lnTo>
                  <a:lnTo>
                    <a:pt x="66" y="180"/>
                  </a:lnTo>
                  <a:lnTo>
                    <a:pt x="68" y="182"/>
                  </a:lnTo>
                  <a:lnTo>
                    <a:pt x="74" y="184"/>
                  </a:lnTo>
                  <a:lnTo>
                    <a:pt x="80" y="190"/>
                  </a:lnTo>
                  <a:lnTo>
                    <a:pt x="82" y="196"/>
                  </a:lnTo>
                  <a:lnTo>
                    <a:pt x="80" y="198"/>
                  </a:lnTo>
                  <a:lnTo>
                    <a:pt x="82" y="200"/>
                  </a:lnTo>
                  <a:lnTo>
                    <a:pt x="86" y="200"/>
                  </a:lnTo>
                  <a:lnTo>
                    <a:pt x="88" y="200"/>
                  </a:lnTo>
                  <a:lnTo>
                    <a:pt x="94" y="200"/>
                  </a:lnTo>
                  <a:lnTo>
                    <a:pt x="98" y="200"/>
                  </a:lnTo>
                  <a:lnTo>
                    <a:pt x="100" y="198"/>
                  </a:lnTo>
                  <a:lnTo>
                    <a:pt x="114" y="198"/>
                  </a:lnTo>
                  <a:lnTo>
                    <a:pt x="120" y="202"/>
                  </a:lnTo>
                  <a:lnTo>
                    <a:pt x="124" y="204"/>
                  </a:lnTo>
                  <a:lnTo>
                    <a:pt x="122" y="208"/>
                  </a:lnTo>
                  <a:lnTo>
                    <a:pt x="114" y="218"/>
                  </a:lnTo>
                  <a:lnTo>
                    <a:pt x="118" y="220"/>
                  </a:lnTo>
                  <a:lnTo>
                    <a:pt x="120" y="220"/>
                  </a:lnTo>
                  <a:lnTo>
                    <a:pt x="124" y="224"/>
                  </a:lnTo>
                  <a:lnTo>
                    <a:pt x="132" y="190"/>
                  </a:lnTo>
                  <a:lnTo>
                    <a:pt x="132" y="182"/>
                  </a:lnTo>
                  <a:lnTo>
                    <a:pt x="130" y="180"/>
                  </a:lnTo>
                  <a:lnTo>
                    <a:pt x="130" y="174"/>
                  </a:lnTo>
                  <a:lnTo>
                    <a:pt x="124" y="172"/>
                  </a:lnTo>
                  <a:lnTo>
                    <a:pt x="124" y="162"/>
                  </a:lnTo>
                  <a:lnTo>
                    <a:pt x="124" y="160"/>
                  </a:lnTo>
                  <a:lnTo>
                    <a:pt x="128" y="158"/>
                  </a:lnTo>
                  <a:lnTo>
                    <a:pt x="132" y="158"/>
                  </a:lnTo>
                  <a:lnTo>
                    <a:pt x="134" y="160"/>
                  </a:lnTo>
                  <a:lnTo>
                    <a:pt x="136" y="156"/>
                  </a:lnTo>
                  <a:lnTo>
                    <a:pt x="134" y="154"/>
                  </a:lnTo>
                  <a:lnTo>
                    <a:pt x="126" y="154"/>
                  </a:lnTo>
                  <a:lnTo>
                    <a:pt x="126" y="144"/>
                  </a:lnTo>
                  <a:lnTo>
                    <a:pt x="132" y="144"/>
                  </a:lnTo>
                  <a:lnTo>
                    <a:pt x="150" y="144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0" y="144"/>
                  </a:lnTo>
                  <a:lnTo>
                    <a:pt x="156" y="140"/>
                  </a:lnTo>
                  <a:lnTo>
                    <a:pt x="160" y="140"/>
                  </a:lnTo>
                  <a:lnTo>
                    <a:pt x="164" y="144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44"/>
                  </a:lnTo>
                  <a:lnTo>
                    <a:pt x="164" y="140"/>
                  </a:lnTo>
                  <a:lnTo>
                    <a:pt x="164" y="140"/>
                  </a:lnTo>
                  <a:lnTo>
                    <a:pt x="160" y="134"/>
                  </a:lnTo>
                  <a:lnTo>
                    <a:pt x="154" y="130"/>
                  </a:lnTo>
                  <a:lnTo>
                    <a:pt x="160" y="122"/>
                  </a:lnTo>
                  <a:lnTo>
                    <a:pt x="160" y="120"/>
                  </a:lnTo>
                  <a:lnTo>
                    <a:pt x="158" y="118"/>
                  </a:lnTo>
                  <a:lnTo>
                    <a:pt x="156" y="118"/>
                  </a:lnTo>
                  <a:lnTo>
                    <a:pt x="156" y="114"/>
                  </a:lnTo>
                  <a:lnTo>
                    <a:pt x="154" y="110"/>
                  </a:lnTo>
                  <a:lnTo>
                    <a:pt x="154" y="106"/>
                  </a:lnTo>
                  <a:lnTo>
                    <a:pt x="154" y="102"/>
                  </a:lnTo>
                  <a:lnTo>
                    <a:pt x="154" y="98"/>
                  </a:lnTo>
                  <a:lnTo>
                    <a:pt x="156" y="90"/>
                  </a:lnTo>
                  <a:lnTo>
                    <a:pt x="158" y="86"/>
                  </a:lnTo>
                  <a:lnTo>
                    <a:pt x="158" y="82"/>
                  </a:lnTo>
                  <a:lnTo>
                    <a:pt x="150" y="84"/>
                  </a:lnTo>
                  <a:lnTo>
                    <a:pt x="142" y="84"/>
                  </a:lnTo>
                  <a:lnTo>
                    <a:pt x="132" y="86"/>
                  </a:lnTo>
                  <a:lnTo>
                    <a:pt x="130" y="84"/>
                  </a:lnTo>
                  <a:lnTo>
                    <a:pt x="126" y="78"/>
                  </a:lnTo>
                  <a:lnTo>
                    <a:pt x="122" y="74"/>
                  </a:lnTo>
                  <a:lnTo>
                    <a:pt x="120" y="74"/>
                  </a:lnTo>
                  <a:lnTo>
                    <a:pt x="114" y="72"/>
                  </a:lnTo>
                  <a:lnTo>
                    <a:pt x="112" y="72"/>
                  </a:lnTo>
                  <a:lnTo>
                    <a:pt x="108" y="74"/>
                  </a:lnTo>
                  <a:lnTo>
                    <a:pt x="102" y="72"/>
                  </a:lnTo>
                  <a:lnTo>
                    <a:pt x="100" y="74"/>
                  </a:lnTo>
                  <a:lnTo>
                    <a:pt x="96" y="72"/>
                  </a:lnTo>
                  <a:lnTo>
                    <a:pt x="94" y="68"/>
                  </a:lnTo>
                  <a:lnTo>
                    <a:pt x="92" y="66"/>
                  </a:lnTo>
                  <a:lnTo>
                    <a:pt x="90" y="58"/>
                  </a:lnTo>
                  <a:lnTo>
                    <a:pt x="86" y="46"/>
                  </a:lnTo>
                  <a:lnTo>
                    <a:pt x="82" y="42"/>
                  </a:lnTo>
                  <a:lnTo>
                    <a:pt x="78" y="42"/>
                  </a:lnTo>
                  <a:lnTo>
                    <a:pt x="82" y="34"/>
                  </a:lnTo>
                  <a:lnTo>
                    <a:pt x="84" y="26"/>
                  </a:lnTo>
                  <a:lnTo>
                    <a:pt x="90" y="18"/>
                  </a:lnTo>
                  <a:lnTo>
                    <a:pt x="96" y="10"/>
                  </a:lnTo>
                  <a:lnTo>
                    <a:pt x="100" y="8"/>
                  </a:lnTo>
                  <a:lnTo>
                    <a:pt x="106" y="6"/>
                  </a:lnTo>
                  <a:lnTo>
                    <a:pt x="108" y="4"/>
                  </a:lnTo>
                  <a:lnTo>
                    <a:pt x="106" y="0"/>
                  </a:lnTo>
                  <a:lnTo>
                    <a:pt x="102" y="0"/>
                  </a:lnTo>
                  <a:lnTo>
                    <a:pt x="94" y="6"/>
                  </a:lnTo>
                  <a:lnTo>
                    <a:pt x="88" y="8"/>
                  </a:lnTo>
                  <a:lnTo>
                    <a:pt x="84" y="12"/>
                  </a:lnTo>
                  <a:lnTo>
                    <a:pt x="78" y="14"/>
                  </a:lnTo>
                  <a:lnTo>
                    <a:pt x="74" y="14"/>
                  </a:lnTo>
                  <a:lnTo>
                    <a:pt x="68" y="14"/>
                  </a:lnTo>
                  <a:lnTo>
                    <a:pt x="64" y="18"/>
                  </a:lnTo>
                  <a:lnTo>
                    <a:pt x="58" y="16"/>
                  </a:lnTo>
                  <a:lnTo>
                    <a:pt x="50" y="22"/>
                  </a:lnTo>
                  <a:lnTo>
                    <a:pt x="48" y="28"/>
                  </a:lnTo>
                  <a:lnTo>
                    <a:pt x="48" y="38"/>
                  </a:lnTo>
                  <a:lnTo>
                    <a:pt x="44" y="40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4" y="50"/>
                  </a:lnTo>
                  <a:lnTo>
                    <a:pt x="30" y="58"/>
                  </a:lnTo>
                  <a:lnTo>
                    <a:pt x="24" y="50"/>
                  </a:lnTo>
                  <a:lnTo>
                    <a:pt x="24" y="54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4" y="64"/>
                  </a:lnTo>
                  <a:lnTo>
                    <a:pt x="22" y="64"/>
                  </a:lnTo>
                  <a:lnTo>
                    <a:pt x="20" y="64"/>
                  </a:lnTo>
                  <a:lnTo>
                    <a:pt x="18" y="66"/>
                  </a:lnTo>
                  <a:lnTo>
                    <a:pt x="16" y="70"/>
                  </a:lnTo>
                  <a:lnTo>
                    <a:pt x="20" y="72"/>
                  </a:lnTo>
                  <a:lnTo>
                    <a:pt x="20" y="74"/>
                  </a:lnTo>
                  <a:lnTo>
                    <a:pt x="24" y="78"/>
                  </a:lnTo>
                  <a:lnTo>
                    <a:pt x="24" y="80"/>
                  </a:lnTo>
                  <a:lnTo>
                    <a:pt x="22" y="84"/>
                  </a:lnTo>
                  <a:lnTo>
                    <a:pt x="22" y="90"/>
                  </a:lnTo>
                  <a:lnTo>
                    <a:pt x="24" y="98"/>
                  </a:lnTo>
                  <a:lnTo>
                    <a:pt x="24" y="106"/>
                  </a:lnTo>
                  <a:lnTo>
                    <a:pt x="26" y="110"/>
                  </a:lnTo>
                  <a:lnTo>
                    <a:pt x="22" y="112"/>
                  </a:lnTo>
                  <a:lnTo>
                    <a:pt x="24" y="116"/>
                  </a:lnTo>
                  <a:lnTo>
                    <a:pt x="22" y="126"/>
                  </a:lnTo>
                  <a:lnTo>
                    <a:pt x="18" y="132"/>
                  </a:lnTo>
                  <a:lnTo>
                    <a:pt x="12" y="134"/>
                  </a:lnTo>
                  <a:lnTo>
                    <a:pt x="6" y="138"/>
                  </a:lnTo>
                  <a:lnTo>
                    <a:pt x="8" y="142"/>
                  </a:lnTo>
                  <a:lnTo>
                    <a:pt x="4" y="144"/>
                  </a:lnTo>
                  <a:lnTo>
                    <a:pt x="0" y="146"/>
                  </a:lnTo>
                  <a:lnTo>
                    <a:pt x="4" y="148"/>
                  </a:lnTo>
                  <a:lnTo>
                    <a:pt x="10" y="152"/>
                  </a:lnTo>
                  <a:lnTo>
                    <a:pt x="16" y="156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5" name="Google Shape;676;p35">
              <a:extLst>
                <a:ext uri="{FF2B5EF4-FFF2-40B4-BE49-F238E27FC236}">
                  <a16:creationId xmlns:a16="http://schemas.microsoft.com/office/drawing/2014/main" id="{DC932A78-F6E9-9AC3-860E-93A28F8D0CA6}"/>
                </a:ext>
              </a:extLst>
            </p:cNvPr>
            <p:cNvSpPr/>
            <p:nvPr/>
          </p:nvSpPr>
          <p:spPr>
            <a:xfrm>
              <a:off x="4266803" y="4535885"/>
              <a:ext cx="111443" cy="45720"/>
            </a:xfrm>
            <a:custGeom>
              <a:avLst/>
              <a:gdLst/>
              <a:ahLst/>
              <a:cxnLst/>
              <a:rect l="l" t="t" r="r" b="b"/>
              <a:pathLst>
                <a:path w="123825" h="50800" extrusionOk="0">
                  <a:moveTo>
                    <a:pt x="25400" y="41275"/>
                  </a:moveTo>
                  <a:lnTo>
                    <a:pt x="28575" y="47625"/>
                  </a:lnTo>
                  <a:lnTo>
                    <a:pt x="25400" y="47625"/>
                  </a:lnTo>
                  <a:close/>
                  <a:moveTo>
                    <a:pt x="0" y="0"/>
                  </a:moveTo>
                  <a:lnTo>
                    <a:pt x="6350" y="0"/>
                  </a:lnTo>
                  <a:lnTo>
                    <a:pt x="9525" y="0"/>
                  </a:lnTo>
                  <a:lnTo>
                    <a:pt x="12700" y="6350"/>
                  </a:lnTo>
                  <a:lnTo>
                    <a:pt x="19050" y="12700"/>
                  </a:lnTo>
                  <a:lnTo>
                    <a:pt x="31750" y="15875"/>
                  </a:lnTo>
                  <a:lnTo>
                    <a:pt x="47625" y="12700"/>
                  </a:lnTo>
                  <a:lnTo>
                    <a:pt x="63500" y="6350"/>
                  </a:lnTo>
                  <a:lnTo>
                    <a:pt x="66675" y="3175"/>
                  </a:lnTo>
                  <a:lnTo>
                    <a:pt x="82550" y="0"/>
                  </a:lnTo>
                  <a:lnTo>
                    <a:pt x="95250" y="3175"/>
                  </a:lnTo>
                  <a:lnTo>
                    <a:pt x="104775" y="6350"/>
                  </a:lnTo>
                  <a:lnTo>
                    <a:pt x="111125" y="12700"/>
                  </a:lnTo>
                  <a:lnTo>
                    <a:pt x="120650" y="19050"/>
                  </a:lnTo>
                  <a:lnTo>
                    <a:pt x="120650" y="25400"/>
                  </a:lnTo>
                  <a:lnTo>
                    <a:pt x="123825" y="28575"/>
                  </a:lnTo>
                  <a:lnTo>
                    <a:pt x="123825" y="34925"/>
                  </a:lnTo>
                  <a:lnTo>
                    <a:pt x="120650" y="41275"/>
                  </a:lnTo>
                  <a:lnTo>
                    <a:pt x="117475" y="41275"/>
                  </a:lnTo>
                  <a:lnTo>
                    <a:pt x="114300" y="41275"/>
                  </a:lnTo>
                  <a:lnTo>
                    <a:pt x="111125" y="44450"/>
                  </a:lnTo>
                  <a:lnTo>
                    <a:pt x="107950" y="50800"/>
                  </a:lnTo>
                  <a:lnTo>
                    <a:pt x="104775" y="44450"/>
                  </a:lnTo>
                  <a:lnTo>
                    <a:pt x="101600" y="38100"/>
                  </a:lnTo>
                  <a:lnTo>
                    <a:pt x="101600" y="31750"/>
                  </a:lnTo>
                  <a:lnTo>
                    <a:pt x="107950" y="28575"/>
                  </a:lnTo>
                  <a:lnTo>
                    <a:pt x="104775" y="22225"/>
                  </a:lnTo>
                  <a:lnTo>
                    <a:pt x="98425" y="22225"/>
                  </a:lnTo>
                  <a:lnTo>
                    <a:pt x="95250" y="19050"/>
                  </a:lnTo>
                  <a:lnTo>
                    <a:pt x="88900" y="15875"/>
                  </a:lnTo>
                  <a:lnTo>
                    <a:pt x="85725" y="9525"/>
                  </a:lnTo>
                  <a:lnTo>
                    <a:pt x="79375" y="9525"/>
                  </a:lnTo>
                  <a:lnTo>
                    <a:pt x="73025" y="12700"/>
                  </a:lnTo>
                  <a:lnTo>
                    <a:pt x="69850" y="15875"/>
                  </a:lnTo>
                  <a:lnTo>
                    <a:pt x="66675" y="22225"/>
                  </a:lnTo>
                  <a:lnTo>
                    <a:pt x="60325" y="25400"/>
                  </a:lnTo>
                  <a:lnTo>
                    <a:pt x="53975" y="28575"/>
                  </a:lnTo>
                  <a:lnTo>
                    <a:pt x="53975" y="34925"/>
                  </a:lnTo>
                  <a:lnTo>
                    <a:pt x="63500" y="44450"/>
                  </a:lnTo>
                  <a:lnTo>
                    <a:pt x="53975" y="47625"/>
                  </a:lnTo>
                  <a:lnTo>
                    <a:pt x="44450" y="47625"/>
                  </a:lnTo>
                  <a:lnTo>
                    <a:pt x="41275" y="44450"/>
                  </a:lnTo>
                  <a:lnTo>
                    <a:pt x="41275" y="41275"/>
                  </a:lnTo>
                  <a:lnTo>
                    <a:pt x="38100" y="41275"/>
                  </a:lnTo>
                  <a:lnTo>
                    <a:pt x="31750" y="41275"/>
                  </a:lnTo>
                  <a:lnTo>
                    <a:pt x="28575" y="34925"/>
                  </a:lnTo>
                  <a:lnTo>
                    <a:pt x="15875" y="28575"/>
                  </a:lnTo>
                  <a:lnTo>
                    <a:pt x="6350" y="28575"/>
                  </a:lnTo>
                  <a:lnTo>
                    <a:pt x="3175" y="28575"/>
                  </a:lnTo>
                  <a:lnTo>
                    <a:pt x="0" y="34925"/>
                  </a:lnTo>
                  <a:lnTo>
                    <a:pt x="0" y="19050"/>
                  </a:lnTo>
                  <a:lnTo>
                    <a:pt x="6350" y="12700"/>
                  </a:lnTo>
                  <a:lnTo>
                    <a:pt x="0" y="9525"/>
                  </a:lnTo>
                  <a:lnTo>
                    <a:pt x="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6" name="Google Shape;677;p35">
              <a:extLst>
                <a:ext uri="{FF2B5EF4-FFF2-40B4-BE49-F238E27FC236}">
                  <a16:creationId xmlns:a16="http://schemas.microsoft.com/office/drawing/2014/main" id="{6EE6520D-09B0-17BF-A053-C32E13651670}"/>
                </a:ext>
              </a:extLst>
            </p:cNvPr>
            <p:cNvSpPr/>
            <p:nvPr/>
          </p:nvSpPr>
          <p:spPr>
            <a:xfrm>
              <a:off x="4678283" y="4510167"/>
              <a:ext cx="17145" cy="17145"/>
            </a:xfrm>
            <a:custGeom>
              <a:avLst/>
              <a:gdLst/>
              <a:ahLst/>
              <a:cxnLst/>
              <a:rect l="l" t="t" r="r" b="b"/>
              <a:pathLst>
                <a:path w="12" h="12" extrusionOk="0">
                  <a:moveTo>
                    <a:pt x="4" y="12"/>
                  </a:moveTo>
                  <a:lnTo>
                    <a:pt x="10" y="10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6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6"/>
                  </a:lnTo>
                  <a:lnTo>
                    <a:pt x="4" y="8"/>
                  </a:lnTo>
                  <a:lnTo>
                    <a:pt x="0" y="10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7" name="Google Shape;678;p35">
              <a:extLst>
                <a:ext uri="{FF2B5EF4-FFF2-40B4-BE49-F238E27FC236}">
                  <a16:creationId xmlns:a16="http://schemas.microsoft.com/office/drawing/2014/main" id="{AEE47372-F59E-3E53-0F96-E957C457E0EB}"/>
                </a:ext>
              </a:extLst>
            </p:cNvPr>
            <p:cNvSpPr/>
            <p:nvPr/>
          </p:nvSpPr>
          <p:spPr>
            <a:xfrm>
              <a:off x="4452540" y="4484450"/>
              <a:ext cx="260032" cy="222885"/>
            </a:xfrm>
            <a:custGeom>
              <a:avLst/>
              <a:gdLst/>
              <a:ahLst/>
              <a:cxnLst/>
              <a:rect l="l" t="t" r="r" b="b"/>
              <a:pathLst>
                <a:path w="288925" h="247650" extrusionOk="0">
                  <a:moveTo>
                    <a:pt x="203200" y="22225"/>
                  </a:moveTo>
                  <a:lnTo>
                    <a:pt x="206375" y="25400"/>
                  </a:lnTo>
                  <a:lnTo>
                    <a:pt x="203200" y="28575"/>
                  </a:lnTo>
                  <a:lnTo>
                    <a:pt x="200025" y="28575"/>
                  </a:lnTo>
                  <a:lnTo>
                    <a:pt x="193675" y="25400"/>
                  </a:lnTo>
                  <a:lnTo>
                    <a:pt x="196850" y="25400"/>
                  </a:lnTo>
                  <a:close/>
                  <a:moveTo>
                    <a:pt x="73025" y="0"/>
                  </a:moveTo>
                  <a:lnTo>
                    <a:pt x="79375" y="6350"/>
                  </a:lnTo>
                  <a:lnTo>
                    <a:pt x="82550" y="15875"/>
                  </a:lnTo>
                  <a:lnTo>
                    <a:pt x="88900" y="15875"/>
                  </a:lnTo>
                  <a:lnTo>
                    <a:pt x="101600" y="19050"/>
                  </a:lnTo>
                  <a:lnTo>
                    <a:pt x="107950" y="28575"/>
                  </a:lnTo>
                  <a:lnTo>
                    <a:pt x="114300" y="38100"/>
                  </a:lnTo>
                  <a:lnTo>
                    <a:pt x="123825" y="38100"/>
                  </a:lnTo>
                  <a:lnTo>
                    <a:pt x="139700" y="34925"/>
                  </a:lnTo>
                  <a:lnTo>
                    <a:pt x="146050" y="34925"/>
                  </a:lnTo>
                  <a:lnTo>
                    <a:pt x="152400" y="34925"/>
                  </a:lnTo>
                  <a:lnTo>
                    <a:pt x="158750" y="38100"/>
                  </a:lnTo>
                  <a:lnTo>
                    <a:pt x="161925" y="41275"/>
                  </a:lnTo>
                  <a:lnTo>
                    <a:pt x="174625" y="44450"/>
                  </a:lnTo>
                  <a:lnTo>
                    <a:pt x="187325" y="44450"/>
                  </a:lnTo>
                  <a:lnTo>
                    <a:pt x="200025" y="38100"/>
                  </a:lnTo>
                  <a:lnTo>
                    <a:pt x="209550" y="38100"/>
                  </a:lnTo>
                  <a:lnTo>
                    <a:pt x="196850" y="34925"/>
                  </a:lnTo>
                  <a:lnTo>
                    <a:pt x="219075" y="31750"/>
                  </a:lnTo>
                  <a:lnTo>
                    <a:pt x="231775" y="31750"/>
                  </a:lnTo>
                  <a:lnTo>
                    <a:pt x="241300" y="34925"/>
                  </a:lnTo>
                  <a:lnTo>
                    <a:pt x="238125" y="34925"/>
                  </a:lnTo>
                  <a:lnTo>
                    <a:pt x="234950" y="34925"/>
                  </a:lnTo>
                  <a:lnTo>
                    <a:pt x="228600" y="34925"/>
                  </a:lnTo>
                  <a:lnTo>
                    <a:pt x="228600" y="38100"/>
                  </a:lnTo>
                  <a:lnTo>
                    <a:pt x="234950" y="47625"/>
                  </a:lnTo>
                  <a:lnTo>
                    <a:pt x="234950" y="50800"/>
                  </a:lnTo>
                  <a:lnTo>
                    <a:pt x="238125" y="53975"/>
                  </a:lnTo>
                  <a:lnTo>
                    <a:pt x="241300" y="57150"/>
                  </a:lnTo>
                  <a:lnTo>
                    <a:pt x="244475" y="50800"/>
                  </a:lnTo>
                  <a:lnTo>
                    <a:pt x="247650" y="50800"/>
                  </a:lnTo>
                  <a:lnTo>
                    <a:pt x="250825" y="53975"/>
                  </a:lnTo>
                  <a:lnTo>
                    <a:pt x="250825" y="57150"/>
                  </a:lnTo>
                  <a:lnTo>
                    <a:pt x="254000" y="53975"/>
                  </a:lnTo>
                  <a:lnTo>
                    <a:pt x="257175" y="53975"/>
                  </a:lnTo>
                  <a:lnTo>
                    <a:pt x="263525" y="57150"/>
                  </a:lnTo>
                  <a:lnTo>
                    <a:pt x="273050" y="63500"/>
                  </a:lnTo>
                  <a:lnTo>
                    <a:pt x="266700" y="66675"/>
                  </a:lnTo>
                  <a:lnTo>
                    <a:pt x="263525" y="73025"/>
                  </a:lnTo>
                  <a:lnTo>
                    <a:pt x="257175" y="76200"/>
                  </a:lnTo>
                  <a:lnTo>
                    <a:pt x="254000" y="79375"/>
                  </a:lnTo>
                  <a:lnTo>
                    <a:pt x="260350" y="82550"/>
                  </a:lnTo>
                  <a:lnTo>
                    <a:pt x="263525" y="82550"/>
                  </a:lnTo>
                  <a:lnTo>
                    <a:pt x="269875" y="79375"/>
                  </a:lnTo>
                  <a:lnTo>
                    <a:pt x="276225" y="79375"/>
                  </a:lnTo>
                  <a:lnTo>
                    <a:pt x="282575" y="79375"/>
                  </a:lnTo>
                  <a:lnTo>
                    <a:pt x="288925" y="79375"/>
                  </a:lnTo>
                  <a:lnTo>
                    <a:pt x="288925" y="88900"/>
                  </a:lnTo>
                  <a:lnTo>
                    <a:pt x="282575" y="95250"/>
                  </a:lnTo>
                  <a:lnTo>
                    <a:pt x="279400" y="95250"/>
                  </a:lnTo>
                  <a:lnTo>
                    <a:pt x="276225" y="104775"/>
                  </a:lnTo>
                  <a:lnTo>
                    <a:pt x="279400" y="107950"/>
                  </a:lnTo>
                  <a:lnTo>
                    <a:pt x="279400" y="114300"/>
                  </a:lnTo>
                  <a:lnTo>
                    <a:pt x="269875" y="117475"/>
                  </a:lnTo>
                  <a:lnTo>
                    <a:pt x="263525" y="120650"/>
                  </a:lnTo>
                  <a:lnTo>
                    <a:pt x="263525" y="130175"/>
                  </a:lnTo>
                  <a:lnTo>
                    <a:pt x="260350" y="136525"/>
                  </a:lnTo>
                  <a:lnTo>
                    <a:pt x="263525" y="139700"/>
                  </a:lnTo>
                  <a:lnTo>
                    <a:pt x="273050" y="152400"/>
                  </a:lnTo>
                  <a:lnTo>
                    <a:pt x="276225" y="158750"/>
                  </a:lnTo>
                  <a:lnTo>
                    <a:pt x="266700" y="168275"/>
                  </a:lnTo>
                  <a:lnTo>
                    <a:pt x="254000" y="171450"/>
                  </a:lnTo>
                  <a:lnTo>
                    <a:pt x="244475" y="174625"/>
                  </a:lnTo>
                  <a:lnTo>
                    <a:pt x="241300" y="174625"/>
                  </a:lnTo>
                  <a:lnTo>
                    <a:pt x="238125" y="174625"/>
                  </a:lnTo>
                  <a:lnTo>
                    <a:pt x="231775" y="177800"/>
                  </a:lnTo>
                  <a:lnTo>
                    <a:pt x="228600" y="184150"/>
                  </a:lnTo>
                  <a:lnTo>
                    <a:pt x="225425" y="184150"/>
                  </a:lnTo>
                  <a:lnTo>
                    <a:pt x="215900" y="177800"/>
                  </a:lnTo>
                  <a:lnTo>
                    <a:pt x="203200" y="177800"/>
                  </a:lnTo>
                  <a:lnTo>
                    <a:pt x="200025" y="177800"/>
                  </a:lnTo>
                  <a:lnTo>
                    <a:pt x="193675" y="174625"/>
                  </a:lnTo>
                  <a:lnTo>
                    <a:pt x="184150" y="171450"/>
                  </a:lnTo>
                  <a:lnTo>
                    <a:pt x="190500" y="177800"/>
                  </a:lnTo>
                  <a:lnTo>
                    <a:pt x="193675" y="187325"/>
                  </a:lnTo>
                  <a:lnTo>
                    <a:pt x="196850" y="190500"/>
                  </a:lnTo>
                  <a:lnTo>
                    <a:pt x="203200" y="206375"/>
                  </a:lnTo>
                  <a:lnTo>
                    <a:pt x="206375" y="209550"/>
                  </a:lnTo>
                  <a:lnTo>
                    <a:pt x="212725" y="209550"/>
                  </a:lnTo>
                  <a:lnTo>
                    <a:pt x="215900" y="212725"/>
                  </a:lnTo>
                  <a:lnTo>
                    <a:pt x="215900" y="215900"/>
                  </a:lnTo>
                  <a:lnTo>
                    <a:pt x="203200" y="222250"/>
                  </a:lnTo>
                  <a:lnTo>
                    <a:pt x="193675" y="231775"/>
                  </a:lnTo>
                  <a:lnTo>
                    <a:pt x="190500" y="231775"/>
                  </a:lnTo>
                  <a:lnTo>
                    <a:pt x="184150" y="234950"/>
                  </a:lnTo>
                  <a:lnTo>
                    <a:pt x="177800" y="241300"/>
                  </a:lnTo>
                  <a:lnTo>
                    <a:pt x="171450" y="247650"/>
                  </a:lnTo>
                  <a:lnTo>
                    <a:pt x="158750" y="247650"/>
                  </a:lnTo>
                  <a:lnTo>
                    <a:pt x="149225" y="244475"/>
                  </a:lnTo>
                  <a:lnTo>
                    <a:pt x="139700" y="238125"/>
                  </a:lnTo>
                  <a:lnTo>
                    <a:pt x="136525" y="225425"/>
                  </a:lnTo>
                  <a:lnTo>
                    <a:pt x="136525" y="219075"/>
                  </a:lnTo>
                  <a:lnTo>
                    <a:pt x="130175" y="209550"/>
                  </a:lnTo>
                  <a:lnTo>
                    <a:pt x="120650" y="203200"/>
                  </a:lnTo>
                  <a:lnTo>
                    <a:pt x="130175" y="190500"/>
                  </a:lnTo>
                  <a:lnTo>
                    <a:pt x="130175" y="187325"/>
                  </a:lnTo>
                  <a:lnTo>
                    <a:pt x="127000" y="184150"/>
                  </a:lnTo>
                  <a:lnTo>
                    <a:pt x="123825" y="184150"/>
                  </a:lnTo>
                  <a:lnTo>
                    <a:pt x="123825" y="177800"/>
                  </a:lnTo>
                  <a:lnTo>
                    <a:pt x="120650" y="171450"/>
                  </a:lnTo>
                  <a:lnTo>
                    <a:pt x="120650" y="165100"/>
                  </a:lnTo>
                  <a:lnTo>
                    <a:pt x="120650" y="158750"/>
                  </a:lnTo>
                  <a:lnTo>
                    <a:pt x="120650" y="152400"/>
                  </a:lnTo>
                  <a:lnTo>
                    <a:pt x="123825" y="139700"/>
                  </a:lnTo>
                  <a:lnTo>
                    <a:pt x="127000" y="133350"/>
                  </a:lnTo>
                  <a:lnTo>
                    <a:pt x="127000" y="127000"/>
                  </a:lnTo>
                  <a:lnTo>
                    <a:pt x="114300" y="130175"/>
                  </a:lnTo>
                  <a:lnTo>
                    <a:pt x="101600" y="130175"/>
                  </a:lnTo>
                  <a:lnTo>
                    <a:pt x="85725" y="133350"/>
                  </a:lnTo>
                  <a:lnTo>
                    <a:pt x="82550" y="130175"/>
                  </a:lnTo>
                  <a:lnTo>
                    <a:pt x="76200" y="120650"/>
                  </a:lnTo>
                  <a:lnTo>
                    <a:pt x="69850" y="114300"/>
                  </a:lnTo>
                  <a:lnTo>
                    <a:pt x="66675" y="114300"/>
                  </a:lnTo>
                  <a:lnTo>
                    <a:pt x="57150" y="111125"/>
                  </a:lnTo>
                  <a:lnTo>
                    <a:pt x="53975" y="111125"/>
                  </a:lnTo>
                  <a:lnTo>
                    <a:pt x="47625" y="114300"/>
                  </a:lnTo>
                  <a:lnTo>
                    <a:pt x="38100" y="111125"/>
                  </a:lnTo>
                  <a:lnTo>
                    <a:pt x="34925" y="114300"/>
                  </a:lnTo>
                  <a:lnTo>
                    <a:pt x="28575" y="111125"/>
                  </a:lnTo>
                  <a:lnTo>
                    <a:pt x="25400" y="104775"/>
                  </a:lnTo>
                  <a:lnTo>
                    <a:pt x="22225" y="101600"/>
                  </a:lnTo>
                  <a:lnTo>
                    <a:pt x="19050" y="88900"/>
                  </a:lnTo>
                  <a:lnTo>
                    <a:pt x="12700" y="69850"/>
                  </a:lnTo>
                  <a:lnTo>
                    <a:pt x="6350" y="63500"/>
                  </a:lnTo>
                  <a:lnTo>
                    <a:pt x="0" y="63500"/>
                  </a:lnTo>
                  <a:lnTo>
                    <a:pt x="6350" y="50800"/>
                  </a:lnTo>
                  <a:lnTo>
                    <a:pt x="9525" y="38100"/>
                  </a:lnTo>
                  <a:lnTo>
                    <a:pt x="19050" y="25400"/>
                  </a:lnTo>
                  <a:lnTo>
                    <a:pt x="28575" y="12700"/>
                  </a:lnTo>
                  <a:lnTo>
                    <a:pt x="34925" y="9525"/>
                  </a:lnTo>
                  <a:lnTo>
                    <a:pt x="44450" y="6350"/>
                  </a:lnTo>
                  <a:lnTo>
                    <a:pt x="31750" y="12700"/>
                  </a:lnTo>
                  <a:lnTo>
                    <a:pt x="31750" y="22225"/>
                  </a:lnTo>
                  <a:lnTo>
                    <a:pt x="38100" y="31750"/>
                  </a:lnTo>
                  <a:lnTo>
                    <a:pt x="34925" y="41275"/>
                  </a:lnTo>
                  <a:lnTo>
                    <a:pt x="28575" y="50800"/>
                  </a:lnTo>
                  <a:lnTo>
                    <a:pt x="28575" y="57150"/>
                  </a:lnTo>
                  <a:lnTo>
                    <a:pt x="31750" y="60325"/>
                  </a:lnTo>
                  <a:lnTo>
                    <a:pt x="34925" y="63500"/>
                  </a:lnTo>
                  <a:lnTo>
                    <a:pt x="34925" y="66675"/>
                  </a:lnTo>
                  <a:lnTo>
                    <a:pt x="44450" y="66675"/>
                  </a:lnTo>
                  <a:lnTo>
                    <a:pt x="50800" y="57150"/>
                  </a:lnTo>
                  <a:lnTo>
                    <a:pt x="41275" y="34925"/>
                  </a:lnTo>
                  <a:lnTo>
                    <a:pt x="44450" y="25400"/>
                  </a:lnTo>
                  <a:lnTo>
                    <a:pt x="53975" y="22225"/>
                  </a:lnTo>
                  <a:lnTo>
                    <a:pt x="66675" y="15875"/>
                  </a:lnTo>
                  <a:lnTo>
                    <a:pt x="73025" y="15875"/>
                  </a:lnTo>
                  <a:lnTo>
                    <a:pt x="76200" y="15875"/>
                  </a:lnTo>
                  <a:lnTo>
                    <a:pt x="76200" y="12700"/>
                  </a:lnTo>
                  <a:lnTo>
                    <a:pt x="73025" y="12700"/>
                  </a:lnTo>
                  <a:lnTo>
                    <a:pt x="66675" y="952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8" name="Google Shape;679;p35">
              <a:extLst>
                <a:ext uri="{FF2B5EF4-FFF2-40B4-BE49-F238E27FC236}">
                  <a16:creationId xmlns:a16="http://schemas.microsoft.com/office/drawing/2014/main" id="{96B2D103-0C1B-979D-23B3-B273598E9FC8}"/>
                </a:ext>
              </a:extLst>
            </p:cNvPr>
            <p:cNvSpPr/>
            <p:nvPr/>
          </p:nvSpPr>
          <p:spPr>
            <a:xfrm>
              <a:off x="4818300" y="4610180"/>
              <a:ext cx="57150" cy="68580"/>
            </a:xfrm>
            <a:custGeom>
              <a:avLst/>
              <a:gdLst/>
              <a:ahLst/>
              <a:cxnLst/>
              <a:rect l="l" t="t" r="r" b="b"/>
              <a:pathLst>
                <a:path w="40" h="48" extrusionOk="0">
                  <a:moveTo>
                    <a:pt x="0" y="12"/>
                  </a:moveTo>
                  <a:lnTo>
                    <a:pt x="4" y="26"/>
                  </a:lnTo>
                  <a:lnTo>
                    <a:pt x="8" y="30"/>
                  </a:lnTo>
                  <a:lnTo>
                    <a:pt x="6" y="36"/>
                  </a:lnTo>
                  <a:lnTo>
                    <a:pt x="4" y="42"/>
                  </a:lnTo>
                  <a:lnTo>
                    <a:pt x="0" y="46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16" y="46"/>
                  </a:lnTo>
                  <a:lnTo>
                    <a:pt x="18" y="48"/>
                  </a:lnTo>
                  <a:lnTo>
                    <a:pt x="22" y="48"/>
                  </a:lnTo>
                  <a:lnTo>
                    <a:pt x="26" y="46"/>
                  </a:lnTo>
                  <a:lnTo>
                    <a:pt x="28" y="42"/>
                  </a:lnTo>
                  <a:lnTo>
                    <a:pt x="26" y="42"/>
                  </a:lnTo>
                  <a:lnTo>
                    <a:pt x="28" y="40"/>
                  </a:lnTo>
                  <a:lnTo>
                    <a:pt x="34" y="30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38" y="18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22" y="4"/>
                  </a:lnTo>
                  <a:lnTo>
                    <a:pt x="8" y="0"/>
                  </a:lnTo>
                  <a:lnTo>
                    <a:pt x="4" y="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9" name="Google Shape;680;p35">
              <a:extLst>
                <a:ext uri="{FF2B5EF4-FFF2-40B4-BE49-F238E27FC236}">
                  <a16:creationId xmlns:a16="http://schemas.microsoft.com/office/drawing/2014/main" id="{CE75E42A-87A6-D135-BAC9-FFCF39025FB3}"/>
                </a:ext>
              </a:extLst>
            </p:cNvPr>
            <p:cNvSpPr/>
            <p:nvPr/>
          </p:nvSpPr>
          <p:spPr>
            <a:xfrm>
              <a:off x="4686855" y="4555887"/>
              <a:ext cx="94297" cy="142875"/>
            </a:xfrm>
            <a:custGeom>
              <a:avLst/>
              <a:gdLst/>
              <a:ahLst/>
              <a:cxnLst/>
              <a:rect l="l" t="t" r="r" b="b"/>
              <a:pathLst>
                <a:path w="66" h="100" extrusionOk="0">
                  <a:moveTo>
                    <a:pt x="14" y="10"/>
                  </a:moveTo>
                  <a:lnTo>
                    <a:pt x="12" y="10"/>
                  </a:lnTo>
                  <a:lnTo>
                    <a:pt x="10" y="16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22"/>
                  </a:lnTo>
                  <a:lnTo>
                    <a:pt x="6" y="24"/>
                  </a:lnTo>
                  <a:lnTo>
                    <a:pt x="2" y="26"/>
                  </a:lnTo>
                  <a:lnTo>
                    <a:pt x="2" y="32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22" y="58"/>
                  </a:lnTo>
                  <a:lnTo>
                    <a:pt x="24" y="62"/>
                  </a:lnTo>
                  <a:lnTo>
                    <a:pt x="22" y="66"/>
                  </a:lnTo>
                  <a:lnTo>
                    <a:pt x="20" y="68"/>
                  </a:lnTo>
                  <a:lnTo>
                    <a:pt x="20" y="70"/>
                  </a:lnTo>
                  <a:lnTo>
                    <a:pt x="18" y="76"/>
                  </a:lnTo>
                  <a:lnTo>
                    <a:pt x="18" y="82"/>
                  </a:lnTo>
                  <a:lnTo>
                    <a:pt x="22" y="88"/>
                  </a:lnTo>
                  <a:lnTo>
                    <a:pt x="22" y="90"/>
                  </a:lnTo>
                  <a:lnTo>
                    <a:pt x="24" y="92"/>
                  </a:lnTo>
                  <a:lnTo>
                    <a:pt x="26" y="94"/>
                  </a:lnTo>
                  <a:lnTo>
                    <a:pt x="28" y="98"/>
                  </a:lnTo>
                  <a:lnTo>
                    <a:pt x="32" y="98"/>
                  </a:lnTo>
                  <a:lnTo>
                    <a:pt x="34" y="100"/>
                  </a:lnTo>
                  <a:lnTo>
                    <a:pt x="42" y="98"/>
                  </a:lnTo>
                  <a:lnTo>
                    <a:pt x="48" y="94"/>
                  </a:lnTo>
                  <a:lnTo>
                    <a:pt x="58" y="90"/>
                  </a:lnTo>
                  <a:lnTo>
                    <a:pt x="62" y="90"/>
                  </a:lnTo>
                  <a:lnTo>
                    <a:pt x="66" y="90"/>
                  </a:lnTo>
                  <a:lnTo>
                    <a:pt x="62" y="88"/>
                  </a:lnTo>
                  <a:lnTo>
                    <a:pt x="60" y="84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48" y="66"/>
                  </a:lnTo>
                  <a:lnTo>
                    <a:pt x="46" y="58"/>
                  </a:lnTo>
                  <a:lnTo>
                    <a:pt x="46" y="54"/>
                  </a:lnTo>
                  <a:lnTo>
                    <a:pt x="48" y="50"/>
                  </a:lnTo>
                  <a:lnTo>
                    <a:pt x="52" y="48"/>
                  </a:lnTo>
                  <a:lnTo>
                    <a:pt x="54" y="48"/>
                  </a:lnTo>
                  <a:lnTo>
                    <a:pt x="56" y="46"/>
                  </a:lnTo>
                  <a:lnTo>
                    <a:pt x="56" y="42"/>
                  </a:lnTo>
                  <a:lnTo>
                    <a:pt x="58" y="36"/>
                  </a:lnTo>
                  <a:lnTo>
                    <a:pt x="52" y="30"/>
                  </a:lnTo>
                  <a:lnTo>
                    <a:pt x="50" y="28"/>
                  </a:lnTo>
                  <a:lnTo>
                    <a:pt x="46" y="26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0" y="22"/>
                  </a:lnTo>
                  <a:lnTo>
                    <a:pt x="38" y="20"/>
                  </a:lnTo>
                  <a:lnTo>
                    <a:pt x="38" y="14"/>
                  </a:lnTo>
                  <a:lnTo>
                    <a:pt x="32" y="8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4" y="1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0" name="Google Shape;681;p35">
              <a:extLst>
                <a:ext uri="{FF2B5EF4-FFF2-40B4-BE49-F238E27FC236}">
                  <a16:creationId xmlns:a16="http://schemas.microsoft.com/office/drawing/2014/main" id="{F87997ED-8CAF-80B0-F81A-0F6588989C3B}"/>
                </a:ext>
              </a:extLst>
            </p:cNvPr>
            <p:cNvSpPr/>
            <p:nvPr/>
          </p:nvSpPr>
          <p:spPr>
            <a:xfrm>
              <a:off x="4752578" y="4604465"/>
              <a:ext cx="77152" cy="80010"/>
            </a:xfrm>
            <a:custGeom>
              <a:avLst/>
              <a:gdLst/>
              <a:ahLst/>
              <a:cxnLst/>
              <a:rect l="l" t="t" r="r" b="b"/>
              <a:pathLst>
                <a:path w="54" h="56" extrusionOk="0">
                  <a:moveTo>
                    <a:pt x="10" y="12"/>
                  </a:moveTo>
                  <a:lnTo>
                    <a:pt x="8" y="14"/>
                  </a:lnTo>
                  <a:lnTo>
                    <a:pt x="6" y="14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2" y="32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8"/>
                  </a:lnTo>
                  <a:lnTo>
                    <a:pt x="10" y="42"/>
                  </a:lnTo>
                  <a:lnTo>
                    <a:pt x="14" y="50"/>
                  </a:lnTo>
                  <a:lnTo>
                    <a:pt x="16" y="54"/>
                  </a:lnTo>
                  <a:lnTo>
                    <a:pt x="20" y="56"/>
                  </a:lnTo>
                  <a:lnTo>
                    <a:pt x="26" y="56"/>
                  </a:lnTo>
                  <a:lnTo>
                    <a:pt x="26" y="52"/>
                  </a:lnTo>
                  <a:lnTo>
                    <a:pt x="24" y="50"/>
                  </a:lnTo>
                  <a:lnTo>
                    <a:pt x="28" y="48"/>
                  </a:lnTo>
                  <a:lnTo>
                    <a:pt x="30" y="50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2" y="50"/>
                  </a:lnTo>
                  <a:lnTo>
                    <a:pt x="46" y="50"/>
                  </a:lnTo>
                  <a:lnTo>
                    <a:pt x="50" y="46"/>
                  </a:lnTo>
                  <a:lnTo>
                    <a:pt x="52" y="40"/>
                  </a:lnTo>
                  <a:lnTo>
                    <a:pt x="54" y="34"/>
                  </a:lnTo>
                  <a:lnTo>
                    <a:pt x="50" y="30"/>
                  </a:lnTo>
                  <a:lnTo>
                    <a:pt x="46" y="16"/>
                  </a:lnTo>
                  <a:lnTo>
                    <a:pt x="50" y="10"/>
                  </a:lnTo>
                  <a:lnTo>
                    <a:pt x="54" y="4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32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8"/>
                  </a:lnTo>
                  <a:lnTo>
                    <a:pt x="10" y="12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1" name="Google Shape;682;p35">
              <a:extLst>
                <a:ext uri="{FF2B5EF4-FFF2-40B4-BE49-F238E27FC236}">
                  <a16:creationId xmlns:a16="http://schemas.microsoft.com/office/drawing/2014/main" id="{3581F102-6809-5932-A4AF-4A35305F4F23}"/>
                </a:ext>
              </a:extLst>
            </p:cNvPr>
            <p:cNvSpPr/>
            <p:nvPr/>
          </p:nvSpPr>
          <p:spPr>
            <a:xfrm>
              <a:off x="4441110" y="4618751"/>
              <a:ext cx="760095" cy="794385"/>
            </a:xfrm>
            <a:custGeom>
              <a:avLst/>
              <a:gdLst/>
              <a:ahLst/>
              <a:cxnLst/>
              <a:rect l="l" t="t" r="r" b="b"/>
              <a:pathLst>
                <a:path w="844550" h="882650" extrusionOk="0">
                  <a:moveTo>
                    <a:pt x="488950" y="123825"/>
                  </a:moveTo>
                  <a:lnTo>
                    <a:pt x="492125" y="127000"/>
                  </a:lnTo>
                  <a:lnTo>
                    <a:pt x="488950" y="136525"/>
                  </a:lnTo>
                  <a:lnTo>
                    <a:pt x="476250" y="146050"/>
                  </a:lnTo>
                  <a:lnTo>
                    <a:pt x="476250" y="142875"/>
                  </a:lnTo>
                  <a:lnTo>
                    <a:pt x="482600" y="136525"/>
                  </a:lnTo>
                  <a:close/>
                  <a:moveTo>
                    <a:pt x="511175" y="107950"/>
                  </a:moveTo>
                  <a:lnTo>
                    <a:pt x="520700" y="107950"/>
                  </a:lnTo>
                  <a:lnTo>
                    <a:pt x="523875" y="107950"/>
                  </a:lnTo>
                  <a:lnTo>
                    <a:pt x="520700" y="114300"/>
                  </a:lnTo>
                  <a:lnTo>
                    <a:pt x="511175" y="114300"/>
                  </a:lnTo>
                  <a:lnTo>
                    <a:pt x="508000" y="111125"/>
                  </a:lnTo>
                  <a:close/>
                  <a:moveTo>
                    <a:pt x="123825" y="73025"/>
                  </a:moveTo>
                  <a:lnTo>
                    <a:pt x="127000" y="73025"/>
                  </a:lnTo>
                  <a:lnTo>
                    <a:pt x="127000" y="76200"/>
                  </a:lnTo>
                  <a:close/>
                  <a:moveTo>
                    <a:pt x="295275" y="0"/>
                  </a:moveTo>
                  <a:lnTo>
                    <a:pt x="301625" y="6350"/>
                  </a:lnTo>
                  <a:lnTo>
                    <a:pt x="301625" y="12700"/>
                  </a:lnTo>
                  <a:lnTo>
                    <a:pt x="307975" y="22225"/>
                  </a:lnTo>
                  <a:lnTo>
                    <a:pt x="311150" y="28575"/>
                  </a:lnTo>
                  <a:lnTo>
                    <a:pt x="307975" y="34925"/>
                  </a:lnTo>
                  <a:lnTo>
                    <a:pt x="304800" y="38100"/>
                  </a:lnTo>
                  <a:lnTo>
                    <a:pt x="304800" y="41275"/>
                  </a:lnTo>
                  <a:lnTo>
                    <a:pt x="301625" y="50800"/>
                  </a:lnTo>
                  <a:lnTo>
                    <a:pt x="301625" y="60325"/>
                  </a:lnTo>
                  <a:lnTo>
                    <a:pt x="307975" y="69850"/>
                  </a:lnTo>
                  <a:lnTo>
                    <a:pt x="307975" y="73025"/>
                  </a:lnTo>
                  <a:lnTo>
                    <a:pt x="311150" y="76200"/>
                  </a:lnTo>
                  <a:lnTo>
                    <a:pt x="314325" y="79375"/>
                  </a:lnTo>
                  <a:lnTo>
                    <a:pt x="317500" y="85725"/>
                  </a:lnTo>
                  <a:lnTo>
                    <a:pt x="323850" y="85725"/>
                  </a:lnTo>
                  <a:lnTo>
                    <a:pt x="327025" y="88900"/>
                  </a:lnTo>
                  <a:lnTo>
                    <a:pt x="339725" y="85725"/>
                  </a:lnTo>
                  <a:lnTo>
                    <a:pt x="349250" y="79375"/>
                  </a:lnTo>
                  <a:lnTo>
                    <a:pt x="365125" y="73025"/>
                  </a:lnTo>
                  <a:lnTo>
                    <a:pt x="371475" y="73025"/>
                  </a:lnTo>
                  <a:lnTo>
                    <a:pt x="377825" y="73025"/>
                  </a:lnTo>
                  <a:lnTo>
                    <a:pt x="387350" y="73025"/>
                  </a:lnTo>
                  <a:lnTo>
                    <a:pt x="387350" y="66675"/>
                  </a:lnTo>
                  <a:lnTo>
                    <a:pt x="384175" y="63500"/>
                  </a:lnTo>
                  <a:lnTo>
                    <a:pt x="390525" y="60325"/>
                  </a:lnTo>
                  <a:lnTo>
                    <a:pt x="393700" y="63500"/>
                  </a:lnTo>
                  <a:lnTo>
                    <a:pt x="403225" y="60325"/>
                  </a:lnTo>
                  <a:lnTo>
                    <a:pt x="409575" y="60325"/>
                  </a:lnTo>
                  <a:lnTo>
                    <a:pt x="412750" y="63500"/>
                  </a:lnTo>
                  <a:lnTo>
                    <a:pt x="419100" y="63500"/>
                  </a:lnTo>
                  <a:lnTo>
                    <a:pt x="425450" y="66675"/>
                  </a:lnTo>
                  <a:lnTo>
                    <a:pt x="431800" y="66675"/>
                  </a:lnTo>
                  <a:lnTo>
                    <a:pt x="444500" y="63500"/>
                  </a:lnTo>
                  <a:lnTo>
                    <a:pt x="447675" y="66675"/>
                  </a:lnTo>
                  <a:lnTo>
                    <a:pt x="454025" y="66675"/>
                  </a:lnTo>
                  <a:lnTo>
                    <a:pt x="460375" y="63500"/>
                  </a:lnTo>
                  <a:lnTo>
                    <a:pt x="463550" y="57150"/>
                  </a:lnTo>
                  <a:lnTo>
                    <a:pt x="460375" y="57150"/>
                  </a:lnTo>
                  <a:lnTo>
                    <a:pt x="463550" y="53975"/>
                  </a:lnTo>
                  <a:lnTo>
                    <a:pt x="473075" y="38100"/>
                  </a:lnTo>
                  <a:lnTo>
                    <a:pt x="479425" y="28575"/>
                  </a:lnTo>
                  <a:lnTo>
                    <a:pt x="482600" y="28575"/>
                  </a:lnTo>
                  <a:lnTo>
                    <a:pt x="485775" y="22225"/>
                  </a:lnTo>
                  <a:lnTo>
                    <a:pt x="488950" y="25400"/>
                  </a:lnTo>
                  <a:lnTo>
                    <a:pt x="495300" y="34925"/>
                  </a:lnTo>
                  <a:lnTo>
                    <a:pt x="498475" y="57150"/>
                  </a:lnTo>
                  <a:lnTo>
                    <a:pt x="501650" y="66675"/>
                  </a:lnTo>
                  <a:lnTo>
                    <a:pt x="504825" y="69850"/>
                  </a:lnTo>
                  <a:lnTo>
                    <a:pt x="504825" y="73025"/>
                  </a:lnTo>
                  <a:lnTo>
                    <a:pt x="508000" y="76200"/>
                  </a:lnTo>
                  <a:lnTo>
                    <a:pt x="511175" y="76200"/>
                  </a:lnTo>
                  <a:lnTo>
                    <a:pt x="517525" y="76200"/>
                  </a:lnTo>
                  <a:lnTo>
                    <a:pt x="520700" y="85725"/>
                  </a:lnTo>
                  <a:lnTo>
                    <a:pt x="517525" y="88900"/>
                  </a:lnTo>
                  <a:lnTo>
                    <a:pt x="520700" y="88900"/>
                  </a:lnTo>
                  <a:lnTo>
                    <a:pt x="517525" y="92075"/>
                  </a:lnTo>
                  <a:lnTo>
                    <a:pt x="504825" y="104775"/>
                  </a:lnTo>
                  <a:lnTo>
                    <a:pt x="495300" y="111125"/>
                  </a:lnTo>
                  <a:lnTo>
                    <a:pt x="485775" y="120650"/>
                  </a:lnTo>
                  <a:lnTo>
                    <a:pt x="479425" y="133350"/>
                  </a:lnTo>
                  <a:lnTo>
                    <a:pt x="479425" y="136525"/>
                  </a:lnTo>
                  <a:lnTo>
                    <a:pt x="473075" y="139700"/>
                  </a:lnTo>
                  <a:lnTo>
                    <a:pt x="469900" y="146050"/>
                  </a:lnTo>
                  <a:lnTo>
                    <a:pt x="460375" y="146050"/>
                  </a:lnTo>
                  <a:lnTo>
                    <a:pt x="460375" y="149225"/>
                  </a:lnTo>
                  <a:lnTo>
                    <a:pt x="469900" y="149225"/>
                  </a:lnTo>
                  <a:lnTo>
                    <a:pt x="495300" y="136525"/>
                  </a:lnTo>
                  <a:lnTo>
                    <a:pt x="504825" y="155575"/>
                  </a:lnTo>
                  <a:lnTo>
                    <a:pt x="514350" y="152400"/>
                  </a:lnTo>
                  <a:lnTo>
                    <a:pt x="511175" y="152400"/>
                  </a:lnTo>
                  <a:lnTo>
                    <a:pt x="504825" y="152400"/>
                  </a:lnTo>
                  <a:lnTo>
                    <a:pt x="501650" y="149225"/>
                  </a:lnTo>
                  <a:lnTo>
                    <a:pt x="501650" y="142875"/>
                  </a:lnTo>
                  <a:lnTo>
                    <a:pt x="504825" y="139700"/>
                  </a:lnTo>
                  <a:lnTo>
                    <a:pt x="501650" y="136525"/>
                  </a:lnTo>
                  <a:lnTo>
                    <a:pt x="501650" y="133350"/>
                  </a:lnTo>
                  <a:lnTo>
                    <a:pt x="501650" y="127000"/>
                  </a:lnTo>
                  <a:lnTo>
                    <a:pt x="504825" y="117475"/>
                  </a:lnTo>
                  <a:lnTo>
                    <a:pt x="520700" y="117475"/>
                  </a:lnTo>
                  <a:lnTo>
                    <a:pt x="523875" y="114300"/>
                  </a:lnTo>
                  <a:lnTo>
                    <a:pt x="530225" y="111125"/>
                  </a:lnTo>
                  <a:lnTo>
                    <a:pt x="530225" y="117475"/>
                  </a:lnTo>
                  <a:lnTo>
                    <a:pt x="542925" y="117475"/>
                  </a:lnTo>
                  <a:lnTo>
                    <a:pt x="546100" y="120650"/>
                  </a:lnTo>
                  <a:lnTo>
                    <a:pt x="549275" y="123825"/>
                  </a:lnTo>
                  <a:lnTo>
                    <a:pt x="546100" y="133350"/>
                  </a:lnTo>
                  <a:lnTo>
                    <a:pt x="542925" y="139700"/>
                  </a:lnTo>
                  <a:lnTo>
                    <a:pt x="542925" y="142875"/>
                  </a:lnTo>
                  <a:lnTo>
                    <a:pt x="539750" y="142875"/>
                  </a:lnTo>
                  <a:lnTo>
                    <a:pt x="533400" y="142875"/>
                  </a:lnTo>
                  <a:lnTo>
                    <a:pt x="523875" y="152400"/>
                  </a:lnTo>
                  <a:lnTo>
                    <a:pt x="530225" y="152400"/>
                  </a:lnTo>
                  <a:lnTo>
                    <a:pt x="542925" y="146050"/>
                  </a:lnTo>
                  <a:lnTo>
                    <a:pt x="546100" y="146050"/>
                  </a:lnTo>
                  <a:lnTo>
                    <a:pt x="549275" y="146050"/>
                  </a:lnTo>
                  <a:lnTo>
                    <a:pt x="549275" y="142875"/>
                  </a:lnTo>
                  <a:lnTo>
                    <a:pt x="552450" y="139700"/>
                  </a:lnTo>
                  <a:lnTo>
                    <a:pt x="555625" y="133350"/>
                  </a:lnTo>
                  <a:lnTo>
                    <a:pt x="555625" y="130175"/>
                  </a:lnTo>
                  <a:lnTo>
                    <a:pt x="565150" y="127000"/>
                  </a:lnTo>
                  <a:lnTo>
                    <a:pt x="568325" y="130175"/>
                  </a:lnTo>
                  <a:lnTo>
                    <a:pt x="577850" y="130175"/>
                  </a:lnTo>
                  <a:lnTo>
                    <a:pt x="590550" y="133350"/>
                  </a:lnTo>
                  <a:lnTo>
                    <a:pt x="603250" y="136525"/>
                  </a:lnTo>
                  <a:lnTo>
                    <a:pt x="615950" y="142875"/>
                  </a:lnTo>
                  <a:lnTo>
                    <a:pt x="619125" y="146050"/>
                  </a:lnTo>
                  <a:lnTo>
                    <a:pt x="622300" y="146050"/>
                  </a:lnTo>
                  <a:lnTo>
                    <a:pt x="625475" y="146050"/>
                  </a:lnTo>
                  <a:lnTo>
                    <a:pt x="631825" y="152400"/>
                  </a:lnTo>
                  <a:lnTo>
                    <a:pt x="635000" y="152400"/>
                  </a:lnTo>
                  <a:lnTo>
                    <a:pt x="635000" y="158750"/>
                  </a:lnTo>
                  <a:lnTo>
                    <a:pt x="638175" y="161925"/>
                  </a:lnTo>
                  <a:lnTo>
                    <a:pt x="635000" y="168275"/>
                  </a:lnTo>
                  <a:lnTo>
                    <a:pt x="631825" y="174625"/>
                  </a:lnTo>
                  <a:lnTo>
                    <a:pt x="628650" y="184150"/>
                  </a:lnTo>
                  <a:lnTo>
                    <a:pt x="635000" y="177800"/>
                  </a:lnTo>
                  <a:lnTo>
                    <a:pt x="638175" y="168275"/>
                  </a:lnTo>
                  <a:lnTo>
                    <a:pt x="647700" y="168275"/>
                  </a:lnTo>
                  <a:lnTo>
                    <a:pt x="650875" y="168275"/>
                  </a:lnTo>
                  <a:lnTo>
                    <a:pt x="660400" y="165100"/>
                  </a:lnTo>
                  <a:lnTo>
                    <a:pt x="673100" y="168275"/>
                  </a:lnTo>
                  <a:lnTo>
                    <a:pt x="692150" y="174625"/>
                  </a:lnTo>
                  <a:lnTo>
                    <a:pt x="711200" y="174625"/>
                  </a:lnTo>
                  <a:lnTo>
                    <a:pt x="717550" y="174625"/>
                  </a:lnTo>
                  <a:lnTo>
                    <a:pt x="730250" y="174625"/>
                  </a:lnTo>
                  <a:lnTo>
                    <a:pt x="752475" y="187325"/>
                  </a:lnTo>
                  <a:lnTo>
                    <a:pt x="765175" y="193675"/>
                  </a:lnTo>
                  <a:lnTo>
                    <a:pt x="774700" y="203200"/>
                  </a:lnTo>
                  <a:lnTo>
                    <a:pt x="819150" y="222250"/>
                  </a:lnTo>
                  <a:lnTo>
                    <a:pt x="828675" y="222250"/>
                  </a:lnTo>
                  <a:lnTo>
                    <a:pt x="841375" y="247650"/>
                  </a:lnTo>
                  <a:lnTo>
                    <a:pt x="844550" y="260350"/>
                  </a:lnTo>
                  <a:lnTo>
                    <a:pt x="844550" y="269875"/>
                  </a:lnTo>
                  <a:lnTo>
                    <a:pt x="844550" y="282575"/>
                  </a:lnTo>
                  <a:lnTo>
                    <a:pt x="844550" y="288925"/>
                  </a:lnTo>
                  <a:lnTo>
                    <a:pt x="841375" y="295275"/>
                  </a:lnTo>
                  <a:lnTo>
                    <a:pt x="841375" y="298450"/>
                  </a:lnTo>
                  <a:lnTo>
                    <a:pt x="838200" y="304800"/>
                  </a:lnTo>
                  <a:lnTo>
                    <a:pt x="831850" y="314325"/>
                  </a:lnTo>
                  <a:lnTo>
                    <a:pt x="822325" y="323850"/>
                  </a:lnTo>
                  <a:lnTo>
                    <a:pt x="815975" y="333375"/>
                  </a:lnTo>
                  <a:lnTo>
                    <a:pt x="809625" y="339725"/>
                  </a:lnTo>
                  <a:lnTo>
                    <a:pt x="806450" y="342900"/>
                  </a:lnTo>
                  <a:lnTo>
                    <a:pt x="796925" y="349250"/>
                  </a:lnTo>
                  <a:lnTo>
                    <a:pt x="793750" y="352425"/>
                  </a:lnTo>
                  <a:lnTo>
                    <a:pt x="793750" y="355600"/>
                  </a:lnTo>
                  <a:lnTo>
                    <a:pt x="790575" y="361950"/>
                  </a:lnTo>
                  <a:lnTo>
                    <a:pt x="784225" y="374650"/>
                  </a:lnTo>
                  <a:lnTo>
                    <a:pt x="768350" y="393700"/>
                  </a:lnTo>
                  <a:lnTo>
                    <a:pt x="765175" y="396875"/>
                  </a:lnTo>
                  <a:lnTo>
                    <a:pt x="758825" y="396875"/>
                  </a:lnTo>
                  <a:lnTo>
                    <a:pt x="755650" y="403225"/>
                  </a:lnTo>
                  <a:lnTo>
                    <a:pt x="755650" y="406400"/>
                  </a:lnTo>
                  <a:lnTo>
                    <a:pt x="755650" y="415925"/>
                  </a:lnTo>
                  <a:lnTo>
                    <a:pt x="755650" y="428625"/>
                  </a:lnTo>
                  <a:lnTo>
                    <a:pt x="755650" y="441325"/>
                  </a:lnTo>
                  <a:lnTo>
                    <a:pt x="755650" y="454025"/>
                  </a:lnTo>
                  <a:lnTo>
                    <a:pt x="755650" y="463550"/>
                  </a:lnTo>
                  <a:lnTo>
                    <a:pt x="755650" y="466725"/>
                  </a:lnTo>
                  <a:lnTo>
                    <a:pt x="752475" y="482600"/>
                  </a:lnTo>
                  <a:lnTo>
                    <a:pt x="749300" y="495300"/>
                  </a:lnTo>
                  <a:lnTo>
                    <a:pt x="749300" y="498475"/>
                  </a:lnTo>
                  <a:lnTo>
                    <a:pt x="746125" y="508000"/>
                  </a:lnTo>
                  <a:lnTo>
                    <a:pt x="739775" y="527050"/>
                  </a:lnTo>
                  <a:lnTo>
                    <a:pt x="739775" y="539750"/>
                  </a:lnTo>
                  <a:lnTo>
                    <a:pt x="736600" y="542925"/>
                  </a:lnTo>
                  <a:lnTo>
                    <a:pt x="733425" y="546100"/>
                  </a:lnTo>
                  <a:lnTo>
                    <a:pt x="730250" y="552450"/>
                  </a:lnTo>
                  <a:lnTo>
                    <a:pt x="727075" y="558800"/>
                  </a:lnTo>
                  <a:lnTo>
                    <a:pt x="720725" y="568325"/>
                  </a:lnTo>
                  <a:lnTo>
                    <a:pt x="717550" y="571500"/>
                  </a:lnTo>
                  <a:lnTo>
                    <a:pt x="714375" y="574675"/>
                  </a:lnTo>
                  <a:lnTo>
                    <a:pt x="711200" y="590550"/>
                  </a:lnTo>
                  <a:lnTo>
                    <a:pt x="711200" y="600075"/>
                  </a:lnTo>
                  <a:lnTo>
                    <a:pt x="698500" y="603250"/>
                  </a:lnTo>
                  <a:lnTo>
                    <a:pt x="688975" y="612775"/>
                  </a:lnTo>
                  <a:lnTo>
                    <a:pt x="688975" y="615950"/>
                  </a:lnTo>
                  <a:lnTo>
                    <a:pt x="685800" y="619125"/>
                  </a:lnTo>
                  <a:lnTo>
                    <a:pt x="657225" y="622300"/>
                  </a:lnTo>
                  <a:lnTo>
                    <a:pt x="647700" y="619125"/>
                  </a:lnTo>
                  <a:lnTo>
                    <a:pt x="641350" y="619125"/>
                  </a:lnTo>
                  <a:lnTo>
                    <a:pt x="635000" y="619125"/>
                  </a:lnTo>
                  <a:lnTo>
                    <a:pt x="631825" y="622300"/>
                  </a:lnTo>
                  <a:lnTo>
                    <a:pt x="631825" y="628650"/>
                  </a:lnTo>
                  <a:lnTo>
                    <a:pt x="619125" y="635000"/>
                  </a:lnTo>
                  <a:lnTo>
                    <a:pt x="606425" y="638175"/>
                  </a:lnTo>
                  <a:lnTo>
                    <a:pt x="593725" y="644525"/>
                  </a:lnTo>
                  <a:lnTo>
                    <a:pt x="581025" y="650875"/>
                  </a:lnTo>
                  <a:lnTo>
                    <a:pt x="581025" y="654050"/>
                  </a:lnTo>
                  <a:lnTo>
                    <a:pt x="577850" y="657225"/>
                  </a:lnTo>
                  <a:lnTo>
                    <a:pt x="574675" y="660400"/>
                  </a:lnTo>
                  <a:lnTo>
                    <a:pt x="561975" y="669925"/>
                  </a:lnTo>
                  <a:lnTo>
                    <a:pt x="552450" y="676275"/>
                  </a:lnTo>
                  <a:lnTo>
                    <a:pt x="549275" y="682625"/>
                  </a:lnTo>
                  <a:lnTo>
                    <a:pt x="549275" y="688975"/>
                  </a:lnTo>
                  <a:lnTo>
                    <a:pt x="546100" y="698500"/>
                  </a:lnTo>
                  <a:lnTo>
                    <a:pt x="546100" y="701675"/>
                  </a:lnTo>
                  <a:lnTo>
                    <a:pt x="546100" y="717550"/>
                  </a:lnTo>
                  <a:lnTo>
                    <a:pt x="546100" y="730250"/>
                  </a:lnTo>
                  <a:lnTo>
                    <a:pt x="546100" y="742950"/>
                  </a:lnTo>
                  <a:lnTo>
                    <a:pt x="546100" y="749300"/>
                  </a:lnTo>
                  <a:lnTo>
                    <a:pt x="542925" y="755650"/>
                  </a:lnTo>
                  <a:lnTo>
                    <a:pt x="523875" y="774700"/>
                  </a:lnTo>
                  <a:lnTo>
                    <a:pt x="514350" y="787400"/>
                  </a:lnTo>
                  <a:lnTo>
                    <a:pt x="511175" y="796925"/>
                  </a:lnTo>
                  <a:lnTo>
                    <a:pt x="495300" y="822325"/>
                  </a:lnTo>
                  <a:lnTo>
                    <a:pt x="473075" y="841375"/>
                  </a:lnTo>
                  <a:lnTo>
                    <a:pt x="473075" y="835025"/>
                  </a:lnTo>
                  <a:lnTo>
                    <a:pt x="476250" y="835025"/>
                  </a:lnTo>
                  <a:lnTo>
                    <a:pt x="482600" y="831850"/>
                  </a:lnTo>
                  <a:lnTo>
                    <a:pt x="492125" y="822325"/>
                  </a:lnTo>
                  <a:lnTo>
                    <a:pt x="495300" y="815975"/>
                  </a:lnTo>
                  <a:lnTo>
                    <a:pt x="501650" y="806450"/>
                  </a:lnTo>
                  <a:lnTo>
                    <a:pt x="504825" y="796925"/>
                  </a:lnTo>
                  <a:lnTo>
                    <a:pt x="501650" y="793750"/>
                  </a:lnTo>
                  <a:lnTo>
                    <a:pt x="498475" y="796925"/>
                  </a:lnTo>
                  <a:lnTo>
                    <a:pt x="488950" y="790575"/>
                  </a:lnTo>
                  <a:lnTo>
                    <a:pt x="482600" y="819150"/>
                  </a:lnTo>
                  <a:lnTo>
                    <a:pt x="473075" y="822325"/>
                  </a:lnTo>
                  <a:lnTo>
                    <a:pt x="469900" y="831850"/>
                  </a:lnTo>
                  <a:lnTo>
                    <a:pt x="469900" y="838200"/>
                  </a:lnTo>
                  <a:lnTo>
                    <a:pt x="469900" y="844550"/>
                  </a:lnTo>
                  <a:lnTo>
                    <a:pt x="466725" y="850900"/>
                  </a:lnTo>
                  <a:lnTo>
                    <a:pt x="460375" y="866775"/>
                  </a:lnTo>
                  <a:lnTo>
                    <a:pt x="454025" y="873125"/>
                  </a:lnTo>
                  <a:lnTo>
                    <a:pt x="444500" y="882650"/>
                  </a:lnTo>
                  <a:lnTo>
                    <a:pt x="441325" y="879475"/>
                  </a:lnTo>
                  <a:lnTo>
                    <a:pt x="441325" y="869950"/>
                  </a:lnTo>
                  <a:lnTo>
                    <a:pt x="444500" y="863600"/>
                  </a:lnTo>
                  <a:lnTo>
                    <a:pt x="447675" y="857250"/>
                  </a:lnTo>
                  <a:lnTo>
                    <a:pt x="441325" y="847725"/>
                  </a:lnTo>
                  <a:lnTo>
                    <a:pt x="434975" y="841375"/>
                  </a:lnTo>
                  <a:lnTo>
                    <a:pt x="425450" y="835025"/>
                  </a:lnTo>
                  <a:lnTo>
                    <a:pt x="409575" y="822325"/>
                  </a:lnTo>
                  <a:lnTo>
                    <a:pt x="403225" y="819150"/>
                  </a:lnTo>
                  <a:lnTo>
                    <a:pt x="400050" y="812800"/>
                  </a:lnTo>
                  <a:lnTo>
                    <a:pt x="396875" y="812800"/>
                  </a:lnTo>
                  <a:lnTo>
                    <a:pt x="390525" y="815975"/>
                  </a:lnTo>
                  <a:lnTo>
                    <a:pt x="387350" y="809625"/>
                  </a:lnTo>
                  <a:lnTo>
                    <a:pt x="381000" y="800100"/>
                  </a:lnTo>
                  <a:lnTo>
                    <a:pt x="371475" y="790575"/>
                  </a:lnTo>
                  <a:lnTo>
                    <a:pt x="365125" y="790575"/>
                  </a:lnTo>
                  <a:lnTo>
                    <a:pt x="361950" y="793750"/>
                  </a:lnTo>
                  <a:lnTo>
                    <a:pt x="352425" y="793750"/>
                  </a:lnTo>
                  <a:lnTo>
                    <a:pt x="390525" y="749300"/>
                  </a:lnTo>
                  <a:lnTo>
                    <a:pt x="396875" y="742950"/>
                  </a:lnTo>
                  <a:lnTo>
                    <a:pt x="412750" y="730250"/>
                  </a:lnTo>
                  <a:lnTo>
                    <a:pt x="425450" y="727075"/>
                  </a:lnTo>
                  <a:lnTo>
                    <a:pt x="428625" y="723900"/>
                  </a:lnTo>
                  <a:lnTo>
                    <a:pt x="431800" y="720725"/>
                  </a:lnTo>
                  <a:lnTo>
                    <a:pt x="434975" y="720725"/>
                  </a:lnTo>
                  <a:lnTo>
                    <a:pt x="438150" y="714375"/>
                  </a:lnTo>
                  <a:lnTo>
                    <a:pt x="438150" y="708025"/>
                  </a:lnTo>
                  <a:lnTo>
                    <a:pt x="434975" y="692150"/>
                  </a:lnTo>
                  <a:lnTo>
                    <a:pt x="431800" y="682625"/>
                  </a:lnTo>
                  <a:lnTo>
                    <a:pt x="425450" y="682625"/>
                  </a:lnTo>
                  <a:lnTo>
                    <a:pt x="419100" y="682625"/>
                  </a:lnTo>
                  <a:lnTo>
                    <a:pt x="422275" y="669925"/>
                  </a:lnTo>
                  <a:lnTo>
                    <a:pt x="425450" y="654050"/>
                  </a:lnTo>
                  <a:lnTo>
                    <a:pt x="425450" y="644525"/>
                  </a:lnTo>
                  <a:lnTo>
                    <a:pt x="419100" y="641350"/>
                  </a:lnTo>
                  <a:lnTo>
                    <a:pt x="415925" y="641350"/>
                  </a:lnTo>
                  <a:lnTo>
                    <a:pt x="412750" y="644525"/>
                  </a:lnTo>
                  <a:lnTo>
                    <a:pt x="403225" y="644525"/>
                  </a:lnTo>
                  <a:lnTo>
                    <a:pt x="396875" y="631825"/>
                  </a:lnTo>
                  <a:lnTo>
                    <a:pt x="396875" y="619125"/>
                  </a:lnTo>
                  <a:lnTo>
                    <a:pt x="393700" y="606425"/>
                  </a:lnTo>
                  <a:lnTo>
                    <a:pt x="377825" y="600075"/>
                  </a:lnTo>
                  <a:lnTo>
                    <a:pt x="365125" y="603250"/>
                  </a:lnTo>
                  <a:lnTo>
                    <a:pt x="361950" y="603250"/>
                  </a:lnTo>
                  <a:lnTo>
                    <a:pt x="352425" y="603250"/>
                  </a:lnTo>
                  <a:lnTo>
                    <a:pt x="349250" y="600075"/>
                  </a:lnTo>
                  <a:lnTo>
                    <a:pt x="346075" y="600075"/>
                  </a:lnTo>
                  <a:lnTo>
                    <a:pt x="346075" y="587375"/>
                  </a:lnTo>
                  <a:lnTo>
                    <a:pt x="349250" y="574675"/>
                  </a:lnTo>
                  <a:lnTo>
                    <a:pt x="346075" y="568325"/>
                  </a:lnTo>
                  <a:lnTo>
                    <a:pt x="339725" y="555625"/>
                  </a:lnTo>
                  <a:lnTo>
                    <a:pt x="349250" y="552450"/>
                  </a:lnTo>
                  <a:lnTo>
                    <a:pt x="342900" y="546100"/>
                  </a:lnTo>
                  <a:lnTo>
                    <a:pt x="352425" y="520700"/>
                  </a:lnTo>
                  <a:lnTo>
                    <a:pt x="352425" y="508000"/>
                  </a:lnTo>
                  <a:lnTo>
                    <a:pt x="349250" y="501650"/>
                  </a:lnTo>
                  <a:lnTo>
                    <a:pt x="346075" y="495300"/>
                  </a:lnTo>
                  <a:lnTo>
                    <a:pt x="336550" y="488950"/>
                  </a:lnTo>
                  <a:lnTo>
                    <a:pt x="333375" y="479425"/>
                  </a:lnTo>
                  <a:lnTo>
                    <a:pt x="333375" y="469900"/>
                  </a:lnTo>
                  <a:lnTo>
                    <a:pt x="320675" y="469900"/>
                  </a:lnTo>
                  <a:lnTo>
                    <a:pt x="304800" y="466725"/>
                  </a:lnTo>
                  <a:lnTo>
                    <a:pt x="298450" y="466725"/>
                  </a:lnTo>
                  <a:lnTo>
                    <a:pt x="298450" y="463550"/>
                  </a:lnTo>
                  <a:lnTo>
                    <a:pt x="295275" y="447675"/>
                  </a:lnTo>
                  <a:lnTo>
                    <a:pt x="288925" y="441325"/>
                  </a:lnTo>
                  <a:lnTo>
                    <a:pt x="292100" y="434975"/>
                  </a:lnTo>
                  <a:lnTo>
                    <a:pt x="292100" y="425450"/>
                  </a:lnTo>
                  <a:lnTo>
                    <a:pt x="292100" y="422275"/>
                  </a:lnTo>
                  <a:lnTo>
                    <a:pt x="292100" y="415925"/>
                  </a:lnTo>
                  <a:lnTo>
                    <a:pt x="288925" y="412750"/>
                  </a:lnTo>
                  <a:lnTo>
                    <a:pt x="282575" y="409575"/>
                  </a:lnTo>
                  <a:lnTo>
                    <a:pt x="269875" y="406400"/>
                  </a:lnTo>
                  <a:lnTo>
                    <a:pt x="260350" y="406400"/>
                  </a:lnTo>
                  <a:lnTo>
                    <a:pt x="247650" y="396875"/>
                  </a:lnTo>
                  <a:lnTo>
                    <a:pt x="231775" y="387350"/>
                  </a:lnTo>
                  <a:lnTo>
                    <a:pt x="222250" y="384175"/>
                  </a:lnTo>
                  <a:lnTo>
                    <a:pt x="215900" y="384175"/>
                  </a:lnTo>
                  <a:lnTo>
                    <a:pt x="209550" y="384175"/>
                  </a:lnTo>
                  <a:lnTo>
                    <a:pt x="200025" y="377825"/>
                  </a:lnTo>
                  <a:lnTo>
                    <a:pt x="193675" y="371475"/>
                  </a:lnTo>
                  <a:lnTo>
                    <a:pt x="190500" y="368300"/>
                  </a:lnTo>
                  <a:lnTo>
                    <a:pt x="187325" y="361950"/>
                  </a:lnTo>
                  <a:lnTo>
                    <a:pt x="184150" y="349250"/>
                  </a:lnTo>
                  <a:lnTo>
                    <a:pt x="184150" y="339725"/>
                  </a:lnTo>
                  <a:lnTo>
                    <a:pt x="187325" y="336550"/>
                  </a:lnTo>
                  <a:lnTo>
                    <a:pt x="187325" y="323850"/>
                  </a:lnTo>
                  <a:lnTo>
                    <a:pt x="177800" y="323850"/>
                  </a:lnTo>
                  <a:lnTo>
                    <a:pt x="171450" y="323850"/>
                  </a:lnTo>
                  <a:lnTo>
                    <a:pt x="165100" y="327025"/>
                  </a:lnTo>
                  <a:lnTo>
                    <a:pt x="158750" y="327025"/>
                  </a:lnTo>
                  <a:lnTo>
                    <a:pt x="152400" y="330200"/>
                  </a:lnTo>
                  <a:lnTo>
                    <a:pt x="142875" y="339725"/>
                  </a:lnTo>
                  <a:lnTo>
                    <a:pt x="136525" y="342900"/>
                  </a:lnTo>
                  <a:lnTo>
                    <a:pt x="133350" y="342900"/>
                  </a:lnTo>
                  <a:lnTo>
                    <a:pt x="123825" y="349250"/>
                  </a:lnTo>
                  <a:lnTo>
                    <a:pt x="111125" y="352425"/>
                  </a:lnTo>
                  <a:lnTo>
                    <a:pt x="107950" y="349250"/>
                  </a:lnTo>
                  <a:lnTo>
                    <a:pt x="95250" y="349250"/>
                  </a:lnTo>
                  <a:lnTo>
                    <a:pt x="85725" y="349250"/>
                  </a:lnTo>
                  <a:lnTo>
                    <a:pt x="82550" y="352425"/>
                  </a:lnTo>
                  <a:lnTo>
                    <a:pt x="76200" y="352425"/>
                  </a:lnTo>
                  <a:lnTo>
                    <a:pt x="73025" y="349250"/>
                  </a:lnTo>
                  <a:lnTo>
                    <a:pt x="73025" y="333375"/>
                  </a:lnTo>
                  <a:lnTo>
                    <a:pt x="73025" y="327025"/>
                  </a:lnTo>
                  <a:lnTo>
                    <a:pt x="73025" y="317500"/>
                  </a:lnTo>
                  <a:lnTo>
                    <a:pt x="66675" y="320675"/>
                  </a:lnTo>
                  <a:lnTo>
                    <a:pt x="60325" y="327025"/>
                  </a:lnTo>
                  <a:lnTo>
                    <a:pt x="50800" y="330200"/>
                  </a:lnTo>
                  <a:lnTo>
                    <a:pt x="38100" y="330200"/>
                  </a:lnTo>
                  <a:lnTo>
                    <a:pt x="38100" y="323850"/>
                  </a:lnTo>
                  <a:lnTo>
                    <a:pt x="31750" y="317500"/>
                  </a:lnTo>
                  <a:lnTo>
                    <a:pt x="25400" y="317500"/>
                  </a:lnTo>
                  <a:lnTo>
                    <a:pt x="15875" y="317500"/>
                  </a:lnTo>
                  <a:lnTo>
                    <a:pt x="22225" y="307975"/>
                  </a:lnTo>
                  <a:lnTo>
                    <a:pt x="15875" y="301625"/>
                  </a:lnTo>
                  <a:lnTo>
                    <a:pt x="6350" y="285750"/>
                  </a:lnTo>
                  <a:lnTo>
                    <a:pt x="0" y="276225"/>
                  </a:lnTo>
                  <a:lnTo>
                    <a:pt x="3175" y="273050"/>
                  </a:lnTo>
                  <a:lnTo>
                    <a:pt x="6350" y="269875"/>
                  </a:lnTo>
                  <a:lnTo>
                    <a:pt x="3175" y="266700"/>
                  </a:lnTo>
                  <a:lnTo>
                    <a:pt x="9525" y="257175"/>
                  </a:lnTo>
                  <a:lnTo>
                    <a:pt x="12700" y="254000"/>
                  </a:lnTo>
                  <a:lnTo>
                    <a:pt x="15875" y="247650"/>
                  </a:lnTo>
                  <a:lnTo>
                    <a:pt x="19050" y="234950"/>
                  </a:lnTo>
                  <a:lnTo>
                    <a:pt x="22225" y="225425"/>
                  </a:lnTo>
                  <a:lnTo>
                    <a:pt x="25400" y="222250"/>
                  </a:lnTo>
                  <a:lnTo>
                    <a:pt x="38100" y="215900"/>
                  </a:lnTo>
                  <a:lnTo>
                    <a:pt x="47625" y="209550"/>
                  </a:lnTo>
                  <a:lnTo>
                    <a:pt x="63500" y="206375"/>
                  </a:lnTo>
                  <a:lnTo>
                    <a:pt x="76200" y="203200"/>
                  </a:lnTo>
                  <a:lnTo>
                    <a:pt x="85725" y="203200"/>
                  </a:lnTo>
                  <a:lnTo>
                    <a:pt x="98425" y="149225"/>
                  </a:lnTo>
                  <a:lnTo>
                    <a:pt x="98425" y="136525"/>
                  </a:lnTo>
                  <a:lnTo>
                    <a:pt x="95250" y="133350"/>
                  </a:lnTo>
                  <a:lnTo>
                    <a:pt x="95250" y="123825"/>
                  </a:lnTo>
                  <a:lnTo>
                    <a:pt x="85725" y="120650"/>
                  </a:lnTo>
                  <a:lnTo>
                    <a:pt x="85725" y="104775"/>
                  </a:lnTo>
                  <a:lnTo>
                    <a:pt x="85725" y="101600"/>
                  </a:lnTo>
                  <a:lnTo>
                    <a:pt x="92075" y="98425"/>
                  </a:lnTo>
                  <a:lnTo>
                    <a:pt x="98425" y="98425"/>
                  </a:lnTo>
                  <a:lnTo>
                    <a:pt x="101600" y="101600"/>
                  </a:lnTo>
                  <a:lnTo>
                    <a:pt x="104775" y="95250"/>
                  </a:lnTo>
                  <a:lnTo>
                    <a:pt x="101600" y="92075"/>
                  </a:lnTo>
                  <a:lnTo>
                    <a:pt x="88900" y="92075"/>
                  </a:lnTo>
                  <a:lnTo>
                    <a:pt x="88900" y="76200"/>
                  </a:lnTo>
                  <a:lnTo>
                    <a:pt x="98425" y="76200"/>
                  </a:lnTo>
                  <a:lnTo>
                    <a:pt x="127000" y="76200"/>
                  </a:lnTo>
                  <a:lnTo>
                    <a:pt x="136525" y="69850"/>
                  </a:lnTo>
                  <a:lnTo>
                    <a:pt x="142875" y="69850"/>
                  </a:lnTo>
                  <a:lnTo>
                    <a:pt x="149225" y="76200"/>
                  </a:lnTo>
                  <a:lnTo>
                    <a:pt x="149225" y="85725"/>
                  </a:lnTo>
                  <a:lnTo>
                    <a:pt x="149225" y="88900"/>
                  </a:lnTo>
                  <a:lnTo>
                    <a:pt x="152400" y="88900"/>
                  </a:lnTo>
                  <a:lnTo>
                    <a:pt x="161925" y="95250"/>
                  </a:lnTo>
                  <a:lnTo>
                    <a:pt x="171450" y="98425"/>
                  </a:lnTo>
                  <a:lnTo>
                    <a:pt x="184150" y="98425"/>
                  </a:lnTo>
                  <a:lnTo>
                    <a:pt x="190500" y="92075"/>
                  </a:lnTo>
                  <a:lnTo>
                    <a:pt x="196850" y="85725"/>
                  </a:lnTo>
                  <a:lnTo>
                    <a:pt x="203200" y="82550"/>
                  </a:lnTo>
                  <a:lnTo>
                    <a:pt x="206375" y="82550"/>
                  </a:lnTo>
                  <a:lnTo>
                    <a:pt x="215900" y="73025"/>
                  </a:lnTo>
                  <a:lnTo>
                    <a:pt x="228600" y="66675"/>
                  </a:lnTo>
                  <a:lnTo>
                    <a:pt x="228600" y="63500"/>
                  </a:lnTo>
                  <a:lnTo>
                    <a:pt x="225425" y="60325"/>
                  </a:lnTo>
                  <a:lnTo>
                    <a:pt x="219075" y="60325"/>
                  </a:lnTo>
                  <a:lnTo>
                    <a:pt x="215900" y="57150"/>
                  </a:lnTo>
                  <a:lnTo>
                    <a:pt x="209550" y="41275"/>
                  </a:lnTo>
                  <a:lnTo>
                    <a:pt x="206375" y="38100"/>
                  </a:lnTo>
                  <a:lnTo>
                    <a:pt x="203200" y="28575"/>
                  </a:lnTo>
                  <a:lnTo>
                    <a:pt x="196850" y="22225"/>
                  </a:lnTo>
                  <a:lnTo>
                    <a:pt x="206375" y="25400"/>
                  </a:lnTo>
                  <a:lnTo>
                    <a:pt x="212725" y="28575"/>
                  </a:lnTo>
                  <a:lnTo>
                    <a:pt x="215900" y="28575"/>
                  </a:lnTo>
                  <a:lnTo>
                    <a:pt x="228600" y="28575"/>
                  </a:lnTo>
                  <a:lnTo>
                    <a:pt x="238125" y="34925"/>
                  </a:lnTo>
                  <a:lnTo>
                    <a:pt x="241300" y="34925"/>
                  </a:lnTo>
                  <a:lnTo>
                    <a:pt x="244475" y="28575"/>
                  </a:lnTo>
                  <a:lnTo>
                    <a:pt x="250825" y="25400"/>
                  </a:lnTo>
                  <a:lnTo>
                    <a:pt x="254000" y="25400"/>
                  </a:lnTo>
                  <a:lnTo>
                    <a:pt x="257175" y="25400"/>
                  </a:lnTo>
                  <a:lnTo>
                    <a:pt x="266700" y="22225"/>
                  </a:lnTo>
                  <a:lnTo>
                    <a:pt x="279400" y="19050"/>
                  </a:lnTo>
                  <a:lnTo>
                    <a:pt x="288925" y="9525"/>
                  </a:lnTo>
                  <a:lnTo>
                    <a:pt x="285750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2" name="Google Shape;683;p35">
              <a:extLst>
                <a:ext uri="{FF2B5EF4-FFF2-40B4-BE49-F238E27FC236}">
                  <a16:creationId xmlns:a16="http://schemas.microsoft.com/office/drawing/2014/main" id="{8604986D-AB70-59E5-8973-472875F1EAD0}"/>
                </a:ext>
              </a:extLst>
            </p:cNvPr>
            <p:cNvSpPr/>
            <p:nvPr/>
          </p:nvSpPr>
          <p:spPr>
            <a:xfrm>
              <a:off x="4526835" y="4910217"/>
              <a:ext cx="231457" cy="265747"/>
            </a:xfrm>
            <a:custGeom>
              <a:avLst/>
              <a:gdLst/>
              <a:ahLst/>
              <a:cxnLst/>
              <a:rect l="l" t="t" r="r" b="b"/>
              <a:pathLst>
                <a:path w="162" h="186" extrusionOk="0">
                  <a:moveTo>
                    <a:pt x="12" y="38"/>
                  </a:moveTo>
                  <a:lnTo>
                    <a:pt x="10" y="42"/>
                  </a:lnTo>
                  <a:lnTo>
                    <a:pt x="8" y="44"/>
                  </a:lnTo>
                  <a:lnTo>
                    <a:pt x="8" y="62"/>
                  </a:lnTo>
                  <a:lnTo>
                    <a:pt x="6" y="66"/>
                  </a:lnTo>
                  <a:lnTo>
                    <a:pt x="4" y="68"/>
                  </a:lnTo>
                  <a:lnTo>
                    <a:pt x="2" y="70"/>
                  </a:lnTo>
                  <a:lnTo>
                    <a:pt x="2" y="76"/>
                  </a:lnTo>
                  <a:lnTo>
                    <a:pt x="2" y="82"/>
                  </a:lnTo>
                  <a:lnTo>
                    <a:pt x="2" y="84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92"/>
                  </a:lnTo>
                  <a:lnTo>
                    <a:pt x="8" y="96"/>
                  </a:lnTo>
                  <a:lnTo>
                    <a:pt x="4" y="100"/>
                  </a:lnTo>
                  <a:lnTo>
                    <a:pt x="0" y="104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6" y="116"/>
                  </a:lnTo>
                  <a:lnTo>
                    <a:pt x="8" y="124"/>
                  </a:lnTo>
                  <a:lnTo>
                    <a:pt x="10" y="132"/>
                  </a:lnTo>
                  <a:lnTo>
                    <a:pt x="14" y="136"/>
                  </a:lnTo>
                  <a:lnTo>
                    <a:pt x="12" y="140"/>
                  </a:lnTo>
                  <a:lnTo>
                    <a:pt x="14" y="142"/>
                  </a:lnTo>
                  <a:lnTo>
                    <a:pt x="12" y="146"/>
                  </a:lnTo>
                  <a:lnTo>
                    <a:pt x="10" y="150"/>
                  </a:lnTo>
                  <a:lnTo>
                    <a:pt x="14" y="156"/>
                  </a:lnTo>
                  <a:lnTo>
                    <a:pt x="18" y="164"/>
                  </a:lnTo>
                  <a:lnTo>
                    <a:pt x="20" y="172"/>
                  </a:lnTo>
                  <a:lnTo>
                    <a:pt x="22" y="174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42" y="174"/>
                  </a:lnTo>
                  <a:lnTo>
                    <a:pt x="44" y="172"/>
                  </a:lnTo>
                  <a:lnTo>
                    <a:pt x="46" y="170"/>
                  </a:lnTo>
                  <a:lnTo>
                    <a:pt x="50" y="174"/>
                  </a:lnTo>
                  <a:lnTo>
                    <a:pt x="56" y="174"/>
                  </a:lnTo>
                  <a:lnTo>
                    <a:pt x="62" y="174"/>
                  </a:lnTo>
                  <a:lnTo>
                    <a:pt x="66" y="174"/>
                  </a:lnTo>
                  <a:lnTo>
                    <a:pt x="68" y="178"/>
                  </a:lnTo>
                  <a:lnTo>
                    <a:pt x="72" y="186"/>
                  </a:lnTo>
                  <a:lnTo>
                    <a:pt x="74" y="178"/>
                  </a:lnTo>
                  <a:lnTo>
                    <a:pt x="76" y="174"/>
                  </a:lnTo>
                  <a:lnTo>
                    <a:pt x="80" y="172"/>
                  </a:lnTo>
                  <a:lnTo>
                    <a:pt x="88" y="172"/>
                  </a:lnTo>
                  <a:lnTo>
                    <a:pt x="92" y="172"/>
                  </a:lnTo>
                  <a:lnTo>
                    <a:pt x="94" y="176"/>
                  </a:lnTo>
                  <a:lnTo>
                    <a:pt x="96" y="168"/>
                  </a:lnTo>
                  <a:lnTo>
                    <a:pt x="100" y="158"/>
                  </a:lnTo>
                  <a:lnTo>
                    <a:pt x="100" y="154"/>
                  </a:lnTo>
                  <a:lnTo>
                    <a:pt x="100" y="150"/>
                  </a:lnTo>
                  <a:lnTo>
                    <a:pt x="106" y="142"/>
                  </a:lnTo>
                  <a:lnTo>
                    <a:pt x="106" y="138"/>
                  </a:lnTo>
                  <a:lnTo>
                    <a:pt x="112" y="138"/>
                  </a:lnTo>
                  <a:lnTo>
                    <a:pt x="120" y="136"/>
                  </a:lnTo>
                  <a:lnTo>
                    <a:pt x="128" y="134"/>
                  </a:lnTo>
                  <a:lnTo>
                    <a:pt x="138" y="134"/>
                  </a:lnTo>
                  <a:lnTo>
                    <a:pt x="142" y="134"/>
                  </a:lnTo>
                  <a:lnTo>
                    <a:pt x="150" y="138"/>
                  </a:lnTo>
                  <a:lnTo>
                    <a:pt x="154" y="142"/>
                  </a:lnTo>
                  <a:lnTo>
                    <a:pt x="154" y="146"/>
                  </a:lnTo>
                  <a:lnTo>
                    <a:pt x="160" y="144"/>
                  </a:lnTo>
                  <a:lnTo>
                    <a:pt x="156" y="140"/>
                  </a:lnTo>
                  <a:lnTo>
                    <a:pt x="162" y="124"/>
                  </a:lnTo>
                  <a:lnTo>
                    <a:pt x="162" y="116"/>
                  </a:lnTo>
                  <a:lnTo>
                    <a:pt x="160" y="112"/>
                  </a:lnTo>
                  <a:lnTo>
                    <a:pt x="158" y="108"/>
                  </a:lnTo>
                  <a:lnTo>
                    <a:pt x="152" y="104"/>
                  </a:lnTo>
                  <a:lnTo>
                    <a:pt x="150" y="98"/>
                  </a:lnTo>
                  <a:lnTo>
                    <a:pt x="150" y="92"/>
                  </a:lnTo>
                  <a:lnTo>
                    <a:pt x="142" y="92"/>
                  </a:lnTo>
                  <a:lnTo>
                    <a:pt x="132" y="90"/>
                  </a:lnTo>
                  <a:lnTo>
                    <a:pt x="128" y="90"/>
                  </a:lnTo>
                  <a:lnTo>
                    <a:pt x="128" y="88"/>
                  </a:lnTo>
                  <a:lnTo>
                    <a:pt x="126" y="78"/>
                  </a:lnTo>
                  <a:lnTo>
                    <a:pt x="122" y="74"/>
                  </a:lnTo>
                  <a:lnTo>
                    <a:pt x="124" y="70"/>
                  </a:lnTo>
                  <a:lnTo>
                    <a:pt x="124" y="64"/>
                  </a:lnTo>
                  <a:lnTo>
                    <a:pt x="124" y="62"/>
                  </a:lnTo>
                  <a:lnTo>
                    <a:pt x="124" y="58"/>
                  </a:lnTo>
                  <a:lnTo>
                    <a:pt x="122" y="56"/>
                  </a:lnTo>
                  <a:lnTo>
                    <a:pt x="118" y="54"/>
                  </a:lnTo>
                  <a:lnTo>
                    <a:pt x="110" y="52"/>
                  </a:lnTo>
                  <a:lnTo>
                    <a:pt x="104" y="52"/>
                  </a:lnTo>
                  <a:lnTo>
                    <a:pt x="96" y="46"/>
                  </a:lnTo>
                  <a:lnTo>
                    <a:pt x="86" y="40"/>
                  </a:lnTo>
                  <a:lnTo>
                    <a:pt x="80" y="38"/>
                  </a:lnTo>
                  <a:lnTo>
                    <a:pt x="76" y="38"/>
                  </a:lnTo>
                  <a:lnTo>
                    <a:pt x="72" y="38"/>
                  </a:lnTo>
                  <a:lnTo>
                    <a:pt x="66" y="34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16"/>
                  </a:lnTo>
                  <a:lnTo>
                    <a:pt x="56" y="10"/>
                  </a:lnTo>
                  <a:lnTo>
                    <a:pt x="58" y="8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6" y="4"/>
                  </a:lnTo>
                  <a:lnTo>
                    <a:pt x="30" y="10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2" y="38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3" name="Google Shape;684;p35">
              <a:extLst>
                <a:ext uri="{FF2B5EF4-FFF2-40B4-BE49-F238E27FC236}">
                  <a16:creationId xmlns:a16="http://schemas.microsoft.com/office/drawing/2014/main" id="{2C22EC0C-2256-316F-EB9D-50F14721D0FC}"/>
                </a:ext>
              </a:extLst>
            </p:cNvPr>
            <p:cNvSpPr/>
            <p:nvPr/>
          </p:nvSpPr>
          <p:spPr>
            <a:xfrm>
              <a:off x="4661138" y="5101670"/>
              <a:ext cx="162877" cy="171450"/>
            </a:xfrm>
            <a:custGeom>
              <a:avLst/>
              <a:gdLst/>
              <a:ahLst/>
              <a:cxnLst/>
              <a:rect l="l" t="t" r="r" b="b"/>
              <a:pathLst>
                <a:path w="114" h="120" extrusionOk="0">
                  <a:moveTo>
                    <a:pt x="56" y="4"/>
                  </a:moveTo>
                  <a:lnTo>
                    <a:pt x="48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6" y="24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0" y="54"/>
                  </a:lnTo>
                  <a:lnTo>
                    <a:pt x="20" y="62"/>
                  </a:lnTo>
                  <a:lnTo>
                    <a:pt x="24" y="66"/>
                  </a:lnTo>
                  <a:lnTo>
                    <a:pt x="32" y="68"/>
                  </a:lnTo>
                  <a:lnTo>
                    <a:pt x="40" y="72"/>
                  </a:lnTo>
                  <a:lnTo>
                    <a:pt x="48" y="76"/>
                  </a:lnTo>
                  <a:lnTo>
                    <a:pt x="56" y="80"/>
                  </a:lnTo>
                  <a:lnTo>
                    <a:pt x="62" y="82"/>
                  </a:lnTo>
                  <a:lnTo>
                    <a:pt x="66" y="86"/>
                  </a:lnTo>
                  <a:lnTo>
                    <a:pt x="70" y="90"/>
                  </a:lnTo>
                  <a:lnTo>
                    <a:pt x="66" y="94"/>
                  </a:lnTo>
                  <a:lnTo>
                    <a:pt x="60" y="106"/>
                  </a:lnTo>
                  <a:lnTo>
                    <a:pt x="58" y="112"/>
                  </a:lnTo>
                  <a:lnTo>
                    <a:pt x="56" y="118"/>
                  </a:lnTo>
                  <a:lnTo>
                    <a:pt x="64" y="118"/>
                  </a:lnTo>
                  <a:lnTo>
                    <a:pt x="70" y="120"/>
                  </a:lnTo>
                  <a:lnTo>
                    <a:pt x="78" y="120"/>
                  </a:lnTo>
                  <a:lnTo>
                    <a:pt x="86" y="120"/>
                  </a:lnTo>
                  <a:lnTo>
                    <a:pt x="92" y="118"/>
                  </a:lnTo>
                  <a:lnTo>
                    <a:pt x="94" y="118"/>
                  </a:lnTo>
                  <a:lnTo>
                    <a:pt x="98" y="116"/>
                  </a:lnTo>
                  <a:lnTo>
                    <a:pt x="106" y="108"/>
                  </a:lnTo>
                  <a:lnTo>
                    <a:pt x="108" y="100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4"/>
                  </a:lnTo>
                  <a:lnTo>
                    <a:pt x="114" y="68"/>
                  </a:lnTo>
                  <a:lnTo>
                    <a:pt x="110" y="66"/>
                  </a:lnTo>
                  <a:lnTo>
                    <a:pt x="108" y="66"/>
                  </a:lnTo>
                  <a:lnTo>
                    <a:pt x="106" y="68"/>
                  </a:lnTo>
                  <a:lnTo>
                    <a:pt x="100" y="68"/>
                  </a:lnTo>
                  <a:lnTo>
                    <a:pt x="96" y="60"/>
                  </a:lnTo>
                  <a:lnTo>
                    <a:pt x="96" y="52"/>
                  </a:lnTo>
                  <a:lnTo>
                    <a:pt x="94" y="44"/>
                  </a:lnTo>
                  <a:lnTo>
                    <a:pt x="84" y="40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4" y="42"/>
                  </a:lnTo>
                  <a:lnTo>
                    <a:pt x="68" y="42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2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4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4" name="Google Shape;685;p35">
              <a:extLst>
                <a:ext uri="{FF2B5EF4-FFF2-40B4-BE49-F238E27FC236}">
                  <a16:creationId xmlns:a16="http://schemas.microsoft.com/office/drawing/2014/main" id="{9BF7EF52-53A0-AB57-FE79-1D1B58843506}"/>
                </a:ext>
              </a:extLst>
            </p:cNvPr>
            <p:cNvSpPr/>
            <p:nvPr/>
          </p:nvSpPr>
          <p:spPr>
            <a:xfrm>
              <a:off x="4744005" y="5330270"/>
              <a:ext cx="100012" cy="111442"/>
            </a:xfrm>
            <a:custGeom>
              <a:avLst/>
              <a:gdLst/>
              <a:ahLst/>
              <a:cxnLst/>
              <a:rect l="l" t="t" r="r" b="b"/>
              <a:pathLst>
                <a:path w="70" h="78" extrusionOk="0">
                  <a:moveTo>
                    <a:pt x="66" y="50"/>
                  </a:moveTo>
                  <a:lnTo>
                    <a:pt x="68" y="46"/>
                  </a:lnTo>
                  <a:lnTo>
                    <a:pt x="70" y="42"/>
                  </a:lnTo>
                  <a:lnTo>
                    <a:pt x="66" y="36"/>
                  </a:lnTo>
                  <a:lnTo>
                    <a:pt x="62" y="32"/>
                  </a:lnTo>
                  <a:lnTo>
                    <a:pt x="56" y="28"/>
                  </a:lnTo>
                  <a:lnTo>
                    <a:pt x="46" y="20"/>
                  </a:lnTo>
                  <a:lnTo>
                    <a:pt x="42" y="18"/>
                  </a:lnTo>
                  <a:lnTo>
                    <a:pt x="40" y="14"/>
                  </a:lnTo>
                  <a:lnTo>
                    <a:pt x="38" y="14"/>
                  </a:lnTo>
                  <a:lnTo>
                    <a:pt x="34" y="16"/>
                  </a:lnTo>
                  <a:lnTo>
                    <a:pt x="32" y="12"/>
                  </a:lnTo>
                  <a:lnTo>
                    <a:pt x="28" y="6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6" y="2"/>
                  </a:lnTo>
                  <a:lnTo>
                    <a:pt x="10" y="2"/>
                  </a:lnTo>
                  <a:lnTo>
                    <a:pt x="6" y="8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4" y="26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2" y="44"/>
                  </a:lnTo>
                  <a:lnTo>
                    <a:pt x="0" y="50"/>
                  </a:lnTo>
                  <a:lnTo>
                    <a:pt x="0" y="66"/>
                  </a:lnTo>
                  <a:lnTo>
                    <a:pt x="4" y="66"/>
                  </a:lnTo>
                  <a:lnTo>
                    <a:pt x="8" y="70"/>
                  </a:lnTo>
                  <a:lnTo>
                    <a:pt x="12" y="70"/>
                  </a:lnTo>
                  <a:lnTo>
                    <a:pt x="16" y="70"/>
                  </a:lnTo>
                  <a:lnTo>
                    <a:pt x="20" y="72"/>
                  </a:lnTo>
                  <a:lnTo>
                    <a:pt x="22" y="74"/>
                  </a:lnTo>
                  <a:lnTo>
                    <a:pt x="30" y="78"/>
                  </a:lnTo>
                  <a:lnTo>
                    <a:pt x="36" y="76"/>
                  </a:lnTo>
                  <a:lnTo>
                    <a:pt x="44" y="78"/>
                  </a:lnTo>
                  <a:lnTo>
                    <a:pt x="46" y="78"/>
                  </a:lnTo>
                  <a:lnTo>
                    <a:pt x="50" y="78"/>
                  </a:lnTo>
                  <a:lnTo>
                    <a:pt x="58" y="74"/>
                  </a:lnTo>
                  <a:lnTo>
                    <a:pt x="62" y="70"/>
                  </a:lnTo>
                  <a:lnTo>
                    <a:pt x="64" y="66"/>
                  </a:lnTo>
                  <a:lnTo>
                    <a:pt x="68" y="58"/>
                  </a:lnTo>
                  <a:lnTo>
                    <a:pt x="66" y="56"/>
                  </a:lnTo>
                  <a:lnTo>
                    <a:pt x="66" y="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5" name="Google Shape;686;p35">
              <a:extLst>
                <a:ext uri="{FF2B5EF4-FFF2-40B4-BE49-F238E27FC236}">
                  <a16:creationId xmlns:a16="http://schemas.microsoft.com/office/drawing/2014/main" id="{781AD277-A27F-BF0D-2297-AC71F9F07CC1}"/>
                </a:ext>
              </a:extLst>
            </p:cNvPr>
            <p:cNvSpPr/>
            <p:nvPr/>
          </p:nvSpPr>
          <p:spPr>
            <a:xfrm>
              <a:off x="4449683" y="5153105"/>
              <a:ext cx="385763" cy="845820"/>
            </a:xfrm>
            <a:custGeom>
              <a:avLst/>
              <a:gdLst/>
              <a:ahLst/>
              <a:cxnLst/>
              <a:rect l="l" t="t" r="r" b="b"/>
              <a:pathLst>
                <a:path w="428625" h="939800" extrusionOk="0">
                  <a:moveTo>
                    <a:pt x="200025" y="930275"/>
                  </a:moveTo>
                  <a:lnTo>
                    <a:pt x="206375" y="930275"/>
                  </a:lnTo>
                  <a:lnTo>
                    <a:pt x="209550" y="933450"/>
                  </a:lnTo>
                  <a:lnTo>
                    <a:pt x="196850" y="936625"/>
                  </a:lnTo>
                  <a:lnTo>
                    <a:pt x="190500" y="933450"/>
                  </a:lnTo>
                  <a:close/>
                  <a:moveTo>
                    <a:pt x="104775" y="854075"/>
                  </a:moveTo>
                  <a:lnTo>
                    <a:pt x="107950" y="863600"/>
                  </a:lnTo>
                  <a:lnTo>
                    <a:pt x="107950" y="873125"/>
                  </a:lnTo>
                  <a:lnTo>
                    <a:pt x="111125" y="882650"/>
                  </a:lnTo>
                  <a:lnTo>
                    <a:pt x="123825" y="895350"/>
                  </a:lnTo>
                  <a:lnTo>
                    <a:pt x="130175" y="901700"/>
                  </a:lnTo>
                  <a:lnTo>
                    <a:pt x="136525" y="908050"/>
                  </a:lnTo>
                  <a:lnTo>
                    <a:pt x="146050" y="914400"/>
                  </a:lnTo>
                  <a:lnTo>
                    <a:pt x="152400" y="920750"/>
                  </a:lnTo>
                  <a:lnTo>
                    <a:pt x="158750" y="923925"/>
                  </a:lnTo>
                  <a:lnTo>
                    <a:pt x="171450" y="927100"/>
                  </a:lnTo>
                  <a:lnTo>
                    <a:pt x="180975" y="927100"/>
                  </a:lnTo>
                  <a:lnTo>
                    <a:pt x="177800" y="939800"/>
                  </a:lnTo>
                  <a:lnTo>
                    <a:pt x="165100" y="939800"/>
                  </a:lnTo>
                  <a:lnTo>
                    <a:pt x="146050" y="939800"/>
                  </a:lnTo>
                  <a:lnTo>
                    <a:pt x="130175" y="936625"/>
                  </a:lnTo>
                  <a:lnTo>
                    <a:pt x="104775" y="933450"/>
                  </a:lnTo>
                  <a:close/>
                  <a:moveTo>
                    <a:pt x="158750" y="0"/>
                  </a:moveTo>
                  <a:lnTo>
                    <a:pt x="165100" y="6350"/>
                  </a:lnTo>
                  <a:lnTo>
                    <a:pt x="174625" y="6350"/>
                  </a:lnTo>
                  <a:lnTo>
                    <a:pt x="184150" y="6350"/>
                  </a:lnTo>
                  <a:lnTo>
                    <a:pt x="190500" y="6350"/>
                  </a:lnTo>
                  <a:lnTo>
                    <a:pt x="193675" y="12700"/>
                  </a:lnTo>
                  <a:lnTo>
                    <a:pt x="200025" y="25400"/>
                  </a:lnTo>
                  <a:lnTo>
                    <a:pt x="203200" y="12700"/>
                  </a:lnTo>
                  <a:lnTo>
                    <a:pt x="206375" y="6350"/>
                  </a:lnTo>
                  <a:lnTo>
                    <a:pt x="212725" y="3175"/>
                  </a:lnTo>
                  <a:lnTo>
                    <a:pt x="225425" y="3175"/>
                  </a:lnTo>
                  <a:lnTo>
                    <a:pt x="231775" y="3175"/>
                  </a:lnTo>
                  <a:lnTo>
                    <a:pt x="234950" y="9525"/>
                  </a:lnTo>
                  <a:lnTo>
                    <a:pt x="244475" y="19050"/>
                  </a:lnTo>
                  <a:lnTo>
                    <a:pt x="250825" y="28575"/>
                  </a:lnTo>
                  <a:lnTo>
                    <a:pt x="266700" y="41275"/>
                  </a:lnTo>
                  <a:lnTo>
                    <a:pt x="273050" y="47625"/>
                  </a:lnTo>
                  <a:lnTo>
                    <a:pt x="285750" y="50800"/>
                  </a:lnTo>
                  <a:lnTo>
                    <a:pt x="298450" y="57150"/>
                  </a:lnTo>
                  <a:lnTo>
                    <a:pt x="311150" y="63500"/>
                  </a:lnTo>
                  <a:lnTo>
                    <a:pt x="323850" y="69850"/>
                  </a:lnTo>
                  <a:lnTo>
                    <a:pt x="333375" y="73025"/>
                  </a:lnTo>
                  <a:lnTo>
                    <a:pt x="339725" y="79375"/>
                  </a:lnTo>
                  <a:lnTo>
                    <a:pt x="346075" y="85725"/>
                  </a:lnTo>
                  <a:lnTo>
                    <a:pt x="339725" y="92075"/>
                  </a:lnTo>
                  <a:lnTo>
                    <a:pt x="330200" y="111125"/>
                  </a:lnTo>
                  <a:lnTo>
                    <a:pt x="327025" y="120650"/>
                  </a:lnTo>
                  <a:lnTo>
                    <a:pt x="323850" y="130175"/>
                  </a:lnTo>
                  <a:lnTo>
                    <a:pt x="336550" y="130175"/>
                  </a:lnTo>
                  <a:lnTo>
                    <a:pt x="346075" y="133350"/>
                  </a:lnTo>
                  <a:lnTo>
                    <a:pt x="358775" y="133350"/>
                  </a:lnTo>
                  <a:lnTo>
                    <a:pt x="371475" y="133350"/>
                  </a:lnTo>
                  <a:lnTo>
                    <a:pt x="381000" y="130175"/>
                  </a:lnTo>
                  <a:lnTo>
                    <a:pt x="384175" y="130175"/>
                  </a:lnTo>
                  <a:lnTo>
                    <a:pt x="390525" y="127000"/>
                  </a:lnTo>
                  <a:lnTo>
                    <a:pt x="403225" y="114300"/>
                  </a:lnTo>
                  <a:lnTo>
                    <a:pt x="406400" y="101600"/>
                  </a:lnTo>
                  <a:lnTo>
                    <a:pt x="409575" y="88900"/>
                  </a:lnTo>
                  <a:lnTo>
                    <a:pt x="415925" y="88900"/>
                  </a:lnTo>
                  <a:lnTo>
                    <a:pt x="422275" y="88900"/>
                  </a:lnTo>
                  <a:lnTo>
                    <a:pt x="425450" y="98425"/>
                  </a:lnTo>
                  <a:lnTo>
                    <a:pt x="428625" y="114300"/>
                  </a:lnTo>
                  <a:lnTo>
                    <a:pt x="428625" y="120650"/>
                  </a:lnTo>
                  <a:lnTo>
                    <a:pt x="425450" y="127000"/>
                  </a:lnTo>
                  <a:lnTo>
                    <a:pt x="422275" y="127000"/>
                  </a:lnTo>
                  <a:lnTo>
                    <a:pt x="419100" y="130175"/>
                  </a:lnTo>
                  <a:lnTo>
                    <a:pt x="415925" y="133350"/>
                  </a:lnTo>
                  <a:lnTo>
                    <a:pt x="403225" y="136525"/>
                  </a:lnTo>
                  <a:lnTo>
                    <a:pt x="387350" y="149225"/>
                  </a:lnTo>
                  <a:lnTo>
                    <a:pt x="381000" y="155575"/>
                  </a:lnTo>
                  <a:lnTo>
                    <a:pt x="342900" y="200025"/>
                  </a:lnTo>
                  <a:lnTo>
                    <a:pt x="336550" y="209550"/>
                  </a:lnTo>
                  <a:lnTo>
                    <a:pt x="339725" y="212725"/>
                  </a:lnTo>
                  <a:lnTo>
                    <a:pt x="339725" y="219075"/>
                  </a:lnTo>
                  <a:lnTo>
                    <a:pt x="333375" y="238125"/>
                  </a:lnTo>
                  <a:lnTo>
                    <a:pt x="330200" y="244475"/>
                  </a:lnTo>
                  <a:lnTo>
                    <a:pt x="333375" y="254000"/>
                  </a:lnTo>
                  <a:lnTo>
                    <a:pt x="330200" y="266700"/>
                  </a:lnTo>
                  <a:lnTo>
                    <a:pt x="327025" y="276225"/>
                  </a:lnTo>
                  <a:lnTo>
                    <a:pt x="327025" y="301625"/>
                  </a:lnTo>
                  <a:lnTo>
                    <a:pt x="327025" y="304800"/>
                  </a:lnTo>
                  <a:lnTo>
                    <a:pt x="323850" y="304800"/>
                  </a:lnTo>
                  <a:lnTo>
                    <a:pt x="327025" y="311150"/>
                  </a:lnTo>
                  <a:lnTo>
                    <a:pt x="336550" y="317500"/>
                  </a:lnTo>
                  <a:lnTo>
                    <a:pt x="349250" y="327025"/>
                  </a:lnTo>
                  <a:lnTo>
                    <a:pt x="352425" y="333375"/>
                  </a:lnTo>
                  <a:lnTo>
                    <a:pt x="352425" y="339725"/>
                  </a:lnTo>
                  <a:lnTo>
                    <a:pt x="349250" y="349250"/>
                  </a:lnTo>
                  <a:lnTo>
                    <a:pt x="358775" y="358775"/>
                  </a:lnTo>
                  <a:lnTo>
                    <a:pt x="361950" y="361950"/>
                  </a:lnTo>
                  <a:lnTo>
                    <a:pt x="361950" y="374650"/>
                  </a:lnTo>
                  <a:lnTo>
                    <a:pt x="352425" y="390525"/>
                  </a:lnTo>
                  <a:lnTo>
                    <a:pt x="346075" y="403225"/>
                  </a:lnTo>
                  <a:lnTo>
                    <a:pt x="346075" y="406400"/>
                  </a:lnTo>
                  <a:lnTo>
                    <a:pt x="339725" y="409575"/>
                  </a:lnTo>
                  <a:lnTo>
                    <a:pt x="327025" y="415925"/>
                  </a:lnTo>
                  <a:lnTo>
                    <a:pt x="276225" y="428625"/>
                  </a:lnTo>
                  <a:lnTo>
                    <a:pt x="250825" y="428625"/>
                  </a:lnTo>
                  <a:lnTo>
                    <a:pt x="247650" y="428625"/>
                  </a:lnTo>
                  <a:lnTo>
                    <a:pt x="247650" y="425450"/>
                  </a:lnTo>
                  <a:lnTo>
                    <a:pt x="241300" y="425450"/>
                  </a:lnTo>
                  <a:lnTo>
                    <a:pt x="241300" y="428625"/>
                  </a:lnTo>
                  <a:lnTo>
                    <a:pt x="241300" y="438150"/>
                  </a:lnTo>
                  <a:lnTo>
                    <a:pt x="244475" y="438150"/>
                  </a:lnTo>
                  <a:lnTo>
                    <a:pt x="247650" y="441325"/>
                  </a:lnTo>
                  <a:lnTo>
                    <a:pt x="247650" y="447675"/>
                  </a:lnTo>
                  <a:lnTo>
                    <a:pt x="244475" y="454025"/>
                  </a:lnTo>
                  <a:lnTo>
                    <a:pt x="241300" y="454025"/>
                  </a:lnTo>
                  <a:lnTo>
                    <a:pt x="241300" y="457200"/>
                  </a:lnTo>
                  <a:lnTo>
                    <a:pt x="241300" y="463550"/>
                  </a:lnTo>
                  <a:lnTo>
                    <a:pt x="238125" y="466725"/>
                  </a:lnTo>
                  <a:lnTo>
                    <a:pt x="241300" y="473075"/>
                  </a:lnTo>
                  <a:lnTo>
                    <a:pt x="244475" y="476250"/>
                  </a:lnTo>
                  <a:lnTo>
                    <a:pt x="241300" y="482600"/>
                  </a:lnTo>
                  <a:lnTo>
                    <a:pt x="231775" y="488950"/>
                  </a:lnTo>
                  <a:lnTo>
                    <a:pt x="222250" y="492125"/>
                  </a:lnTo>
                  <a:lnTo>
                    <a:pt x="209550" y="492125"/>
                  </a:lnTo>
                  <a:lnTo>
                    <a:pt x="193675" y="482600"/>
                  </a:lnTo>
                  <a:lnTo>
                    <a:pt x="190500" y="479425"/>
                  </a:lnTo>
                  <a:lnTo>
                    <a:pt x="187325" y="479425"/>
                  </a:lnTo>
                  <a:lnTo>
                    <a:pt x="180975" y="488950"/>
                  </a:lnTo>
                  <a:lnTo>
                    <a:pt x="184150" y="501650"/>
                  </a:lnTo>
                  <a:lnTo>
                    <a:pt x="184150" y="511175"/>
                  </a:lnTo>
                  <a:lnTo>
                    <a:pt x="180975" y="514350"/>
                  </a:lnTo>
                  <a:lnTo>
                    <a:pt x="193675" y="527050"/>
                  </a:lnTo>
                  <a:lnTo>
                    <a:pt x="203200" y="527050"/>
                  </a:lnTo>
                  <a:lnTo>
                    <a:pt x="200025" y="520700"/>
                  </a:lnTo>
                  <a:lnTo>
                    <a:pt x="212725" y="517525"/>
                  </a:lnTo>
                  <a:lnTo>
                    <a:pt x="215900" y="530225"/>
                  </a:lnTo>
                  <a:lnTo>
                    <a:pt x="212725" y="539750"/>
                  </a:lnTo>
                  <a:lnTo>
                    <a:pt x="203200" y="539750"/>
                  </a:lnTo>
                  <a:lnTo>
                    <a:pt x="200025" y="536575"/>
                  </a:lnTo>
                  <a:lnTo>
                    <a:pt x="200025" y="533400"/>
                  </a:lnTo>
                  <a:lnTo>
                    <a:pt x="190500" y="530225"/>
                  </a:lnTo>
                  <a:lnTo>
                    <a:pt x="184150" y="536575"/>
                  </a:lnTo>
                  <a:lnTo>
                    <a:pt x="193675" y="542925"/>
                  </a:lnTo>
                  <a:lnTo>
                    <a:pt x="184150" y="552450"/>
                  </a:lnTo>
                  <a:lnTo>
                    <a:pt x="180975" y="555625"/>
                  </a:lnTo>
                  <a:lnTo>
                    <a:pt x="180975" y="558800"/>
                  </a:lnTo>
                  <a:lnTo>
                    <a:pt x="177800" y="565150"/>
                  </a:lnTo>
                  <a:lnTo>
                    <a:pt x="177800" y="574675"/>
                  </a:lnTo>
                  <a:lnTo>
                    <a:pt x="174625" y="590550"/>
                  </a:lnTo>
                  <a:lnTo>
                    <a:pt x="161925" y="600075"/>
                  </a:lnTo>
                  <a:lnTo>
                    <a:pt x="152400" y="606425"/>
                  </a:lnTo>
                  <a:lnTo>
                    <a:pt x="139700" y="615950"/>
                  </a:lnTo>
                  <a:lnTo>
                    <a:pt x="130175" y="628650"/>
                  </a:lnTo>
                  <a:lnTo>
                    <a:pt x="127000" y="641350"/>
                  </a:lnTo>
                  <a:lnTo>
                    <a:pt x="136525" y="657225"/>
                  </a:lnTo>
                  <a:lnTo>
                    <a:pt x="142875" y="666750"/>
                  </a:lnTo>
                  <a:lnTo>
                    <a:pt x="152400" y="666750"/>
                  </a:lnTo>
                  <a:lnTo>
                    <a:pt x="158750" y="669925"/>
                  </a:lnTo>
                  <a:lnTo>
                    <a:pt x="161925" y="669925"/>
                  </a:lnTo>
                  <a:lnTo>
                    <a:pt x="168275" y="676275"/>
                  </a:lnTo>
                  <a:lnTo>
                    <a:pt x="168275" y="685800"/>
                  </a:lnTo>
                  <a:lnTo>
                    <a:pt x="165100" y="692150"/>
                  </a:lnTo>
                  <a:lnTo>
                    <a:pt x="165100" y="698500"/>
                  </a:lnTo>
                  <a:lnTo>
                    <a:pt x="158750" y="704850"/>
                  </a:lnTo>
                  <a:lnTo>
                    <a:pt x="149225" y="711200"/>
                  </a:lnTo>
                  <a:lnTo>
                    <a:pt x="136525" y="723900"/>
                  </a:lnTo>
                  <a:lnTo>
                    <a:pt x="127000" y="733425"/>
                  </a:lnTo>
                  <a:lnTo>
                    <a:pt x="127000" y="739775"/>
                  </a:lnTo>
                  <a:lnTo>
                    <a:pt x="123825" y="755650"/>
                  </a:lnTo>
                  <a:lnTo>
                    <a:pt x="120650" y="765175"/>
                  </a:lnTo>
                  <a:lnTo>
                    <a:pt x="114300" y="768350"/>
                  </a:lnTo>
                  <a:lnTo>
                    <a:pt x="111125" y="768350"/>
                  </a:lnTo>
                  <a:lnTo>
                    <a:pt x="107950" y="771525"/>
                  </a:lnTo>
                  <a:lnTo>
                    <a:pt x="104775" y="771525"/>
                  </a:lnTo>
                  <a:lnTo>
                    <a:pt x="95250" y="781050"/>
                  </a:lnTo>
                  <a:lnTo>
                    <a:pt x="95250" y="790575"/>
                  </a:lnTo>
                  <a:lnTo>
                    <a:pt x="95250" y="796925"/>
                  </a:lnTo>
                  <a:lnTo>
                    <a:pt x="95250" y="800100"/>
                  </a:lnTo>
                  <a:lnTo>
                    <a:pt x="98425" y="809625"/>
                  </a:lnTo>
                  <a:lnTo>
                    <a:pt x="98425" y="815975"/>
                  </a:lnTo>
                  <a:lnTo>
                    <a:pt x="104775" y="831850"/>
                  </a:lnTo>
                  <a:lnTo>
                    <a:pt x="111125" y="844550"/>
                  </a:lnTo>
                  <a:lnTo>
                    <a:pt x="101600" y="841375"/>
                  </a:lnTo>
                  <a:lnTo>
                    <a:pt x="92075" y="838200"/>
                  </a:lnTo>
                  <a:lnTo>
                    <a:pt x="82550" y="835025"/>
                  </a:lnTo>
                  <a:lnTo>
                    <a:pt x="76200" y="831850"/>
                  </a:lnTo>
                  <a:lnTo>
                    <a:pt x="53975" y="831850"/>
                  </a:lnTo>
                  <a:lnTo>
                    <a:pt x="34925" y="831850"/>
                  </a:lnTo>
                  <a:lnTo>
                    <a:pt x="25400" y="815975"/>
                  </a:lnTo>
                  <a:lnTo>
                    <a:pt x="28575" y="806450"/>
                  </a:lnTo>
                  <a:lnTo>
                    <a:pt x="28575" y="793750"/>
                  </a:lnTo>
                  <a:lnTo>
                    <a:pt x="25400" y="787400"/>
                  </a:lnTo>
                  <a:lnTo>
                    <a:pt x="19050" y="784225"/>
                  </a:lnTo>
                  <a:lnTo>
                    <a:pt x="12700" y="787400"/>
                  </a:lnTo>
                  <a:lnTo>
                    <a:pt x="6350" y="784225"/>
                  </a:lnTo>
                  <a:lnTo>
                    <a:pt x="6350" y="774700"/>
                  </a:lnTo>
                  <a:lnTo>
                    <a:pt x="0" y="768350"/>
                  </a:lnTo>
                  <a:lnTo>
                    <a:pt x="0" y="749300"/>
                  </a:lnTo>
                  <a:lnTo>
                    <a:pt x="9525" y="733425"/>
                  </a:lnTo>
                  <a:lnTo>
                    <a:pt x="12700" y="730250"/>
                  </a:lnTo>
                  <a:lnTo>
                    <a:pt x="19050" y="727075"/>
                  </a:lnTo>
                  <a:lnTo>
                    <a:pt x="19050" y="714375"/>
                  </a:lnTo>
                  <a:lnTo>
                    <a:pt x="25400" y="711200"/>
                  </a:lnTo>
                  <a:lnTo>
                    <a:pt x="25400" y="698500"/>
                  </a:lnTo>
                  <a:lnTo>
                    <a:pt x="22225" y="688975"/>
                  </a:lnTo>
                  <a:lnTo>
                    <a:pt x="25400" y="682625"/>
                  </a:lnTo>
                  <a:lnTo>
                    <a:pt x="31750" y="676275"/>
                  </a:lnTo>
                  <a:lnTo>
                    <a:pt x="31750" y="673100"/>
                  </a:lnTo>
                  <a:lnTo>
                    <a:pt x="31750" y="666750"/>
                  </a:lnTo>
                  <a:lnTo>
                    <a:pt x="34925" y="660400"/>
                  </a:lnTo>
                  <a:lnTo>
                    <a:pt x="38100" y="660400"/>
                  </a:lnTo>
                  <a:lnTo>
                    <a:pt x="41275" y="654050"/>
                  </a:lnTo>
                  <a:lnTo>
                    <a:pt x="38100" y="644525"/>
                  </a:lnTo>
                  <a:lnTo>
                    <a:pt x="38100" y="635000"/>
                  </a:lnTo>
                  <a:lnTo>
                    <a:pt x="38100" y="628650"/>
                  </a:lnTo>
                  <a:lnTo>
                    <a:pt x="41275" y="619125"/>
                  </a:lnTo>
                  <a:lnTo>
                    <a:pt x="44450" y="619125"/>
                  </a:lnTo>
                  <a:lnTo>
                    <a:pt x="47625" y="612775"/>
                  </a:lnTo>
                  <a:lnTo>
                    <a:pt x="41275" y="603250"/>
                  </a:lnTo>
                  <a:lnTo>
                    <a:pt x="38100" y="603250"/>
                  </a:lnTo>
                  <a:lnTo>
                    <a:pt x="31750" y="596900"/>
                  </a:lnTo>
                  <a:lnTo>
                    <a:pt x="47625" y="596900"/>
                  </a:lnTo>
                  <a:lnTo>
                    <a:pt x="50800" y="590550"/>
                  </a:lnTo>
                  <a:lnTo>
                    <a:pt x="41275" y="587375"/>
                  </a:lnTo>
                  <a:lnTo>
                    <a:pt x="38100" y="587375"/>
                  </a:lnTo>
                  <a:lnTo>
                    <a:pt x="38100" y="581025"/>
                  </a:lnTo>
                  <a:lnTo>
                    <a:pt x="38100" y="574675"/>
                  </a:lnTo>
                  <a:lnTo>
                    <a:pt x="38100" y="568325"/>
                  </a:lnTo>
                  <a:lnTo>
                    <a:pt x="38100" y="561975"/>
                  </a:lnTo>
                  <a:lnTo>
                    <a:pt x="34925" y="552450"/>
                  </a:lnTo>
                  <a:lnTo>
                    <a:pt x="31750" y="546100"/>
                  </a:lnTo>
                  <a:lnTo>
                    <a:pt x="28575" y="539750"/>
                  </a:lnTo>
                  <a:lnTo>
                    <a:pt x="31750" y="523875"/>
                  </a:lnTo>
                  <a:lnTo>
                    <a:pt x="31750" y="520700"/>
                  </a:lnTo>
                  <a:lnTo>
                    <a:pt x="34925" y="520700"/>
                  </a:lnTo>
                  <a:lnTo>
                    <a:pt x="38100" y="511175"/>
                  </a:lnTo>
                  <a:lnTo>
                    <a:pt x="34925" y="504825"/>
                  </a:lnTo>
                  <a:lnTo>
                    <a:pt x="34925" y="495300"/>
                  </a:lnTo>
                  <a:lnTo>
                    <a:pt x="34925" y="485775"/>
                  </a:lnTo>
                  <a:lnTo>
                    <a:pt x="34925" y="479425"/>
                  </a:lnTo>
                  <a:lnTo>
                    <a:pt x="38100" y="466725"/>
                  </a:lnTo>
                  <a:lnTo>
                    <a:pt x="41275" y="454025"/>
                  </a:lnTo>
                  <a:lnTo>
                    <a:pt x="38100" y="447675"/>
                  </a:lnTo>
                  <a:lnTo>
                    <a:pt x="41275" y="447675"/>
                  </a:lnTo>
                  <a:lnTo>
                    <a:pt x="44450" y="441325"/>
                  </a:lnTo>
                  <a:lnTo>
                    <a:pt x="44450" y="428625"/>
                  </a:lnTo>
                  <a:lnTo>
                    <a:pt x="53975" y="422275"/>
                  </a:lnTo>
                  <a:lnTo>
                    <a:pt x="57150" y="415925"/>
                  </a:lnTo>
                  <a:lnTo>
                    <a:pt x="53975" y="406400"/>
                  </a:lnTo>
                  <a:lnTo>
                    <a:pt x="50800" y="390525"/>
                  </a:lnTo>
                  <a:lnTo>
                    <a:pt x="50800" y="371475"/>
                  </a:lnTo>
                  <a:lnTo>
                    <a:pt x="57150" y="358775"/>
                  </a:lnTo>
                  <a:lnTo>
                    <a:pt x="63500" y="352425"/>
                  </a:lnTo>
                  <a:lnTo>
                    <a:pt x="66675" y="349250"/>
                  </a:lnTo>
                  <a:lnTo>
                    <a:pt x="66675" y="333375"/>
                  </a:lnTo>
                  <a:lnTo>
                    <a:pt x="63500" y="327025"/>
                  </a:lnTo>
                  <a:lnTo>
                    <a:pt x="66675" y="323850"/>
                  </a:lnTo>
                  <a:lnTo>
                    <a:pt x="76200" y="304800"/>
                  </a:lnTo>
                  <a:lnTo>
                    <a:pt x="79375" y="301625"/>
                  </a:lnTo>
                  <a:lnTo>
                    <a:pt x="76200" y="285750"/>
                  </a:lnTo>
                  <a:lnTo>
                    <a:pt x="73025" y="269875"/>
                  </a:lnTo>
                  <a:lnTo>
                    <a:pt x="73025" y="260350"/>
                  </a:lnTo>
                  <a:lnTo>
                    <a:pt x="69850" y="254000"/>
                  </a:lnTo>
                  <a:lnTo>
                    <a:pt x="66675" y="241300"/>
                  </a:lnTo>
                  <a:lnTo>
                    <a:pt x="63500" y="234950"/>
                  </a:lnTo>
                  <a:lnTo>
                    <a:pt x="63500" y="225425"/>
                  </a:lnTo>
                  <a:lnTo>
                    <a:pt x="69850" y="209550"/>
                  </a:lnTo>
                  <a:lnTo>
                    <a:pt x="73025" y="206375"/>
                  </a:lnTo>
                  <a:lnTo>
                    <a:pt x="79375" y="200025"/>
                  </a:lnTo>
                  <a:lnTo>
                    <a:pt x="79375" y="193675"/>
                  </a:lnTo>
                  <a:lnTo>
                    <a:pt x="76200" y="187325"/>
                  </a:lnTo>
                  <a:lnTo>
                    <a:pt x="76200" y="174625"/>
                  </a:lnTo>
                  <a:lnTo>
                    <a:pt x="82550" y="158750"/>
                  </a:lnTo>
                  <a:lnTo>
                    <a:pt x="85725" y="155575"/>
                  </a:lnTo>
                  <a:lnTo>
                    <a:pt x="88900" y="149225"/>
                  </a:lnTo>
                  <a:lnTo>
                    <a:pt x="95250" y="136525"/>
                  </a:lnTo>
                  <a:lnTo>
                    <a:pt x="101600" y="127000"/>
                  </a:lnTo>
                  <a:lnTo>
                    <a:pt x="104775" y="123825"/>
                  </a:lnTo>
                  <a:lnTo>
                    <a:pt x="111125" y="123825"/>
                  </a:lnTo>
                  <a:lnTo>
                    <a:pt x="111125" y="111125"/>
                  </a:lnTo>
                  <a:lnTo>
                    <a:pt x="107950" y="98425"/>
                  </a:lnTo>
                  <a:lnTo>
                    <a:pt x="107950" y="82550"/>
                  </a:lnTo>
                  <a:lnTo>
                    <a:pt x="114300" y="60325"/>
                  </a:lnTo>
                  <a:lnTo>
                    <a:pt x="127000" y="53975"/>
                  </a:lnTo>
                  <a:lnTo>
                    <a:pt x="133350" y="50800"/>
                  </a:lnTo>
                  <a:lnTo>
                    <a:pt x="136525" y="41275"/>
                  </a:lnTo>
                  <a:lnTo>
                    <a:pt x="136525" y="34925"/>
                  </a:lnTo>
                  <a:lnTo>
                    <a:pt x="136525" y="22225"/>
                  </a:lnTo>
                  <a:lnTo>
                    <a:pt x="142875" y="15875"/>
                  </a:lnTo>
                  <a:lnTo>
                    <a:pt x="152400" y="6350"/>
                  </a:lnTo>
                  <a:lnTo>
                    <a:pt x="155575" y="317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6" name="Google Shape;687;p35">
              <a:extLst>
                <a:ext uri="{FF2B5EF4-FFF2-40B4-BE49-F238E27FC236}">
                  <a16:creationId xmlns:a16="http://schemas.microsoft.com/office/drawing/2014/main" id="{5A4ED8A8-4F09-9816-1F61-5C08E1A626EA}"/>
                </a:ext>
              </a:extLst>
            </p:cNvPr>
            <p:cNvSpPr/>
            <p:nvPr/>
          </p:nvSpPr>
          <p:spPr>
            <a:xfrm>
              <a:off x="4409677" y="5064522"/>
              <a:ext cx="165735" cy="960120"/>
            </a:xfrm>
            <a:custGeom>
              <a:avLst/>
              <a:gdLst/>
              <a:ahLst/>
              <a:cxnLst/>
              <a:rect l="l" t="t" r="r" b="b"/>
              <a:pathLst>
                <a:path w="184150" h="1066800" extrusionOk="0">
                  <a:moveTo>
                    <a:pt x="161591" y="1062456"/>
                  </a:moveTo>
                  <a:lnTo>
                    <a:pt x="165100" y="1063625"/>
                  </a:lnTo>
                  <a:lnTo>
                    <a:pt x="161925" y="1063625"/>
                  </a:lnTo>
                  <a:close/>
                  <a:moveTo>
                    <a:pt x="177800" y="1060450"/>
                  </a:moveTo>
                  <a:lnTo>
                    <a:pt x="180975" y="1066800"/>
                  </a:lnTo>
                  <a:lnTo>
                    <a:pt x="177800" y="1066800"/>
                  </a:lnTo>
                  <a:lnTo>
                    <a:pt x="174625" y="1066800"/>
                  </a:lnTo>
                  <a:close/>
                  <a:moveTo>
                    <a:pt x="120650" y="1038225"/>
                  </a:moveTo>
                  <a:lnTo>
                    <a:pt x="136525" y="1038225"/>
                  </a:lnTo>
                  <a:lnTo>
                    <a:pt x="139700" y="1038225"/>
                  </a:lnTo>
                  <a:lnTo>
                    <a:pt x="133350" y="1040342"/>
                  </a:lnTo>
                  <a:lnTo>
                    <a:pt x="146050" y="1038225"/>
                  </a:lnTo>
                  <a:lnTo>
                    <a:pt x="155575" y="1041400"/>
                  </a:lnTo>
                  <a:lnTo>
                    <a:pt x="161591" y="1062456"/>
                  </a:lnTo>
                  <a:lnTo>
                    <a:pt x="155575" y="1060450"/>
                  </a:lnTo>
                  <a:lnTo>
                    <a:pt x="146050" y="1054100"/>
                  </a:lnTo>
                  <a:lnTo>
                    <a:pt x="139700" y="1054100"/>
                  </a:lnTo>
                  <a:lnTo>
                    <a:pt x="136525" y="1057275"/>
                  </a:lnTo>
                  <a:lnTo>
                    <a:pt x="130175" y="1050925"/>
                  </a:lnTo>
                  <a:lnTo>
                    <a:pt x="120650" y="1047750"/>
                  </a:lnTo>
                  <a:lnTo>
                    <a:pt x="120650" y="1041400"/>
                  </a:lnTo>
                  <a:lnTo>
                    <a:pt x="127000" y="1041400"/>
                  </a:lnTo>
                  <a:lnTo>
                    <a:pt x="129117" y="1041047"/>
                  </a:lnTo>
                  <a:close/>
                  <a:moveTo>
                    <a:pt x="171450" y="1035050"/>
                  </a:moveTo>
                  <a:lnTo>
                    <a:pt x="184150" y="1044575"/>
                  </a:lnTo>
                  <a:lnTo>
                    <a:pt x="180975" y="1050925"/>
                  </a:lnTo>
                  <a:lnTo>
                    <a:pt x="171450" y="1050925"/>
                  </a:lnTo>
                  <a:lnTo>
                    <a:pt x="161925" y="1047750"/>
                  </a:lnTo>
                  <a:lnTo>
                    <a:pt x="155575" y="1038225"/>
                  </a:lnTo>
                  <a:close/>
                  <a:moveTo>
                    <a:pt x="114300" y="1035050"/>
                  </a:moveTo>
                  <a:lnTo>
                    <a:pt x="114300" y="1044575"/>
                  </a:lnTo>
                  <a:lnTo>
                    <a:pt x="111125" y="1047750"/>
                  </a:lnTo>
                  <a:lnTo>
                    <a:pt x="101600" y="1041400"/>
                  </a:lnTo>
                  <a:lnTo>
                    <a:pt x="98425" y="1038225"/>
                  </a:lnTo>
                  <a:lnTo>
                    <a:pt x="101600" y="1038225"/>
                  </a:lnTo>
                  <a:close/>
                  <a:moveTo>
                    <a:pt x="92075" y="1031875"/>
                  </a:moveTo>
                  <a:lnTo>
                    <a:pt x="98425" y="1035050"/>
                  </a:lnTo>
                  <a:lnTo>
                    <a:pt x="88900" y="1038225"/>
                  </a:lnTo>
                  <a:close/>
                  <a:moveTo>
                    <a:pt x="85725" y="1000125"/>
                  </a:moveTo>
                  <a:lnTo>
                    <a:pt x="92075" y="1003300"/>
                  </a:lnTo>
                  <a:lnTo>
                    <a:pt x="98425" y="1012825"/>
                  </a:lnTo>
                  <a:lnTo>
                    <a:pt x="88900" y="1012825"/>
                  </a:lnTo>
                  <a:lnTo>
                    <a:pt x="85725" y="1009650"/>
                  </a:lnTo>
                  <a:close/>
                  <a:moveTo>
                    <a:pt x="76200" y="996950"/>
                  </a:moveTo>
                  <a:lnTo>
                    <a:pt x="82550" y="996950"/>
                  </a:lnTo>
                  <a:lnTo>
                    <a:pt x="85725" y="1000125"/>
                  </a:lnTo>
                  <a:lnTo>
                    <a:pt x="79375" y="1012825"/>
                  </a:lnTo>
                  <a:lnTo>
                    <a:pt x="73025" y="1006475"/>
                  </a:lnTo>
                  <a:lnTo>
                    <a:pt x="73025" y="1000125"/>
                  </a:lnTo>
                  <a:close/>
                  <a:moveTo>
                    <a:pt x="111125" y="987425"/>
                  </a:moveTo>
                  <a:lnTo>
                    <a:pt x="111125" y="996950"/>
                  </a:lnTo>
                  <a:lnTo>
                    <a:pt x="114300" y="1003300"/>
                  </a:lnTo>
                  <a:lnTo>
                    <a:pt x="107950" y="1009650"/>
                  </a:lnTo>
                  <a:lnTo>
                    <a:pt x="104775" y="1006475"/>
                  </a:lnTo>
                  <a:lnTo>
                    <a:pt x="101600" y="1000125"/>
                  </a:lnTo>
                  <a:lnTo>
                    <a:pt x="104775" y="993775"/>
                  </a:lnTo>
                  <a:close/>
                  <a:moveTo>
                    <a:pt x="57150" y="981075"/>
                  </a:moveTo>
                  <a:lnTo>
                    <a:pt x="73025" y="993775"/>
                  </a:lnTo>
                  <a:lnTo>
                    <a:pt x="66675" y="1003300"/>
                  </a:lnTo>
                  <a:lnTo>
                    <a:pt x="60325" y="1006475"/>
                  </a:lnTo>
                  <a:lnTo>
                    <a:pt x="57150" y="1003300"/>
                  </a:lnTo>
                  <a:lnTo>
                    <a:pt x="63500" y="996950"/>
                  </a:lnTo>
                  <a:lnTo>
                    <a:pt x="53975" y="996950"/>
                  </a:lnTo>
                  <a:lnTo>
                    <a:pt x="53975" y="1003300"/>
                  </a:lnTo>
                  <a:lnTo>
                    <a:pt x="44450" y="987425"/>
                  </a:lnTo>
                  <a:close/>
                  <a:moveTo>
                    <a:pt x="19050" y="955675"/>
                  </a:moveTo>
                  <a:lnTo>
                    <a:pt x="31750" y="965200"/>
                  </a:lnTo>
                  <a:lnTo>
                    <a:pt x="41275" y="968375"/>
                  </a:lnTo>
                  <a:lnTo>
                    <a:pt x="47625" y="971550"/>
                  </a:lnTo>
                  <a:lnTo>
                    <a:pt x="53975" y="977900"/>
                  </a:lnTo>
                  <a:lnTo>
                    <a:pt x="44450" y="977900"/>
                  </a:lnTo>
                  <a:lnTo>
                    <a:pt x="28575" y="968375"/>
                  </a:lnTo>
                  <a:lnTo>
                    <a:pt x="22225" y="962025"/>
                  </a:lnTo>
                  <a:close/>
                  <a:moveTo>
                    <a:pt x="130175" y="952500"/>
                  </a:moveTo>
                  <a:lnTo>
                    <a:pt x="149225" y="952500"/>
                  </a:lnTo>
                  <a:lnTo>
                    <a:pt x="149225" y="1031875"/>
                  </a:lnTo>
                  <a:lnTo>
                    <a:pt x="149225" y="1035050"/>
                  </a:lnTo>
                  <a:lnTo>
                    <a:pt x="139700" y="1038225"/>
                  </a:lnTo>
                  <a:lnTo>
                    <a:pt x="127000" y="1028700"/>
                  </a:lnTo>
                  <a:lnTo>
                    <a:pt x="104775" y="1028700"/>
                  </a:lnTo>
                  <a:lnTo>
                    <a:pt x="98425" y="1028700"/>
                  </a:lnTo>
                  <a:lnTo>
                    <a:pt x="92075" y="1022350"/>
                  </a:lnTo>
                  <a:lnTo>
                    <a:pt x="85725" y="1022350"/>
                  </a:lnTo>
                  <a:lnTo>
                    <a:pt x="82550" y="1016000"/>
                  </a:lnTo>
                  <a:lnTo>
                    <a:pt x="133350" y="1016000"/>
                  </a:lnTo>
                  <a:lnTo>
                    <a:pt x="133350" y="1022350"/>
                  </a:lnTo>
                  <a:lnTo>
                    <a:pt x="139700" y="1022350"/>
                  </a:lnTo>
                  <a:lnTo>
                    <a:pt x="139700" y="1016000"/>
                  </a:lnTo>
                  <a:lnTo>
                    <a:pt x="127000" y="1009650"/>
                  </a:lnTo>
                  <a:lnTo>
                    <a:pt x="117475" y="1003300"/>
                  </a:lnTo>
                  <a:lnTo>
                    <a:pt x="117475" y="993775"/>
                  </a:lnTo>
                  <a:lnTo>
                    <a:pt x="120650" y="990600"/>
                  </a:lnTo>
                  <a:lnTo>
                    <a:pt x="133350" y="984250"/>
                  </a:lnTo>
                  <a:lnTo>
                    <a:pt x="133350" y="977900"/>
                  </a:lnTo>
                  <a:lnTo>
                    <a:pt x="120650" y="977900"/>
                  </a:lnTo>
                  <a:lnTo>
                    <a:pt x="114300" y="984250"/>
                  </a:lnTo>
                  <a:lnTo>
                    <a:pt x="111125" y="977900"/>
                  </a:lnTo>
                  <a:lnTo>
                    <a:pt x="111125" y="968375"/>
                  </a:lnTo>
                  <a:lnTo>
                    <a:pt x="120650" y="962025"/>
                  </a:lnTo>
                  <a:close/>
                  <a:moveTo>
                    <a:pt x="15875" y="917575"/>
                  </a:moveTo>
                  <a:lnTo>
                    <a:pt x="15875" y="930275"/>
                  </a:lnTo>
                  <a:lnTo>
                    <a:pt x="12700" y="933450"/>
                  </a:lnTo>
                  <a:lnTo>
                    <a:pt x="12700" y="920750"/>
                  </a:lnTo>
                  <a:close/>
                  <a:moveTo>
                    <a:pt x="15875" y="901700"/>
                  </a:moveTo>
                  <a:lnTo>
                    <a:pt x="22225" y="904875"/>
                  </a:lnTo>
                  <a:lnTo>
                    <a:pt x="12700" y="911225"/>
                  </a:lnTo>
                  <a:close/>
                  <a:moveTo>
                    <a:pt x="19050" y="885825"/>
                  </a:moveTo>
                  <a:lnTo>
                    <a:pt x="25400" y="892175"/>
                  </a:lnTo>
                  <a:lnTo>
                    <a:pt x="25400" y="898525"/>
                  </a:lnTo>
                  <a:lnTo>
                    <a:pt x="15875" y="898525"/>
                  </a:lnTo>
                  <a:close/>
                  <a:moveTo>
                    <a:pt x="3175" y="879475"/>
                  </a:moveTo>
                  <a:lnTo>
                    <a:pt x="9525" y="879475"/>
                  </a:lnTo>
                  <a:lnTo>
                    <a:pt x="6350" y="889000"/>
                  </a:lnTo>
                  <a:lnTo>
                    <a:pt x="3175" y="885825"/>
                  </a:lnTo>
                  <a:close/>
                  <a:moveTo>
                    <a:pt x="22225" y="876300"/>
                  </a:moveTo>
                  <a:lnTo>
                    <a:pt x="28575" y="885825"/>
                  </a:lnTo>
                  <a:lnTo>
                    <a:pt x="28575" y="892175"/>
                  </a:lnTo>
                  <a:lnTo>
                    <a:pt x="22225" y="885825"/>
                  </a:lnTo>
                  <a:close/>
                  <a:moveTo>
                    <a:pt x="3175" y="863600"/>
                  </a:moveTo>
                  <a:lnTo>
                    <a:pt x="9525" y="863600"/>
                  </a:lnTo>
                  <a:lnTo>
                    <a:pt x="15875" y="866775"/>
                  </a:lnTo>
                  <a:lnTo>
                    <a:pt x="9525" y="873125"/>
                  </a:lnTo>
                  <a:lnTo>
                    <a:pt x="3175" y="873125"/>
                  </a:lnTo>
                  <a:lnTo>
                    <a:pt x="3175" y="866775"/>
                  </a:lnTo>
                  <a:close/>
                  <a:moveTo>
                    <a:pt x="3175" y="850900"/>
                  </a:moveTo>
                  <a:lnTo>
                    <a:pt x="9525" y="857250"/>
                  </a:lnTo>
                  <a:lnTo>
                    <a:pt x="6350" y="857250"/>
                  </a:lnTo>
                  <a:lnTo>
                    <a:pt x="0" y="854075"/>
                  </a:lnTo>
                  <a:close/>
                  <a:moveTo>
                    <a:pt x="19050" y="819150"/>
                  </a:moveTo>
                  <a:lnTo>
                    <a:pt x="22225" y="835025"/>
                  </a:lnTo>
                  <a:lnTo>
                    <a:pt x="25400" y="847725"/>
                  </a:lnTo>
                  <a:lnTo>
                    <a:pt x="19050" y="863600"/>
                  </a:lnTo>
                  <a:lnTo>
                    <a:pt x="12700" y="854075"/>
                  </a:lnTo>
                  <a:lnTo>
                    <a:pt x="6350" y="847725"/>
                  </a:lnTo>
                  <a:lnTo>
                    <a:pt x="12700" y="831850"/>
                  </a:lnTo>
                  <a:close/>
                  <a:moveTo>
                    <a:pt x="19050" y="800100"/>
                  </a:moveTo>
                  <a:lnTo>
                    <a:pt x="22225" y="812800"/>
                  </a:lnTo>
                  <a:lnTo>
                    <a:pt x="22225" y="815975"/>
                  </a:lnTo>
                  <a:lnTo>
                    <a:pt x="12700" y="812800"/>
                  </a:lnTo>
                  <a:close/>
                  <a:moveTo>
                    <a:pt x="0" y="796925"/>
                  </a:moveTo>
                  <a:lnTo>
                    <a:pt x="6350" y="796925"/>
                  </a:lnTo>
                  <a:lnTo>
                    <a:pt x="9525" y="812800"/>
                  </a:lnTo>
                  <a:lnTo>
                    <a:pt x="6350" y="819150"/>
                  </a:lnTo>
                  <a:lnTo>
                    <a:pt x="3175" y="812800"/>
                  </a:lnTo>
                  <a:lnTo>
                    <a:pt x="0" y="806450"/>
                  </a:lnTo>
                  <a:close/>
                  <a:moveTo>
                    <a:pt x="15875" y="790575"/>
                  </a:moveTo>
                  <a:lnTo>
                    <a:pt x="12700" y="796925"/>
                  </a:lnTo>
                  <a:lnTo>
                    <a:pt x="6350" y="796925"/>
                  </a:lnTo>
                  <a:lnTo>
                    <a:pt x="9525" y="793750"/>
                  </a:lnTo>
                  <a:close/>
                  <a:moveTo>
                    <a:pt x="9525" y="727075"/>
                  </a:moveTo>
                  <a:lnTo>
                    <a:pt x="15875" y="727075"/>
                  </a:lnTo>
                  <a:lnTo>
                    <a:pt x="15875" y="733425"/>
                  </a:lnTo>
                  <a:lnTo>
                    <a:pt x="9525" y="736600"/>
                  </a:lnTo>
                  <a:close/>
                  <a:moveTo>
                    <a:pt x="34925" y="701675"/>
                  </a:moveTo>
                  <a:lnTo>
                    <a:pt x="41275" y="704850"/>
                  </a:lnTo>
                  <a:lnTo>
                    <a:pt x="38100" y="711200"/>
                  </a:lnTo>
                  <a:lnTo>
                    <a:pt x="28575" y="708025"/>
                  </a:lnTo>
                  <a:close/>
                  <a:moveTo>
                    <a:pt x="25400" y="692150"/>
                  </a:moveTo>
                  <a:lnTo>
                    <a:pt x="34925" y="692150"/>
                  </a:lnTo>
                  <a:lnTo>
                    <a:pt x="28575" y="698500"/>
                  </a:lnTo>
                  <a:close/>
                  <a:moveTo>
                    <a:pt x="34925" y="609600"/>
                  </a:moveTo>
                  <a:lnTo>
                    <a:pt x="44450" y="609600"/>
                  </a:lnTo>
                  <a:lnTo>
                    <a:pt x="47625" y="619125"/>
                  </a:lnTo>
                  <a:lnTo>
                    <a:pt x="44450" y="622300"/>
                  </a:lnTo>
                  <a:lnTo>
                    <a:pt x="38100" y="628650"/>
                  </a:lnTo>
                  <a:lnTo>
                    <a:pt x="44450" y="638175"/>
                  </a:lnTo>
                  <a:lnTo>
                    <a:pt x="44450" y="644525"/>
                  </a:lnTo>
                  <a:lnTo>
                    <a:pt x="44450" y="650875"/>
                  </a:lnTo>
                  <a:lnTo>
                    <a:pt x="34925" y="654050"/>
                  </a:lnTo>
                  <a:lnTo>
                    <a:pt x="28575" y="650875"/>
                  </a:lnTo>
                  <a:lnTo>
                    <a:pt x="28575" y="644525"/>
                  </a:lnTo>
                  <a:lnTo>
                    <a:pt x="31750" y="622300"/>
                  </a:lnTo>
                  <a:close/>
                  <a:moveTo>
                    <a:pt x="130175" y="0"/>
                  </a:moveTo>
                  <a:lnTo>
                    <a:pt x="133350" y="6350"/>
                  </a:lnTo>
                  <a:lnTo>
                    <a:pt x="139700" y="12700"/>
                  </a:lnTo>
                  <a:lnTo>
                    <a:pt x="142875" y="25400"/>
                  </a:lnTo>
                  <a:lnTo>
                    <a:pt x="146050" y="38100"/>
                  </a:lnTo>
                  <a:lnTo>
                    <a:pt x="152400" y="44450"/>
                  </a:lnTo>
                  <a:lnTo>
                    <a:pt x="149225" y="50800"/>
                  </a:lnTo>
                  <a:lnTo>
                    <a:pt x="152400" y="53975"/>
                  </a:lnTo>
                  <a:lnTo>
                    <a:pt x="149225" y="60325"/>
                  </a:lnTo>
                  <a:lnTo>
                    <a:pt x="146050" y="66675"/>
                  </a:lnTo>
                  <a:lnTo>
                    <a:pt x="152400" y="76200"/>
                  </a:lnTo>
                  <a:lnTo>
                    <a:pt x="158750" y="88900"/>
                  </a:lnTo>
                  <a:lnTo>
                    <a:pt x="161925" y="101600"/>
                  </a:lnTo>
                  <a:lnTo>
                    <a:pt x="165100" y="104775"/>
                  </a:lnTo>
                  <a:lnTo>
                    <a:pt x="168275" y="114300"/>
                  </a:lnTo>
                  <a:lnTo>
                    <a:pt x="168275" y="123825"/>
                  </a:lnTo>
                  <a:lnTo>
                    <a:pt x="180975" y="120650"/>
                  </a:lnTo>
                  <a:lnTo>
                    <a:pt x="180975" y="133350"/>
                  </a:lnTo>
                  <a:lnTo>
                    <a:pt x="180975" y="139700"/>
                  </a:lnTo>
                  <a:lnTo>
                    <a:pt x="177800" y="149225"/>
                  </a:lnTo>
                  <a:lnTo>
                    <a:pt x="171450" y="152400"/>
                  </a:lnTo>
                  <a:lnTo>
                    <a:pt x="158750" y="158750"/>
                  </a:lnTo>
                  <a:lnTo>
                    <a:pt x="152400" y="180975"/>
                  </a:lnTo>
                  <a:lnTo>
                    <a:pt x="152400" y="196850"/>
                  </a:lnTo>
                  <a:lnTo>
                    <a:pt x="155575" y="209550"/>
                  </a:lnTo>
                  <a:lnTo>
                    <a:pt x="155575" y="222250"/>
                  </a:lnTo>
                  <a:lnTo>
                    <a:pt x="149225" y="222250"/>
                  </a:lnTo>
                  <a:lnTo>
                    <a:pt x="146050" y="225425"/>
                  </a:lnTo>
                  <a:lnTo>
                    <a:pt x="139700" y="234950"/>
                  </a:lnTo>
                  <a:lnTo>
                    <a:pt x="133350" y="247650"/>
                  </a:lnTo>
                  <a:lnTo>
                    <a:pt x="130175" y="254000"/>
                  </a:lnTo>
                  <a:lnTo>
                    <a:pt x="127000" y="257175"/>
                  </a:lnTo>
                  <a:lnTo>
                    <a:pt x="120650" y="273050"/>
                  </a:lnTo>
                  <a:lnTo>
                    <a:pt x="120650" y="285750"/>
                  </a:lnTo>
                  <a:lnTo>
                    <a:pt x="123825" y="292100"/>
                  </a:lnTo>
                  <a:lnTo>
                    <a:pt x="123825" y="298450"/>
                  </a:lnTo>
                  <a:lnTo>
                    <a:pt x="117475" y="304800"/>
                  </a:lnTo>
                  <a:lnTo>
                    <a:pt x="114300" y="307975"/>
                  </a:lnTo>
                  <a:lnTo>
                    <a:pt x="107950" y="323850"/>
                  </a:lnTo>
                  <a:lnTo>
                    <a:pt x="107950" y="333375"/>
                  </a:lnTo>
                  <a:lnTo>
                    <a:pt x="111125" y="339725"/>
                  </a:lnTo>
                  <a:lnTo>
                    <a:pt x="114300" y="352425"/>
                  </a:lnTo>
                  <a:lnTo>
                    <a:pt x="117475" y="358775"/>
                  </a:lnTo>
                  <a:lnTo>
                    <a:pt x="117475" y="368300"/>
                  </a:lnTo>
                  <a:lnTo>
                    <a:pt x="120650" y="384175"/>
                  </a:lnTo>
                  <a:lnTo>
                    <a:pt x="123825" y="400050"/>
                  </a:lnTo>
                  <a:lnTo>
                    <a:pt x="120650" y="403225"/>
                  </a:lnTo>
                  <a:lnTo>
                    <a:pt x="111125" y="422275"/>
                  </a:lnTo>
                  <a:lnTo>
                    <a:pt x="107950" y="425450"/>
                  </a:lnTo>
                  <a:lnTo>
                    <a:pt x="111125" y="431800"/>
                  </a:lnTo>
                  <a:lnTo>
                    <a:pt x="111125" y="447675"/>
                  </a:lnTo>
                  <a:lnTo>
                    <a:pt x="107950" y="450850"/>
                  </a:lnTo>
                  <a:lnTo>
                    <a:pt x="101600" y="457200"/>
                  </a:lnTo>
                  <a:lnTo>
                    <a:pt x="95250" y="469900"/>
                  </a:lnTo>
                  <a:lnTo>
                    <a:pt x="95250" y="488950"/>
                  </a:lnTo>
                  <a:lnTo>
                    <a:pt x="98425" y="504825"/>
                  </a:lnTo>
                  <a:lnTo>
                    <a:pt x="101600" y="514350"/>
                  </a:lnTo>
                  <a:lnTo>
                    <a:pt x="98425" y="520700"/>
                  </a:lnTo>
                  <a:lnTo>
                    <a:pt x="88900" y="527050"/>
                  </a:lnTo>
                  <a:lnTo>
                    <a:pt x="88900" y="539750"/>
                  </a:lnTo>
                  <a:lnTo>
                    <a:pt x="85725" y="546100"/>
                  </a:lnTo>
                  <a:lnTo>
                    <a:pt x="82550" y="546100"/>
                  </a:lnTo>
                  <a:lnTo>
                    <a:pt x="85725" y="552450"/>
                  </a:lnTo>
                  <a:lnTo>
                    <a:pt x="82550" y="565150"/>
                  </a:lnTo>
                  <a:lnTo>
                    <a:pt x="79375" y="577850"/>
                  </a:lnTo>
                  <a:lnTo>
                    <a:pt x="79375" y="584200"/>
                  </a:lnTo>
                  <a:lnTo>
                    <a:pt x="79375" y="593725"/>
                  </a:lnTo>
                  <a:lnTo>
                    <a:pt x="79375" y="603250"/>
                  </a:lnTo>
                  <a:lnTo>
                    <a:pt x="82550" y="609600"/>
                  </a:lnTo>
                  <a:lnTo>
                    <a:pt x="79375" y="619125"/>
                  </a:lnTo>
                  <a:lnTo>
                    <a:pt x="76200" y="619125"/>
                  </a:lnTo>
                  <a:lnTo>
                    <a:pt x="76200" y="622300"/>
                  </a:lnTo>
                  <a:lnTo>
                    <a:pt x="73025" y="638175"/>
                  </a:lnTo>
                  <a:lnTo>
                    <a:pt x="76200" y="644525"/>
                  </a:lnTo>
                  <a:lnTo>
                    <a:pt x="79375" y="650875"/>
                  </a:lnTo>
                  <a:lnTo>
                    <a:pt x="82550" y="660400"/>
                  </a:lnTo>
                  <a:lnTo>
                    <a:pt x="82550" y="666750"/>
                  </a:lnTo>
                  <a:lnTo>
                    <a:pt x="82550" y="673100"/>
                  </a:lnTo>
                  <a:lnTo>
                    <a:pt x="82550" y="679450"/>
                  </a:lnTo>
                  <a:lnTo>
                    <a:pt x="82550" y="685800"/>
                  </a:lnTo>
                  <a:lnTo>
                    <a:pt x="85725" y="685800"/>
                  </a:lnTo>
                  <a:lnTo>
                    <a:pt x="95250" y="688975"/>
                  </a:lnTo>
                  <a:lnTo>
                    <a:pt x="92075" y="695325"/>
                  </a:lnTo>
                  <a:lnTo>
                    <a:pt x="76200" y="695325"/>
                  </a:lnTo>
                  <a:lnTo>
                    <a:pt x="82550" y="701675"/>
                  </a:lnTo>
                  <a:lnTo>
                    <a:pt x="85725" y="701675"/>
                  </a:lnTo>
                  <a:lnTo>
                    <a:pt x="92075" y="711200"/>
                  </a:lnTo>
                  <a:lnTo>
                    <a:pt x="88900" y="717550"/>
                  </a:lnTo>
                  <a:lnTo>
                    <a:pt x="85725" y="717550"/>
                  </a:lnTo>
                  <a:lnTo>
                    <a:pt x="82550" y="727075"/>
                  </a:lnTo>
                  <a:lnTo>
                    <a:pt x="82550" y="733425"/>
                  </a:lnTo>
                  <a:lnTo>
                    <a:pt x="82550" y="742950"/>
                  </a:lnTo>
                  <a:lnTo>
                    <a:pt x="85725" y="752475"/>
                  </a:lnTo>
                  <a:lnTo>
                    <a:pt x="82550" y="758825"/>
                  </a:lnTo>
                  <a:lnTo>
                    <a:pt x="79375" y="758825"/>
                  </a:lnTo>
                  <a:lnTo>
                    <a:pt x="76200" y="765175"/>
                  </a:lnTo>
                  <a:lnTo>
                    <a:pt x="76200" y="771525"/>
                  </a:lnTo>
                  <a:lnTo>
                    <a:pt x="76200" y="774700"/>
                  </a:lnTo>
                  <a:lnTo>
                    <a:pt x="69850" y="781050"/>
                  </a:lnTo>
                  <a:lnTo>
                    <a:pt x="66675" y="787400"/>
                  </a:lnTo>
                  <a:lnTo>
                    <a:pt x="69850" y="796925"/>
                  </a:lnTo>
                  <a:lnTo>
                    <a:pt x="69850" y="809625"/>
                  </a:lnTo>
                  <a:lnTo>
                    <a:pt x="63500" y="812800"/>
                  </a:lnTo>
                  <a:lnTo>
                    <a:pt x="63500" y="825500"/>
                  </a:lnTo>
                  <a:lnTo>
                    <a:pt x="57150" y="828675"/>
                  </a:lnTo>
                  <a:lnTo>
                    <a:pt x="53975" y="831850"/>
                  </a:lnTo>
                  <a:lnTo>
                    <a:pt x="44450" y="847725"/>
                  </a:lnTo>
                  <a:lnTo>
                    <a:pt x="44450" y="866775"/>
                  </a:lnTo>
                  <a:lnTo>
                    <a:pt x="50800" y="873125"/>
                  </a:lnTo>
                  <a:lnTo>
                    <a:pt x="50800" y="882650"/>
                  </a:lnTo>
                  <a:lnTo>
                    <a:pt x="57150" y="885825"/>
                  </a:lnTo>
                  <a:lnTo>
                    <a:pt x="63500" y="882650"/>
                  </a:lnTo>
                  <a:lnTo>
                    <a:pt x="69850" y="885825"/>
                  </a:lnTo>
                  <a:lnTo>
                    <a:pt x="73025" y="892175"/>
                  </a:lnTo>
                  <a:lnTo>
                    <a:pt x="73025" y="904875"/>
                  </a:lnTo>
                  <a:lnTo>
                    <a:pt x="69850" y="914400"/>
                  </a:lnTo>
                  <a:lnTo>
                    <a:pt x="79375" y="930275"/>
                  </a:lnTo>
                  <a:lnTo>
                    <a:pt x="98425" y="930275"/>
                  </a:lnTo>
                  <a:lnTo>
                    <a:pt x="120650" y="930275"/>
                  </a:lnTo>
                  <a:lnTo>
                    <a:pt x="127000" y="933450"/>
                  </a:lnTo>
                  <a:lnTo>
                    <a:pt x="136525" y="936625"/>
                  </a:lnTo>
                  <a:lnTo>
                    <a:pt x="146050" y="939800"/>
                  </a:lnTo>
                  <a:lnTo>
                    <a:pt x="155575" y="942975"/>
                  </a:lnTo>
                  <a:lnTo>
                    <a:pt x="139700" y="939800"/>
                  </a:lnTo>
                  <a:lnTo>
                    <a:pt x="130175" y="942975"/>
                  </a:lnTo>
                  <a:lnTo>
                    <a:pt x="123825" y="949325"/>
                  </a:lnTo>
                  <a:lnTo>
                    <a:pt x="114300" y="952500"/>
                  </a:lnTo>
                  <a:lnTo>
                    <a:pt x="107950" y="955675"/>
                  </a:lnTo>
                  <a:lnTo>
                    <a:pt x="101600" y="962025"/>
                  </a:lnTo>
                  <a:lnTo>
                    <a:pt x="98425" y="981075"/>
                  </a:lnTo>
                  <a:lnTo>
                    <a:pt x="98425" y="993775"/>
                  </a:lnTo>
                  <a:lnTo>
                    <a:pt x="76200" y="990600"/>
                  </a:lnTo>
                  <a:lnTo>
                    <a:pt x="69850" y="987425"/>
                  </a:lnTo>
                  <a:lnTo>
                    <a:pt x="66675" y="984250"/>
                  </a:lnTo>
                  <a:lnTo>
                    <a:pt x="53975" y="977900"/>
                  </a:lnTo>
                  <a:lnTo>
                    <a:pt x="47625" y="965200"/>
                  </a:lnTo>
                  <a:lnTo>
                    <a:pt x="44450" y="955675"/>
                  </a:lnTo>
                  <a:lnTo>
                    <a:pt x="44450" y="946150"/>
                  </a:lnTo>
                  <a:lnTo>
                    <a:pt x="50800" y="939800"/>
                  </a:lnTo>
                  <a:lnTo>
                    <a:pt x="47625" y="933450"/>
                  </a:lnTo>
                  <a:lnTo>
                    <a:pt x="44450" y="930275"/>
                  </a:lnTo>
                  <a:lnTo>
                    <a:pt x="41275" y="923925"/>
                  </a:lnTo>
                  <a:lnTo>
                    <a:pt x="41275" y="914400"/>
                  </a:lnTo>
                  <a:lnTo>
                    <a:pt x="41275" y="904875"/>
                  </a:lnTo>
                  <a:lnTo>
                    <a:pt x="28575" y="895350"/>
                  </a:lnTo>
                  <a:lnTo>
                    <a:pt x="38100" y="895350"/>
                  </a:lnTo>
                  <a:lnTo>
                    <a:pt x="31750" y="885825"/>
                  </a:lnTo>
                  <a:lnTo>
                    <a:pt x="31750" y="882650"/>
                  </a:lnTo>
                  <a:lnTo>
                    <a:pt x="31750" y="876300"/>
                  </a:lnTo>
                  <a:lnTo>
                    <a:pt x="25400" y="873125"/>
                  </a:lnTo>
                  <a:lnTo>
                    <a:pt x="28575" y="866775"/>
                  </a:lnTo>
                  <a:lnTo>
                    <a:pt x="34925" y="863600"/>
                  </a:lnTo>
                  <a:lnTo>
                    <a:pt x="31750" y="854075"/>
                  </a:lnTo>
                  <a:lnTo>
                    <a:pt x="34925" y="850900"/>
                  </a:lnTo>
                  <a:lnTo>
                    <a:pt x="28575" y="844550"/>
                  </a:lnTo>
                  <a:lnTo>
                    <a:pt x="25400" y="835025"/>
                  </a:lnTo>
                  <a:lnTo>
                    <a:pt x="25400" y="825500"/>
                  </a:lnTo>
                  <a:lnTo>
                    <a:pt x="25400" y="812800"/>
                  </a:lnTo>
                  <a:lnTo>
                    <a:pt x="25400" y="800100"/>
                  </a:lnTo>
                  <a:lnTo>
                    <a:pt x="31750" y="796925"/>
                  </a:lnTo>
                  <a:lnTo>
                    <a:pt x="41275" y="796925"/>
                  </a:lnTo>
                  <a:lnTo>
                    <a:pt x="44450" y="790575"/>
                  </a:lnTo>
                  <a:lnTo>
                    <a:pt x="31750" y="790575"/>
                  </a:lnTo>
                  <a:lnTo>
                    <a:pt x="22225" y="790575"/>
                  </a:lnTo>
                  <a:lnTo>
                    <a:pt x="19050" y="787400"/>
                  </a:lnTo>
                  <a:lnTo>
                    <a:pt x="22225" y="781050"/>
                  </a:lnTo>
                  <a:lnTo>
                    <a:pt x="25400" y="781050"/>
                  </a:lnTo>
                  <a:lnTo>
                    <a:pt x="31750" y="771525"/>
                  </a:lnTo>
                  <a:lnTo>
                    <a:pt x="31750" y="774700"/>
                  </a:lnTo>
                  <a:lnTo>
                    <a:pt x="34925" y="765175"/>
                  </a:lnTo>
                  <a:lnTo>
                    <a:pt x="25400" y="758825"/>
                  </a:lnTo>
                  <a:lnTo>
                    <a:pt x="15875" y="758825"/>
                  </a:lnTo>
                  <a:lnTo>
                    <a:pt x="3175" y="755650"/>
                  </a:lnTo>
                  <a:lnTo>
                    <a:pt x="3175" y="762000"/>
                  </a:lnTo>
                  <a:lnTo>
                    <a:pt x="0" y="762000"/>
                  </a:lnTo>
                  <a:lnTo>
                    <a:pt x="0" y="752475"/>
                  </a:lnTo>
                  <a:lnTo>
                    <a:pt x="6350" y="746125"/>
                  </a:lnTo>
                  <a:lnTo>
                    <a:pt x="12700" y="742950"/>
                  </a:lnTo>
                  <a:lnTo>
                    <a:pt x="19050" y="730250"/>
                  </a:lnTo>
                  <a:lnTo>
                    <a:pt x="25400" y="727075"/>
                  </a:lnTo>
                  <a:lnTo>
                    <a:pt x="31750" y="730250"/>
                  </a:lnTo>
                  <a:lnTo>
                    <a:pt x="38100" y="739775"/>
                  </a:lnTo>
                  <a:lnTo>
                    <a:pt x="41275" y="736600"/>
                  </a:lnTo>
                  <a:lnTo>
                    <a:pt x="41275" y="730250"/>
                  </a:lnTo>
                  <a:lnTo>
                    <a:pt x="44450" y="717550"/>
                  </a:lnTo>
                  <a:lnTo>
                    <a:pt x="50800" y="701675"/>
                  </a:lnTo>
                  <a:lnTo>
                    <a:pt x="57150" y="698500"/>
                  </a:lnTo>
                  <a:lnTo>
                    <a:pt x="63500" y="692150"/>
                  </a:lnTo>
                  <a:lnTo>
                    <a:pt x="60325" y="688975"/>
                  </a:lnTo>
                  <a:lnTo>
                    <a:pt x="57150" y="695325"/>
                  </a:lnTo>
                  <a:lnTo>
                    <a:pt x="47625" y="701675"/>
                  </a:lnTo>
                  <a:lnTo>
                    <a:pt x="44450" y="695325"/>
                  </a:lnTo>
                  <a:lnTo>
                    <a:pt x="47625" y="688975"/>
                  </a:lnTo>
                  <a:lnTo>
                    <a:pt x="57150" y="685800"/>
                  </a:lnTo>
                  <a:lnTo>
                    <a:pt x="50800" y="679450"/>
                  </a:lnTo>
                  <a:lnTo>
                    <a:pt x="50800" y="676275"/>
                  </a:lnTo>
                  <a:lnTo>
                    <a:pt x="57150" y="666750"/>
                  </a:lnTo>
                  <a:lnTo>
                    <a:pt x="57150" y="635000"/>
                  </a:lnTo>
                  <a:lnTo>
                    <a:pt x="60325" y="622300"/>
                  </a:lnTo>
                  <a:lnTo>
                    <a:pt x="60325" y="612775"/>
                  </a:lnTo>
                  <a:lnTo>
                    <a:pt x="63500" y="606425"/>
                  </a:lnTo>
                  <a:lnTo>
                    <a:pt x="57150" y="600075"/>
                  </a:lnTo>
                  <a:lnTo>
                    <a:pt x="53975" y="603250"/>
                  </a:lnTo>
                  <a:lnTo>
                    <a:pt x="53975" y="606425"/>
                  </a:lnTo>
                  <a:lnTo>
                    <a:pt x="44450" y="606425"/>
                  </a:lnTo>
                  <a:lnTo>
                    <a:pt x="41275" y="606425"/>
                  </a:lnTo>
                  <a:lnTo>
                    <a:pt x="41275" y="603250"/>
                  </a:lnTo>
                  <a:lnTo>
                    <a:pt x="34925" y="584200"/>
                  </a:lnTo>
                  <a:lnTo>
                    <a:pt x="38100" y="574675"/>
                  </a:lnTo>
                  <a:lnTo>
                    <a:pt x="41275" y="561975"/>
                  </a:lnTo>
                  <a:lnTo>
                    <a:pt x="44450" y="552450"/>
                  </a:lnTo>
                  <a:lnTo>
                    <a:pt x="47625" y="549275"/>
                  </a:lnTo>
                  <a:lnTo>
                    <a:pt x="50800" y="542925"/>
                  </a:lnTo>
                  <a:lnTo>
                    <a:pt x="50800" y="533400"/>
                  </a:lnTo>
                  <a:lnTo>
                    <a:pt x="50800" y="530225"/>
                  </a:lnTo>
                  <a:lnTo>
                    <a:pt x="44450" y="517525"/>
                  </a:lnTo>
                  <a:lnTo>
                    <a:pt x="44450" y="508000"/>
                  </a:lnTo>
                  <a:lnTo>
                    <a:pt x="41275" y="498475"/>
                  </a:lnTo>
                  <a:lnTo>
                    <a:pt x="41275" y="482600"/>
                  </a:lnTo>
                  <a:lnTo>
                    <a:pt x="44450" y="479425"/>
                  </a:lnTo>
                  <a:lnTo>
                    <a:pt x="47625" y="479425"/>
                  </a:lnTo>
                  <a:lnTo>
                    <a:pt x="50800" y="479425"/>
                  </a:lnTo>
                  <a:lnTo>
                    <a:pt x="53975" y="469900"/>
                  </a:lnTo>
                  <a:lnTo>
                    <a:pt x="53975" y="466725"/>
                  </a:lnTo>
                  <a:lnTo>
                    <a:pt x="57150" y="457200"/>
                  </a:lnTo>
                  <a:lnTo>
                    <a:pt x="60325" y="447675"/>
                  </a:lnTo>
                  <a:lnTo>
                    <a:pt x="63500" y="434975"/>
                  </a:lnTo>
                  <a:lnTo>
                    <a:pt x="73025" y="422275"/>
                  </a:lnTo>
                  <a:lnTo>
                    <a:pt x="76200" y="406400"/>
                  </a:lnTo>
                  <a:lnTo>
                    <a:pt x="76200" y="400050"/>
                  </a:lnTo>
                  <a:lnTo>
                    <a:pt x="79375" y="393700"/>
                  </a:lnTo>
                  <a:lnTo>
                    <a:pt x="85725" y="381000"/>
                  </a:lnTo>
                  <a:lnTo>
                    <a:pt x="82550" y="371475"/>
                  </a:lnTo>
                  <a:lnTo>
                    <a:pt x="88900" y="368300"/>
                  </a:lnTo>
                  <a:lnTo>
                    <a:pt x="85725" y="336550"/>
                  </a:lnTo>
                  <a:lnTo>
                    <a:pt x="85725" y="320675"/>
                  </a:lnTo>
                  <a:lnTo>
                    <a:pt x="82550" y="307975"/>
                  </a:lnTo>
                  <a:lnTo>
                    <a:pt x="85725" y="301625"/>
                  </a:lnTo>
                  <a:lnTo>
                    <a:pt x="92075" y="295275"/>
                  </a:lnTo>
                  <a:lnTo>
                    <a:pt x="92075" y="282575"/>
                  </a:lnTo>
                  <a:lnTo>
                    <a:pt x="88900" y="266700"/>
                  </a:lnTo>
                  <a:lnTo>
                    <a:pt x="88900" y="263525"/>
                  </a:lnTo>
                  <a:lnTo>
                    <a:pt x="95250" y="254000"/>
                  </a:lnTo>
                  <a:lnTo>
                    <a:pt x="98425" y="238125"/>
                  </a:lnTo>
                  <a:lnTo>
                    <a:pt x="101600" y="234950"/>
                  </a:lnTo>
                  <a:lnTo>
                    <a:pt x="101600" y="228600"/>
                  </a:lnTo>
                  <a:lnTo>
                    <a:pt x="101600" y="222250"/>
                  </a:lnTo>
                  <a:lnTo>
                    <a:pt x="104775" y="215900"/>
                  </a:lnTo>
                  <a:lnTo>
                    <a:pt x="107950" y="184150"/>
                  </a:lnTo>
                  <a:lnTo>
                    <a:pt x="107950" y="171450"/>
                  </a:lnTo>
                  <a:lnTo>
                    <a:pt x="107950" y="165100"/>
                  </a:lnTo>
                  <a:lnTo>
                    <a:pt x="107950" y="155575"/>
                  </a:lnTo>
                  <a:lnTo>
                    <a:pt x="111125" y="146050"/>
                  </a:lnTo>
                  <a:lnTo>
                    <a:pt x="111125" y="142875"/>
                  </a:lnTo>
                  <a:lnTo>
                    <a:pt x="111125" y="136525"/>
                  </a:lnTo>
                  <a:lnTo>
                    <a:pt x="111125" y="127000"/>
                  </a:lnTo>
                  <a:lnTo>
                    <a:pt x="114300" y="117475"/>
                  </a:lnTo>
                  <a:lnTo>
                    <a:pt x="117475" y="104775"/>
                  </a:lnTo>
                  <a:lnTo>
                    <a:pt x="117475" y="95250"/>
                  </a:lnTo>
                  <a:lnTo>
                    <a:pt x="120650" y="88900"/>
                  </a:lnTo>
                  <a:lnTo>
                    <a:pt x="117475" y="82550"/>
                  </a:lnTo>
                  <a:lnTo>
                    <a:pt x="117475" y="76200"/>
                  </a:lnTo>
                  <a:lnTo>
                    <a:pt x="117475" y="63500"/>
                  </a:lnTo>
                  <a:lnTo>
                    <a:pt x="117475" y="47625"/>
                  </a:lnTo>
                  <a:lnTo>
                    <a:pt x="114300" y="41275"/>
                  </a:lnTo>
                  <a:lnTo>
                    <a:pt x="114300" y="34925"/>
                  </a:lnTo>
                  <a:lnTo>
                    <a:pt x="114300" y="28575"/>
                  </a:lnTo>
                  <a:lnTo>
                    <a:pt x="114300" y="25400"/>
                  </a:lnTo>
                  <a:lnTo>
                    <a:pt x="111125" y="19050"/>
                  </a:lnTo>
                  <a:lnTo>
                    <a:pt x="123825" y="12700"/>
                  </a:lnTo>
                  <a:lnTo>
                    <a:pt x="127000" y="6350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7" name="Google Shape;688;p35">
              <a:extLst>
                <a:ext uri="{FF2B5EF4-FFF2-40B4-BE49-F238E27FC236}">
                  <a16:creationId xmlns:a16="http://schemas.microsoft.com/office/drawing/2014/main" id="{CC58AAFA-B21C-73E2-EBEB-4131237AC6EA}"/>
                </a:ext>
              </a:extLst>
            </p:cNvPr>
            <p:cNvSpPr/>
            <p:nvPr/>
          </p:nvSpPr>
          <p:spPr>
            <a:xfrm>
              <a:off x="6299915" y="4284425"/>
              <a:ext cx="325755" cy="253860"/>
            </a:xfrm>
            <a:custGeom>
              <a:avLst/>
              <a:gdLst/>
              <a:ahLst/>
              <a:cxnLst/>
              <a:rect l="l" t="t" r="r" b="b"/>
              <a:pathLst>
                <a:path w="325755" h="253860" extrusionOk="0">
                  <a:moveTo>
                    <a:pt x="62865" y="0"/>
                  </a:moveTo>
                  <a:lnTo>
                    <a:pt x="140018" y="0"/>
                  </a:lnTo>
                  <a:lnTo>
                    <a:pt x="222885" y="0"/>
                  </a:lnTo>
                  <a:lnTo>
                    <a:pt x="240030" y="0"/>
                  </a:lnTo>
                  <a:lnTo>
                    <a:pt x="294323" y="0"/>
                  </a:lnTo>
                  <a:lnTo>
                    <a:pt x="297180" y="14288"/>
                  </a:lnTo>
                  <a:lnTo>
                    <a:pt x="300038" y="31433"/>
                  </a:lnTo>
                  <a:lnTo>
                    <a:pt x="300038" y="42863"/>
                  </a:lnTo>
                  <a:lnTo>
                    <a:pt x="302895" y="62865"/>
                  </a:lnTo>
                  <a:lnTo>
                    <a:pt x="305753" y="68580"/>
                  </a:lnTo>
                  <a:lnTo>
                    <a:pt x="311468" y="68580"/>
                  </a:lnTo>
                  <a:lnTo>
                    <a:pt x="311468" y="71438"/>
                  </a:lnTo>
                  <a:lnTo>
                    <a:pt x="314325" y="71438"/>
                  </a:lnTo>
                  <a:lnTo>
                    <a:pt x="317183" y="74295"/>
                  </a:lnTo>
                  <a:lnTo>
                    <a:pt x="317183" y="77153"/>
                  </a:lnTo>
                  <a:lnTo>
                    <a:pt x="325755" y="82868"/>
                  </a:lnTo>
                  <a:lnTo>
                    <a:pt x="317183" y="94298"/>
                  </a:lnTo>
                  <a:lnTo>
                    <a:pt x="311468" y="94298"/>
                  </a:lnTo>
                  <a:lnTo>
                    <a:pt x="305753" y="97155"/>
                  </a:lnTo>
                  <a:lnTo>
                    <a:pt x="302895" y="102870"/>
                  </a:lnTo>
                  <a:lnTo>
                    <a:pt x="297180" y="102870"/>
                  </a:lnTo>
                  <a:lnTo>
                    <a:pt x="294323" y="105728"/>
                  </a:lnTo>
                  <a:lnTo>
                    <a:pt x="294323" y="114300"/>
                  </a:lnTo>
                  <a:lnTo>
                    <a:pt x="294323" y="120015"/>
                  </a:lnTo>
                  <a:lnTo>
                    <a:pt x="288608" y="131445"/>
                  </a:lnTo>
                  <a:lnTo>
                    <a:pt x="285750" y="140018"/>
                  </a:lnTo>
                  <a:lnTo>
                    <a:pt x="285750" y="160020"/>
                  </a:lnTo>
                  <a:lnTo>
                    <a:pt x="280035" y="188595"/>
                  </a:lnTo>
                  <a:lnTo>
                    <a:pt x="271463" y="191452"/>
                  </a:lnTo>
                  <a:lnTo>
                    <a:pt x="262890" y="200025"/>
                  </a:lnTo>
                  <a:lnTo>
                    <a:pt x="260033" y="208597"/>
                  </a:lnTo>
                  <a:lnTo>
                    <a:pt x="257175" y="220027"/>
                  </a:lnTo>
                  <a:lnTo>
                    <a:pt x="254318" y="228600"/>
                  </a:lnTo>
                  <a:lnTo>
                    <a:pt x="248603" y="225742"/>
                  </a:lnTo>
                  <a:lnTo>
                    <a:pt x="242888" y="231457"/>
                  </a:lnTo>
                  <a:lnTo>
                    <a:pt x="241478" y="237097"/>
                  </a:lnTo>
                  <a:lnTo>
                    <a:pt x="228100" y="222098"/>
                  </a:lnTo>
                  <a:lnTo>
                    <a:pt x="225525" y="205359"/>
                  </a:lnTo>
                  <a:lnTo>
                    <a:pt x="228958" y="194629"/>
                  </a:lnTo>
                  <a:lnTo>
                    <a:pt x="216940" y="193770"/>
                  </a:lnTo>
                  <a:lnTo>
                    <a:pt x="217370" y="199350"/>
                  </a:lnTo>
                  <a:lnTo>
                    <a:pt x="204064" y="199779"/>
                  </a:lnTo>
                  <a:lnTo>
                    <a:pt x="209644" y="205359"/>
                  </a:lnTo>
                  <a:lnTo>
                    <a:pt x="209644" y="216948"/>
                  </a:lnTo>
                  <a:lnTo>
                    <a:pt x="212219" y="218235"/>
                  </a:lnTo>
                  <a:lnTo>
                    <a:pt x="202776" y="225961"/>
                  </a:lnTo>
                  <a:lnTo>
                    <a:pt x="201489" y="229395"/>
                  </a:lnTo>
                  <a:lnTo>
                    <a:pt x="188183" y="244417"/>
                  </a:lnTo>
                  <a:lnTo>
                    <a:pt x="179170" y="246563"/>
                  </a:lnTo>
                  <a:lnTo>
                    <a:pt x="161143" y="233258"/>
                  </a:lnTo>
                  <a:lnTo>
                    <a:pt x="152559" y="237979"/>
                  </a:lnTo>
                  <a:lnTo>
                    <a:pt x="152988" y="245275"/>
                  </a:lnTo>
                  <a:lnTo>
                    <a:pt x="144404" y="244846"/>
                  </a:lnTo>
                  <a:lnTo>
                    <a:pt x="136678" y="250426"/>
                  </a:lnTo>
                  <a:lnTo>
                    <a:pt x="137537" y="253860"/>
                  </a:lnTo>
                  <a:lnTo>
                    <a:pt x="122943" y="253860"/>
                  </a:lnTo>
                  <a:lnTo>
                    <a:pt x="119080" y="249138"/>
                  </a:lnTo>
                  <a:lnTo>
                    <a:pt x="106204" y="247422"/>
                  </a:lnTo>
                  <a:lnTo>
                    <a:pt x="95474" y="250426"/>
                  </a:lnTo>
                  <a:lnTo>
                    <a:pt x="90323" y="249568"/>
                  </a:lnTo>
                  <a:lnTo>
                    <a:pt x="86890" y="242700"/>
                  </a:lnTo>
                  <a:lnTo>
                    <a:pt x="80452" y="238837"/>
                  </a:lnTo>
                  <a:lnTo>
                    <a:pt x="79164" y="231970"/>
                  </a:lnTo>
                  <a:lnTo>
                    <a:pt x="77876" y="231970"/>
                  </a:lnTo>
                  <a:lnTo>
                    <a:pt x="71438" y="232399"/>
                  </a:lnTo>
                  <a:lnTo>
                    <a:pt x="64142" y="232828"/>
                  </a:lnTo>
                  <a:lnTo>
                    <a:pt x="62425" y="242271"/>
                  </a:lnTo>
                  <a:lnTo>
                    <a:pt x="58562" y="244846"/>
                  </a:lnTo>
                  <a:lnTo>
                    <a:pt x="49549" y="244417"/>
                  </a:lnTo>
                  <a:lnTo>
                    <a:pt x="39247" y="247422"/>
                  </a:lnTo>
                  <a:lnTo>
                    <a:pt x="37148" y="247499"/>
                  </a:lnTo>
                  <a:lnTo>
                    <a:pt x="37148" y="245745"/>
                  </a:lnTo>
                  <a:lnTo>
                    <a:pt x="28575" y="234315"/>
                  </a:lnTo>
                  <a:lnTo>
                    <a:pt x="20003" y="225742"/>
                  </a:lnTo>
                  <a:lnTo>
                    <a:pt x="20003" y="214312"/>
                  </a:lnTo>
                  <a:lnTo>
                    <a:pt x="14288" y="208597"/>
                  </a:lnTo>
                  <a:lnTo>
                    <a:pt x="14288" y="200025"/>
                  </a:lnTo>
                  <a:lnTo>
                    <a:pt x="11430" y="194310"/>
                  </a:lnTo>
                  <a:lnTo>
                    <a:pt x="5715" y="191452"/>
                  </a:lnTo>
                  <a:lnTo>
                    <a:pt x="2858" y="191452"/>
                  </a:lnTo>
                  <a:lnTo>
                    <a:pt x="0" y="188595"/>
                  </a:lnTo>
                  <a:lnTo>
                    <a:pt x="5715" y="180022"/>
                  </a:lnTo>
                  <a:lnTo>
                    <a:pt x="8573" y="174308"/>
                  </a:lnTo>
                  <a:lnTo>
                    <a:pt x="8573" y="162878"/>
                  </a:lnTo>
                  <a:lnTo>
                    <a:pt x="11430" y="151448"/>
                  </a:lnTo>
                  <a:lnTo>
                    <a:pt x="17145" y="145733"/>
                  </a:lnTo>
                  <a:lnTo>
                    <a:pt x="20003" y="142875"/>
                  </a:lnTo>
                  <a:lnTo>
                    <a:pt x="22860" y="134303"/>
                  </a:lnTo>
                  <a:lnTo>
                    <a:pt x="22860" y="131445"/>
                  </a:lnTo>
                  <a:lnTo>
                    <a:pt x="25718" y="128588"/>
                  </a:lnTo>
                  <a:lnTo>
                    <a:pt x="34290" y="128588"/>
                  </a:lnTo>
                  <a:lnTo>
                    <a:pt x="42863" y="131445"/>
                  </a:lnTo>
                  <a:lnTo>
                    <a:pt x="42863" y="51435"/>
                  </a:lnTo>
                  <a:lnTo>
                    <a:pt x="42863" y="42863"/>
                  </a:lnTo>
                  <a:lnTo>
                    <a:pt x="48578" y="42863"/>
                  </a:lnTo>
                  <a:lnTo>
                    <a:pt x="60008" y="42863"/>
                  </a:lnTo>
                  <a:lnTo>
                    <a:pt x="62865" y="42863"/>
                  </a:lnTo>
                  <a:lnTo>
                    <a:pt x="62865" y="40005"/>
                  </a:lnTo>
                  <a:close/>
                </a:path>
              </a:pathLst>
            </a:custGeom>
            <a:solidFill>
              <a:srgbClr val="E3E8EB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240" name="Google Shape;689;p35">
            <a:extLst>
              <a:ext uri="{FF2B5EF4-FFF2-40B4-BE49-F238E27FC236}">
                <a16:creationId xmlns:a16="http://schemas.microsoft.com/office/drawing/2014/main" id="{98B5E70B-5D90-B157-6E1B-F7C72D083F79}"/>
              </a:ext>
            </a:extLst>
          </p:cNvPr>
          <p:cNvCxnSpPr>
            <a:cxnSpLocks/>
            <a:stCxn id="40" idx="3"/>
          </p:cNvCxnSpPr>
          <p:nvPr/>
        </p:nvCxnSpPr>
        <p:spPr>
          <a:xfrm flipH="1">
            <a:off x="5378213" y="2576355"/>
            <a:ext cx="2141095" cy="1906584"/>
          </a:xfrm>
          <a:prstGeom prst="straightConnector1">
            <a:avLst/>
          </a:prstGeom>
          <a:noFill/>
          <a:ln w="9525" cap="rnd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41" name="Google Shape;690;p35">
            <a:extLst>
              <a:ext uri="{FF2B5EF4-FFF2-40B4-BE49-F238E27FC236}">
                <a16:creationId xmlns:a16="http://schemas.microsoft.com/office/drawing/2014/main" id="{5AE43AB3-B8DD-CB14-1FDE-C0DFE330038D}"/>
              </a:ext>
            </a:extLst>
          </p:cNvPr>
          <p:cNvCxnSpPr>
            <a:cxnSpLocks/>
          </p:cNvCxnSpPr>
          <p:nvPr/>
        </p:nvCxnSpPr>
        <p:spPr>
          <a:xfrm flipH="1">
            <a:off x="2333118" y="4482939"/>
            <a:ext cx="3686957" cy="0"/>
          </a:xfrm>
          <a:prstGeom prst="straightConnector1">
            <a:avLst/>
          </a:prstGeom>
          <a:noFill/>
          <a:ln w="9525" cap="rnd" cmpd="sng">
            <a:solidFill>
              <a:schemeClr val="lt1"/>
            </a:solidFill>
            <a:prstDash val="solid"/>
            <a:miter lim="800000"/>
            <a:headEnd type="triangle" w="med" len="med"/>
            <a:tailEnd type="none" w="med" len="med"/>
          </a:ln>
        </p:spPr>
      </p:cxnSp>
      <p:cxnSp>
        <p:nvCxnSpPr>
          <p:cNvPr id="242" name="Google Shape;692;p35">
            <a:extLst>
              <a:ext uri="{FF2B5EF4-FFF2-40B4-BE49-F238E27FC236}">
                <a16:creationId xmlns:a16="http://schemas.microsoft.com/office/drawing/2014/main" id="{E4B587C6-19E8-AF55-3C2E-6CA1365D6240}"/>
              </a:ext>
            </a:extLst>
          </p:cNvPr>
          <p:cNvCxnSpPr/>
          <p:nvPr/>
        </p:nvCxnSpPr>
        <p:spPr>
          <a:xfrm rot="10800000" flipH="1">
            <a:off x="8324319" y="1772112"/>
            <a:ext cx="1062400" cy="1280800"/>
          </a:xfrm>
          <a:prstGeom prst="straightConnector1">
            <a:avLst/>
          </a:prstGeom>
          <a:noFill/>
          <a:ln w="9525" cap="rnd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3" name="Google Shape;501;p35">
            <a:extLst>
              <a:ext uri="{FF2B5EF4-FFF2-40B4-BE49-F238E27FC236}">
                <a16:creationId xmlns:a16="http://schemas.microsoft.com/office/drawing/2014/main" id="{311328F3-D168-59A6-842C-53FFE26A0F81}"/>
              </a:ext>
            </a:extLst>
          </p:cNvPr>
          <p:cNvSpPr txBox="1"/>
          <p:nvPr/>
        </p:nvSpPr>
        <p:spPr>
          <a:xfrm>
            <a:off x="1085301" y="5628731"/>
            <a:ext cx="914400" cy="22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14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rray</a:t>
            </a:r>
            <a:endParaRPr sz="1467"/>
          </a:p>
        </p:txBody>
      </p:sp>
      <p:sp>
        <p:nvSpPr>
          <p:cNvPr id="244" name="Google Shape;502;p35">
            <a:extLst>
              <a:ext uri="{FF2B5EF4-FFF2-40B4-BE49-F238E27FC236}">
                <a16:creationId xmlns:a16="http://schemas.microsoft.com/office/drawing/2014/main" id="{20D74670-E1C1-FB93-EDD2-1B012089D68A}"/>
              </a:ext>
            </a:extLst>
          </p:cNvPr>
          <p:cNvSpPr txBox="1"/>
          <p:nvPr/>
        </p:nvSpPr>
        <p:spPr>
          <a:xfrm>
            <a:off x="1085301" y="3353580"/>
            <a:ext cx="914400" cy="22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" sz="1467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tacks</a:t>
            </a:r>
            <a:endParaRPr sz="1467"/>
          </a:p>
        </p:txBody>
      </p:sp>
      <p:pic>
        <p:nvPicPr>
          <p:cNvPr id="2" name="Grafik 1" descr="Ein Bild, das Elektronik enthält.&#10;&#10;Automatisch generierte Beschreibung">
            <a:extLst>
              <a:ext uri="{FF2B5EF4-FFF2-40B4-BE49-F238E27FC236}">
                <a16:creationId xmlns:a16="http://schemas.microsoft.com/office/drawing/2014/main" id="{B0FC7500-71D4-3F58-0F76-D2582382B63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549" y="4556652"/>
            <a:ext cx="2082503" cy="969027"/>
          </a:xfrm>
          <a:prstGeom prst="rect">
            <a:avLst/>
          </a:prstGeom>
        </p:spPr>
      </p:pic>
      <p:pic>
        <p:nvPicPr>
          <p:cNvPr id="3" name="Grafik 2" descr="Ein Bild, das Nachthimmel enthält.&#10;&#10;Automatisch generierte Beschreibung">
            <a:extLst>
              <a:ext uri="{FF2B5EF4-FFF2-40B4-BE49-F238E27FC236}">
                <a16:creationId xmlns:a16="http://schemas.microsoft.com/office/drawing/2014/main" id="{876BC65B-54E8-C2EF-7932-60B6981E3D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257" y="1581144"/>
            <a:ext cx="914400" cy="1478665"/>
          </a:xfrm>
          <a:prstGeom prst="rect">
            <a:avLst/>
          </a:prstGeom>
        </p:spPr>
      </p:pic>
      <p:pic>
        <p:nvPicPr>
          <p:cNvPr id="250" name="Grafik 249" descr="Ein Bild, das Nachthimmel enthält.&#10;&#10;Automatisch generierte Beschreibung">
            <a:extLst>
              <a:ext uri="{FF2B5EF4-FFF2-40B4-BE49-F238E27FC236}">
                <a16:creationId xmlns:a16="http://schemas.microsoft.com/office/drawing/2014/main" id="{EBBD4283-AEF0-41BF-3855-0648F4CE396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3869" y="1750044"/>
            <a:ext cx="914400" cy="1478665"/>
          </a:xfrm>
          <a:prstGeom prst="rect">
            <a:avLst/>
          </a:prstGeom>
        </p:spPr>
      </p:pic>
      <p:pic>
        <p:nvPicPr>
          <p:cNvPr id="251" name="Grafik 250" descr="Ein Bild, das Nachthimmel enthält.&#10;&#10;Automatisch generierte Beschreibung">
            <a:extLst>
              <a:ext uri="{FF2B5EF4-FFF2-40B4-BE49-F238E27FC236}">
                <a16:creationId xmlns:a16="http://schemas.microsoft.com/office/drawing/2014/main" id="{862488A1-04D5-559E-2598-7E5192C58D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999" y="1922458"/>
            <a:ext cx="914400" cy="1478665"/>
          </a:xfrm>
          <a:prstGeom prst="rect">
            <a:avLst/>
          </a:prstGeom>
        </p:spPr>
      </p:pic>
      <p:pic>
        <p:nvPicPr>
          <p:cNvPr id="252" name="Grafik 251" descr="Ein Bild, das Nachthimmel enthält.&#10;&#10;Automatisch generierte Beschreibung">
            <a:extLst>
              <a:ext uri="{FF2B5EF4-FFF2-40B4-BE49-F238E27FC236}">
                <a16:creationId xmlns:a16="http://schemas.microsoft.com/office/drawing/2014/main" id="{5E09557E-AB41-1502-210A-A3882F084F6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811" y="2095316"/>
            <a:ext cx="914400" cy="1478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247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34D2AFD-6476-4D9C-AE4C-2CB0B9783A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34D2AFD-6476-4D9C-AE4C-2CB0B9783A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F098DDE4-2C25-4CC7-B2C3-AC9DCDB964B1}"/>
              </a:ext>
            </a:extLst>
          </p:cNvPr>
          <p:cNvSpPr/>
          <p:nvPr/>
        </p:nvSpPr>
        <p:spPr>
          <a:xfrm>
            <a:off x="-5854" y="2263794"/>
            <a:ext cx="12192000" cy="391775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0B1159-C952-409F-9736-29C27FB12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</p:spPr>
        <p:txBody>
          <a:bodyPr vert="horz"/>
          <a:lstStyle/>
          <a:p>
            <a:r>
              <a:rPr lang="en-US"/>
              <a:t>Projects completed or in implementation based on Silyzer 300</a:t>
            </a:r>
            <a:br>
              <a:rPr lang="en-US"/>
            </a:br>
            <a:r>
              <a:rPr lang="en-US" b="0">
                <a:solidFill>
                  <a:srgbClr val="6ADDFF"/>
                </a:solidFill>
              </a:rPr>
              <a:t>Scale-up is already happening</a:t>
            </a:r>
            <a:br>
              <a:rPr lang="en-US" b="0"/>
            </a:br>
            <a:endParaRPr lang="en-US" b="0"/>
          </a:p>
        </p:txBody>
      </p: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7F40FC1D-C2C7-49C5-99EF-B5C02C761150}"/>
              </a:ext>
            </a:extLst>
          </p:cNvPr>
          <p:cNvCxnSpPr>
            <a:cxnSpLocks/>
          </p:cNvCxnSpPr>
          <p:nvPr/>
        </p:nvCxnSpPr>
        <p:spPr>
          <a:xfrm>
            <a:off x="3662417" y="2260652"/>
            <a:ext cx="8053333" cy="0"/>
          </a:xfrm>
          <a:prstGeom prst="straightConnector1">
            <a:avLst/>
          </a:prstGeom>
          <a:ln w="9525" cap="rnd">
            <a:gradFill>
              <a:gsLst>
                <a:gs pos="0">
                  <a:schemeClr val="tx1"/>
                </a:gs>
                <a:gs pos="100000">
                  <a:schemeClr val="tx1">
                    <a:alpha val="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>
            <a:extLst>
              <a:ext uri="{FF2B5EF4-FFF2-40B4-BE49-F238E27FC236}">
                <a16:creationId xmlns:a16="http://schemas.microsoft.com/office/drawing/2014/main" id="{64FD0710-9F2E-471E-8534-9A25A4D8D02C}"/>
              </a:ext>
            </a:extLst>
          </p:cNvPr>
          <p:cNvSpPr>
            <a:spLocks/>
          </p:cNvSpPr>
          <p:nvPr/>
        </p:nvSpPr>
        <p:spPr>
          <a:xfrm>
            <a:off x="1652893" y="1807965"/>
            <a:ext cx="225893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6ADDFF"/>
                </a:solidFill>
                <a:latin typeface="Arial"/>
              </a:rPr>
              <a:t>8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5 MW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C89B4ED1-F7FA-4444-8F37-47D267742355}"/>
              </a:ext>
            </a:extLst>
          </p:cNvPr>
          <p:cNvSpPr>
            <a:spLocks/>
          </p:cNvSpPr>
          <p:nvPr/>
        </p:nvSpPr>
        <p:spPr>
          <a:xfrm>
            <a:off x="3300401" y="1807965"/>
            <a:ext cx="2243213" cy="281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6ADDFF"/>
                </a:solidFill>
                <a:latin typeface="Arial"/>
              </a:rPr>
              <a:t>17.5 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W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18CD0FBB-DE1C-4419-AD73-1358EBE35EA5}"/>
              </a:ext>
            </a:extLst>
          </p:cNvPr>
          <p:cNvSpPr>
            <a:spLocks/>
          </p:cNvSpPr>
          <p:nvPr/>
        </p:nvSpPr>
        <p:spPr>
          <a:xfrm>
            <a:off x="5286143" y="1807965"/>
            <a:ext cx="219497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 MW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FF8EC3A-E174-4CCB-8AE5-D40FB033E579}"/>
              </a:ext>
            </a:extLst>
          </p:cNvPr>
          <p:cNvCxnSpPr>
            <a:cxnSpLocks/>
          </p:cNvCxnSpPr>
          <p:nvPr/>
        </p:nvCxnSpPr>
        <p:spPr>
          <a:xfrm>
            <a:off x="377178" y="2260652"/>
            <a:ext cx="11579390" cy="0"/>
          </a:xfrm>
          <a:prstGeom prst="line">
            <a:avLst/>
          </a:prstGeom>
          <a:ln w="57150" cap="rnd">
            <a:solidFill>
              <a:srgbClr val="6ADDFF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6AC0558F-F75A-41DB-BC15-005E3F8D3B34}"/>
              </a:ext>
            </a:extLst>
          </p:cNvPr>
          <p:cNvCxnSpPr>
            <a:cxnSpLocks/>
          </p:cNvCxnSpPr>
          <p:nvPr/>
        </p:nvCxnSpPr>
        <p:spPr>
          <a:xfrm>
            <a:off x="1827921" y="2521565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FF175B1B-51D5-4416-9690-9A8973C1FE4D}"/>
              </a:ext>
            </a:extLst>
          </p:cNvPr>
          <p:cNvCxnSpPr>
            <a:cxnSpLocks/>
          </p:cNvCxnSpPr>
          <p:nvPr/>
        </p:nvCxnSpPr>
        <p:spPr>
          <a:xfrm>
            <a:off x="5433482" y="2537514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3" name="License statement">
            <a:extLst>
              <a:ext uri="{FF2B5EF4-FFF2-40B4-BE49-F238E27FC236}">
                <a16:creationId xmlns:a16="http://schemas.microsoft.com/office/drawing/2014/main" id="{592F69AF-0D86-4392-AD26-A070475A4BCD}"/>
              </a:ext>
            </a:extLst>
          </p:cNvPr>
          <p:cNvSpPr txBox="1"/>
          <p:nvPr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trademark licensed by Siemens AG.</a:t>
            </a:r>
          </a:p>
        </p:txBody>
      </p:sp>
      <p:cxnSp>
        <p:nvCxnSpPr>
          <p:cNvPr id="39" name="Gerader Verbinder 46">
            <a:extLst>
              <a:ext uri="{FF2B5EF4-FFF2-40B4-BE49-F238E27FC236}">
                <a16:creationId xmlns:a16="http://schemas.microsoft.com/office/drawing/2014/main" id="{27C891E8-8371-477A-856B-EACE830817D5}"/>
              </a:ext>
            </a:extLst>
          </p:cNvPr>
          <p:cNvCxnSpPr>
            <a:cxnSpLocks/>
          </p:cNvCxnSpPr>
          <p:nvPr/>
        </p:nvCxnSpPr>
        <p:spPr>
          <a:xfrm>
            <a:off x="8832297" y="2521565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3C347318-B053-489C-AB7F-6059701FAD6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89004" y="2537515"/>
            <a:ext cx="1497353" cy="906286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268ED234-094D-4C6A-9985-8DB6C0B4D06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81957" y="2537515"/>
            <a:ext cx="1497353" cy="906286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A77B9D04-F833-4B3A-911D-6A1D9D3EF2F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57"/>
          <a:stretch/>
        </p:blipFill>
        <p:spPr>
          <a:xfrm>
            <a:off x="5574910" y="2537515"/>
            <a:ext cx="1488778" cy="906286"/>
          </a:xfrm>
          <a:prstGeom prst="rect">
            <a:avLst/>
          </a:prstGeom>
        </p:spPr>
      </p:pic>
      <p:sp>
        <p:nvSpPr>
          <p:cNvPr id="49" name="Rechteck 59">
            <a:extLst>
              <a:ext uri="{FF2B5EF4-FFF2-40B4-BE49-F238E27FC236}">
                <a16:creationId xmlns:a16="http://schemas.microsoft.com/office/drawing/2014/main" id="{D0FBB730-5973-4C8B-B000-1A70CFE86AF3}"/>
              </a:ext>
            </a:extLst>
          </p:cNvPr>
          <p:cNvSpPr>
            <a:spLocks/>
          </p:cNvSpPr>
          <p:nvPr/>
        </p:nvSpPr>
        <p:spPr bwMode="gray">
          <a:xfrm>
            <a:off x="1941323" y="3588005"/>
            <a:ext cx="1534056" cy="170713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kumimoji="0" lang="en-AU" b="0" i="0" u="none" strike="noStrike" kern="0" cap="none" spc="0" normalizeH="0" baseline="0" noProof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Wunsiedel</a:t>
            </a:r>
            <a:endParaRPr kumimoji="0" lang="en-AU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  <a:p>
            <a:pPr marL="171450" indent="-171450">
              <a:lnSpc>
                <a:spcPct val="11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2"/>
                </a:solidFill>
              </a:rPr>
              <a:t>Green hydrogen for industry, grid services and mobility </a:t>
            </a:r>
          </a:p>
          <a:p>
            <a:pPr marL="171450" indent="-171450">
              <a:lnSpc>
                <a:spcPct val="11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2"/>
                </a:solidFill>
              </a:rPr>
              <a:t>Our partners: </a:t>
            </a:r>
            <a:r>
              <a:rPr lang="de-DE" sz="1200">
                <a:solidFill>
                  <a:schemeClr val="bg2"/>
                </a:solidFill>
              </a:rPr>
              <a:t>Siemens AG, WUNH2, SWW Wunsiedel GmbH</a:t>
            </a:r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50" name="Inhaltsplatzhalter 4">
            <a:extLst>
              <a:ext uri="{FF2B5EF4-FFF2-40B4-BE49-F238E27FC236}">
                <a16:creationId xmlns:a16="http://schemas.microsoft.com/office/drawing/2014/main" id="{E16D3A5C-7F63-4D66-A400-2F75297C5A8A}"/>
              </a:ext>
            </a:extLst>
          </p:cNvPr>
          <p:cNvSpPr txBox="1">
            <a:spLocks/>
          </p:cNvSpPr>
          <p:nvPr/>
        </p:nvSpPr>
        <p:spPr>
          <a:xfrm>
            <a:off x="3732985" y="3601971"/>
            <a:ext cx="1810627" cy="1484821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AU" b="0" kern="0">
                <a:solidFill>
                  <a:schemeClr val="bg2"/>
                </a:solidFill>
              </a:rPr>
              <a:t>Oberhausen</a:t>
            </a:r>
            <a:endParaRPr kumimoji="0" lang="en-AU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2"/>
                </a:solidFill>
              </a:rPr>
              <a:t>Green hydrogen for Air Liquide pipeline infrastructure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2"/>
                </a:solidFill>
              </a:rPr>
              <a:t>Our partner: </a:t>
            </a:r>
          </a:p>
          <a:p>
            <a:r>
              <a:rPr lang="en-US" sz="1200">
                <a:solidFill>
                  <a:schemeClr val="bg2"/>
                </a:solidFill>
              </a:rPr>
              <a:t>    Air Liquide</a:t>
            </a:r>
            <a:endParaRPr lang="en-US" sz="1100">
              <a:solidFill>
                <a:schemeClr val="bg2"/>
              </a:solidFill>
            </a:endParaRPr>
          </a:p>
        </p:txBody>
      </p:sp>
      <p:sp>
        <p:nvSpPr>
          <p:cNvPr id="52" name="Inhaltsplatzhalter 4">
            <a:extLst>
              <a:ext uri="{FF2B5EF4-FFF2-40B4-BE49-F238E27FC236}">
                <a16:creationId xmlns:a16="http://schemas.microsoft.com/office/drawing/2014/main" id="{913457BA-DDA9-4CCC-A942-E4F020B61C08}"/>
              </a:ext>
            </a:extLst>
          </p:cNvPr>
          <p:cNvSpPr txBox="1">
            <a:spLocks/>
          </p:cNvSpPr>
          <p:nvPr/>
        </p:nvSpPr>
        <p:spPr>
          <a:xfrm>
            <a:off x="5521675" y="3588205"/>
            <a:ext cx="1653188" cy="1221684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defPPr>
              <a:defRPr lang="en-US"/>
            </a:defPPr>
            <a:lvl1pPr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/>
            </a:lvl1pPr>
            <a:lvl2pPr marL="18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6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3pPr>
            <a:lvl4pPr marL="54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4pPr>
            <a:lvl5pPr marL="72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spcBef>
                <a:spcPts val="400"/>
              </a:spcBef>
            </a:pPr>
            <a:r>
              <a:rPr lang="en-AU" sz="1800" kern="0">
                <a:solidFill>
                  <a:schemeClr val="bg2"/>
                </a:solidFill>
              </a:rPr>
              <a:t>e-Methanol </a:t>
            </a:r>
            <a:r>
              <a:rPr lang="en-AU" sz="1800" kern="0" err="1">
                <a:solidFill>
                  <a:schemeClr val="bg2"/>
                </a:solidFill>
              </a:rPr>
              <a:t>Kassø</a:t>
            </a:r>
            <a:endParaRPr lang="en-AU" sz="1800" kern="0">
              <a:solidFill>
                <a:schemeClr val="bg2"/>
              </a:solidFill>
            </a:endParaRP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/>
                </a:solidFill>
              </a:rPr>
              <a:t>Green hydrogen for CO</a:t>
            </a:r>
            <a:r>
              <a:rPr lang="en-US" baseline="-25000">
                <a:solidFill>
                  <a:schemeClr val="bg2"/>
                </a:solidFill>
              </a:rPr>
              <a:t>2</a:t>
            </a:r>
            <a:r>
              <a:rPr lang="en-US">
                <a:solidFill>
                  <a:schemeClr val="bg2"/>
                </a:solidFill>
              </a:rPr>
              <a:t>-neutral shipping at large-scale 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/>
                </a:solidFill>
              </a:rPr>
              <a:t>Our partner: European Energy</a:t>
            </a:r>
            <a:br>
              <a:rPr lang="en-US" sz="1400">
                <a:solidFill>
                  <a:schemeClr val="bg2"/>
                </a:solidFill>
              </a:rPr>
            </a:br>
            <a:endParaRPr lang="en-US">
              <a:solidFill>
                <a:schemeClr val="bg2"/>
              </a:solidFill>
            </a:endParaRPr>
          </a:p>
        </p:txBody>
      </p:sp>
      <p:sp>
        <p:nvSpPr>
          <p:cNvPr id="30" name="Inhaltsplatzhalter 4">
            <a:extLst>
              <a:ext uri="{FF2B5EF4-FFF2-40B4-BE49-F238E27FC236}">
                <a16:creationId xmlns:a16="http://schemas.microsoft.com/office/drawing/2014/main" id="{F595507D-17D7-4769-8B5D-4732F524516B}"/>
              </a:ext>
            </a:extLst>
          </p:cNvPr>
          <p:cNvSpPr txBox="1">
            <a:spLocks/>
          </p:cNvSpPr>
          <p:nvPr/>
        </p:nvSpPr>
        <p:spPr>
          <a:xfrm>
            <a:off x="10385821" y="3593293"/>
            <a:ext cx="1676540" cy="1642341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defPPr>
              <a:defRPr lang="en-US"/>
            </a:defPPr>
            <a:lvl1pPr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/>
            </a:lvl1pPr>
            <a:lvl2pPr marL="18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6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3pPr>
            <a:lvl4pPr marL="54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4pPr>
            <a:lvl5pPr marL="72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spcBef>
                <a:spcPts val="400"/>
              </a:spcBef>
            </a:pPr>
            <a:r>
              <a:rPr lang="en-AU" sz="1800" kern="0" err="1">
                <a:solidFill>
                  <a:schemeClr val="bg2"/>
                </a:solidFill>
              </a:rPr>
              <a:t>NormandHy</a:t>
            </a:r>
            <a:endParaRPr lang="en-AU" sz="1800" kern="0">
              <a:solidFill>
                <a:schemeClr val="bg2"/>
              </a:solidFill>
            </a:endParaRP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/>
                </a:solidFill>
              </a:rPr>
              <a:t>Renewable electricity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/>
                </a:solidFill>
              </a:rPr>
              <a:t>Engineering and Long Lead Started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/>
                </a:solidFill>
              </a:rPr>
              <a:t>Our Partner: </a:t>
            </a:r>
          </a:p>
          <a:p>
            <a:r>
              <a:rPr lang="en-US">
                <a:solidFill>
                  <a:schemeClr val="bg2"/>
                </a:solidFill>
              </a:rPr>
              <a:t>    Air Liquide</a:t>
            </a:r>
            <a:br>
              <a:rPr lang="en-US" sz="1400">
                <a:solidFill>
                  <a:schemeClr val="bg2"/>
                </a:solidFill>
              </a:rPr>
            </a:br>
            <a:endParaRPr lang="en-US">
              <a:solidFill>
                <a:schemeClr val="bg2"/>
              </a:solidFill>
            </a:endParaRPr>
          </a:p>
        </p:txBody>
      </p:sp>
      <p:sp>
        <p:nvSpPr>
          <p:cNvPr id="32" name="Rechteck 59">
            <a:extLst>
              <a:ext uri="{FF2B5EF4-FFF2-40B4-BE49-F238E27FC236}">
                <a16:creationId xmlns:a16="http://schemas.microsoft.com/office/drawing/2014/main" id="{6E81F5AA-FD77-4E7C-BECB-B64591D4B9F5}"/>
              </a:ext>
            </a:extLst>
          </p:cNvPr>
          <p:cNvSpPr>
            <a:spLocks/>
          </p:cNvSpPr>
          <p:nvPr/>
        </p:nvSpPr>
        <p:spPr>
          <a:xfrm>
            <a:off x="9968596" y="1807965"/>
            <a:ext cx="220498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6ADDFF"/>
                </a:solidFill>
                <a:latin typeface="Arial"/>
              </a:rPr>
              <a:t>20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 MW</a:t>
            </a:r>
          </a:p>
        </p:txBody>
      </p:sp>
      <p:pic>
        <p:nvPicPr>
          <p:cNvPr id="47108" name="Picture 4">
            <a:extLst>
              <a:ext uri="{FF2B5EF4-FFF2-40B4-BE49-F238E27FC236}">
                <a16:creationId xmlns:a16="http://schemas.microsoft.com/office/drawing/2014/main" id="{7F0EB619-193D-4602-B643-0E0E5D6279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0141" y="2537514"/>
            <a:ext cx="1503263" cy="906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Gerader Verbinder 44">
            <a:extLst>
              <a:ext uri="{FF2B5EF4-FFF2-40B4-BE49-F238E27FC236}">
                <a16:creationId xmlns:a16="http://schemas.microsoft.com/office/drawing/2014/main" id="{1C0A71EA-C1FD-4A29-B387-1679B8C264B5}"/>
              </a:ext>
            </a:extLst>
          </p:cNvPr>
          <p:cNvCxnSpPr>
            <a:cxnSpLocks/>
          </p:cNvCxnSpPr>
          <p:nvPr/>
        </p:nvCxnSpPr>
        <p:spPr>
          <a:xfrm>
            <a:off x="3627541" y="2521565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4" name="Rechteck 59">
            <a:extLst>
              <a:ext uri="{FF2B5EF4-FFF2-40B4-BE49-F238E27FC236}">
                <a16:creationId xmlns:a16="http://schemas.microsoft.com/office/drawing/2014/main" id="{A903052D-8098-4C53-9D36-5805F1AEF529}"/>
              </a:ext>
            </a:extLst>
          </p:cNvPr>
          <p:cNvSpPr>
            <a:spLocks/>
          </p:cNvSpPr>
          <p:nvPr/>
        </p:nvSpPr>
        <p:spPr bwMode="gray">
          <a:xfrm>
            <a:off x="129639" y="3588005"/>
            <a:ext cx="1691998" cy="170713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kumimoji="0" lang="en-AU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H2Future Linz</a:t>
            </a:r>
          </a:p>
          <a:p>
            <a:pPr marL="171450" indent="-171450">
              <a:lnSpc>
                <a:spcPct val="11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2"/>
                </a:solidFill>
              </a:rPr>
              <a:t>Green hydrogen for </a:t>
            </a:r>
            <a:r>
              <a:rPr lang="en-US" sz="1200" b="0" i="0">
                <a:solidFill>
                  <a:srgbClr val="1B1534"/>
                </a:solidFill>
                <a:effectLst/>
                <a:latin typeface="Arial" panose="020B0604020202020204" pitchFamily="34" charset="0"/>
              </a:rPr>
              <a:t>the steel making process</a:t>
            </a:r>
            <a:endParaRPr lang="en-US" sz="1200">
              <a:solidFill>
                <a:schemeClr val="bg2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bg2"/>
                </a:solidFill>
              </a:rPr>
              <a:t>Our partners: </a:t>
            </a:r>
            <a:r>
              <a:rPr lang="en-US" sz="1100">
                <a:solidFill>
                  <a:schemeClr val="bg2"/>
                </a:solidFill>
              </a:rPr>
              <a:t>VERBU</a:t>
            </a:r>
            <a:r>
              <a:rPr lang="en-US" sz="11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ND</a:t>
            </a:r>
            <a:r>
              <a:rPr lang="en-US" sz="12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en-US" sz="12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voestalpine</a:t>
            </a:r>
            <a:r>
              <a:rPr lang="en-US" sz="12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Austrian Power Grid (</a:t>
            </a:r>
            <a:r>
              <a:rPr lang="en-US" sz="11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PG</a:t>
            </a:r>
            <a:r>
              <a:rPr lang="en-US" sz="12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), </a:t>
            </a:r>
            <a:r>
              <a:rPr lang="en-US" sz="11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NO, K1-MET</a:t>
            </a:r>
            <a:r>
              <a:rPr lang="en-US" sz="11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35" name="Rechteck 50">
            <a:extLst>
              <a:ext uri="{FF2B5EF4-FFF2-40B4-BE49-F238E27FC236}">
                <a16:creationId xmlns:a16="http://schemas.microsoft.com/office/drawing/2014/main" id="{31494AA4-59E3-4255-B03B-E62BE3EFD340}"/>
              </a:ext>
            </a:extLst>
          </p:cNvPr>
          <p:cNvSpPr>
            <a:spLocks/>
          </p:cNvSpPr>
          <p:nvPr/>
        </p:nvSpPr>
        <p:spPr>
          <a:xfrm>
            <a:off x="-187039" y="1807965"/>
            <a:ext cx="225893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MW</a:t>
            </a:r>
          </a:p>
        </p:txBody>
      </p:sp>
      <p:pic>
        <p:nvPicPr>
          <p:cNvPr id="30724" name="Picture 4">
            <a:extLst>
              <a:ext uri="{FF2B5EF4-FFF2-40B4-BE49-F238E27FC236}">
                <a16:creationId xmlns:a16="http://schemas.microsoft.com/office/drawing/2014/main" id="{BC2BA851-F051-4DBB-AB4E-3DB4D34C6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82484" y="2537515"/>
            <a:ext cx="1432456" cy="84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59">
            <a:extLst>
              <a:ext uri="{FF2B5EF4-FFF2-40B4-BE49-F238E27FC236}">
                <a16:creationId xmlns:a16="http://schemas.microsoft.com/office/drawing/2014/main" id="{876C7ACF-8602-B0AB-68CA-E01475CAD0CA}"/>
              </a:ext>
            </a:extLst>
          </p:cNvPr>
          <p:cNvSpPr>
            <a:spLocks/>
          </p:cNvSpPr>
          <p:nvPr/>
        </p:nvSpPr>
        <p:spPr>
          <a:xfrm>
            <a:off x="6862707" y="1807965"/>
            <a:ext cx="219497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 MW</a:t>
            </a:r>
          </a:p>
        </p:txBody>
      </p:sp>
      <p:cxnSp>
        <p:nvCxnSpPr>
          <p:cNvPr id="5" name="Gerader Verbinder 46">
            <a:extLst>
              <a:ext uri="{FF2B5EF4-FFF2-40B4-BE49-F238E27FC236}">
                <a16:creationId xmlns:a16="http://schemas.microsoft.com/office/drawing/2014/main" id="{77C02EA4-AB61-0252-EFEF-097CDC029B49}"/>
              </a:ext>
            </a:extLst>
          </p:cNvPr>
          <p:cNvCxnSpPr>
            <a:cxnSpLocks/>
          </p:cNvCxnSpPr>
          <p:nvPr/>
        </p:nvCxnSpPr>
        <p:spPr>
          <a:xfrm>
            <a:off x="7182444" y="2521564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7A7187D7-29AC-FE6D-EE91-20C9B5D77B9F}"/>
              </a:ext>
            </a:extLst>
          </p:cNvPr>
          <p:cNvSpPr txBox="1">
            <a:spLocks/>
          </p:cNvSpPr>
          <p:nvPr/>
        </p:nvSpPr>
        <p:spPr>
          <a:xfrm>
            <a:off x="7295931" y="3602590"/>
            <a:ext cx="1420903" cy="1484201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defPPr>
              <a:defRPr lang="en-US"/>
            </a:defPPr>
            <a:lvl1pPr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/>
            </a:lvl1pPr>
            <a:lvl2pPr marL="18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6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3pPr>
            <a:lvl4pPr marL="54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4pPr>
            <a:lvl5pPr marL="72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spcBef>
                <a:spcPts val="400"/>
              </a:spcBef>
            </a:pPr>
            <a:r>
              <a:rPr lang="en-AU" sz="1800" kern="0">
                <a:solidFill>
                  <a:schemeClr val="bg2"/>
                </a:solidFill>
              </a:rPr>
              <a:t>Chemical </a:t>
            </a:r>
            <a:br>
              <a:rPr lang="en-AU" sz="1800" kern="0">
                <a:solidFill>
                  <a:schemeClr val="bg2"/>
                </a:solidFill>
              </a:rPr>
            </a:br>
            <a:r>
              <a:rPr lang="en-AU" sz="1800" kern="0">
                <a:solidFill>
                  <a:schemeClr val="bg2"/>
                </a:solidFill>
              </a:rPr>
              <a:t>Company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/>
                </a:solidFill>
              </a:rPr>
              <a:t>Hydrogen for chemical site</a:t>
            </a:r>
          </a:p>
        </p:txBody>
      </p: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17F16A24-E7E3-C44B-625B-AD9A88FA7E15}"/>
              </a:ext>
            </a:extLst>
          </p:cNvPr>
          <p:cNvCxnSpPr>
            <a:cxnSpLocks/>
          </p:cNvCxnSpPr>
          <p:nvPr/>
        </p:nvCxnSpPr>
        <p:spPr>
          <a:xfrm>
            <a:off x="10366688" y="2521565"/>
            <a:ext cx="0" cy="3164633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accent2"/>
                </a:gs>
                <a:gs pos="100000">
                  <a:schemeClr val="accent3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9" name="Picture 4">
            <a:extLst>
              <a:ext uri="{FF2B5EF4-FFF2-40B4-BE49-F238E27FC236}">
                <a16:creationId xmlns:a16="http://schemas.microsoft.com/office/drawing/2014/main" id="{80575857-2FE9-69C3-2C3F-F6E0E94563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42217" y="2537515"/>
            <a:ext cx="1432456" cy="84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Inhaltsplatzhalter 4">
            <a:extLst>
              <a:ext uri="{FF2B5EF4-FFF2-40B4-BE49-F238E27FC236}">
                <a16:creationId xmlns:a16="http://schemas.microsoft.com/office/drawing/2014/main" id="{E15A85A0-0789-CBBD-F06A-CB29DA158062}"/>
              </a:ext>
            </a:extLst>
          </p:cNvPr>
          <p:cNvSpPr txBox="1">
            <a:spLocks/>
          </p:cNvSpPr>
          <p:nvPr/>
        </p:nvSpPr>
        <p:spPr>
          <a:xfrm>
            <a:off x="8851428" y="3591974"/>
            <a:ext cx="1630721" cy="1221684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defPPr>
              <a:defRPr lang="en-US"/>
            </a:defPPr>
            <a:lvl1pPr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/>
            </a:lvl1pPr>
            <a:lvl2pPr marL="18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6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3pPr>
            <a:lvl4pPr marL="54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4pPr>
            <a:lvl5pPr marL="72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spcBef>
                <a:spcPts val="400"/>
              </a:spcBef>
            </a:pPr>
            <a:r>
              <a:rPr lang="en-AU" sz="1800" kern="0" err="1">
                <a:solidFill>
                  <a:schemeClr val="bg2"/>
                </a:solidFill>
              </a:rPr>
              <a:t>FlagshipONE</a:t>
            </a:r>
            <a:endParaRPr lang="en-AU" sz="1800" kern="0">
              <a:solidFill>
                <a:schemeClr val="bg2"/>
              </a:solidFill>
            </a:endParaRP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/>
                </a:solidFill>
              </a:rPr>
              <a:t>Green hydrogen for CO</a:t>
            </a:r>
            <a:r>
              <a:rPr lang="en-US" baseline="-25000">
                <a:solidFill>
                  <a:schemeClr val="bg2"/>
                </a:solidFill>
              </a:rPr>
              <a:t>2</a:t>
            </a:r>
            <a:r>
              <a:rPr lang="en-US">
                <a:solidFill>
                  <a:schemeClr val="bg2"/>
                </a:solidFill>
              </a:rPr>
              <a:t>-neutral shipping at large-scale </a:t>
            </a: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>
                <a:solidFill>
                  <a:schemeClr val="bg2"/>
                </a:solidFill>
              </a:rPr>
              <a:t>Our partner: </a:t>
            </a:r>
            <a:r>
              <a:rPr lang="en-US" err="1">
                <a:solidFill>
                  <a:schemeClr val="bg2"/>
                </a:solidFill>
              </a:rPr>
              <a:t>Ørsted</a:t>
            </a:r>
            <a:br>
              <a:rPr lang="en-US">
                <a:solidFill>
                  <a:schemeClr val="bg2"/>
                </a:solidFill>
              </a:rPr>
            </a:br>
            <a:endParaRPr lang="en-US">
              <a:solidFill>
                <a:schemeClr val="bg2"/>
              </a:solidFill>
            </a:endParaRP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D70C9265-0929-B5F6-2628-B33C91E1DC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5820" y="2537515"/>
            <a:ext cx="1432456" cy="84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59">
            <a:extLst>
              <a:ext uri="{FF2B5EF4-FFF2-40B4-BE49-F238E27FC236}">
                <a16:creationId xmlns:a16="http://schemas.microsoft.com/office/drawing/2014/main" id="{C3FE9F43-ECDA-A05A-76BD-B0AF66AFAFB6}"/>
              </a:ext>
            </a:extLst>
          </p:cNvPr>
          <p:cNvSpPr>
            <a:spLocks/>
          </p:cNvSpPr>
          <p:nvPr/>
        </p:nvSpPr>
        <p:spPr>
          <a:xfrm>
            <a:off x="8473280" y="1807965"/>
            <a:ext cx="219497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6ADD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0 MW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EB9FDE5-0D1C-4D6A-E716-2729A5982732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24312" y="2534374"/>
            <a:ext cx="1350361" cy="90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8816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EFEEE20-78F4-4C88-8E32-6451ADFBDD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103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EFEEE20-78F4-4C88-8E32-6451ADFBDD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>
            <a:extLst>
              <a:ext uri="{FF2B5EF4-FFF2-40B4-BE49-F238E27FC236}">
                <a16:creationId xmlns:a16="http://schemas.microsoft.com/office/drawing/2014/main" id="{DCCD1421-8CE1-4DFB-A868-12F92D2DF3D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4157"/>
          <a:stretch/>
        </p:blipFill>
        <p:spPr>
          <a:xfrm>
            <a:off x="-1" y="3048"/>
            <a:ext cx="4225926" cy="6851904"/>
          </a:xfrm>
          <a:prstGeom prst="rect">
            <a:avLst/>
          </a:prstGeom>
          <a:solidFill>
            <a:srgbClr val="1B1435"/>
          </a:solidFill>
        </p:spPr>
      </p:pic>
      <p:sp>
        <p:nvSpPr>
          <p:cNvPr id="32" name="Number 1">
            <a:extLst>
              <a:ext uri="{FF2B5EF4-FFF2-40B4-BE49-F238E27FC236}">
                <a16:creationId xmlns:a16="http://schemas.microsoft.com/office/drawing/2014/main" id="{E7607740-6B83-464E-A981-8B611F720060}"/>
              </a:ext>
            </a:extLst>
          </p:cNvPr>
          <p:cNvSpPr txBox="1">
            <a:spLocks noChangeAspect="1"/>
          </p:cNvSpPr>
          <p:nvPr/>
        </p:nvSpPr>
        <p:spPr>
          <a:xfrm>
            <a:off x="5343525" y="1195489"/>
            <a:ext cx="1604030" cy="609398"/>
          </a:xfrm>
          <a:prstGeom prst="rect">
            <a:avLst/>
          </a:prstGeom>
          <a:noFill/>
          <a:ln>
            <a:noFill/>
          </a:ln>
          <a:effectLst>
            <a:outerShdw blurRad="508000" dir="5400000" sx="150000" sy="150000" algn="ctr" rotWithShape="0">
              <a:schemeClr val="accent4"/>
            </a:outerShdw>
          </a:effectLst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3"/>
                </a:solidFill>
                <a:latin typeface="Siemens Serif" panose="02020500000000000000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b="1" kern="1200">
                <a:solidFill>
                  <a:schemeClr val="accent2"/>
                </a:solidFill>
                <a:latin typeface="Siemens Serif" panose="02020500000000000000" pitchFamily="18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21C0FF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WHY</a:t>
            </a:r>
          </a:p>
        </p:txBody>
      </p:sp>
      <p:sp>
        <p:nvSpPr>
          <p:cNvPr id="14" name="Chapter 1">
            <a:extLst>
              <a:ext uri="{FF2B5EF4-FFF2-40B4-BE49-F238E27FC236}">
                <a16:creationId xmlns:a16="http://schemas.microsoft.com/office/drawing/2014/main" id="{536F604E-D6B4-466E-993F-1A67CB8B8CD5}"/>
              </a:ext>
            </a:extLst>
          </p:cNvPr>
          <p:cNvSpPr txBox="1">
            <a:spLocks/>
          </p:cNvSpPr>
          <p:nvPr/>
        </p:nvSpPr>
        <p:spPr>
          <a:xfrm>
            <a:off x="7458074" y="1065453"/>
            <a:ext cx="4256089" cy="86946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hydrogen is the second stage of the energy transition 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spensable for decarbonization</a:t>
            </a:r>
          </a:p>
        </p:txBody>
      </p:sp>
      <p:sp>
        <p:nvSpPr>
          <p:cNvPr id="35" name="Number 2">
            <a:extLst>
              <a:ext uri="{FF2B5EF4-FFF2-40B4-BE49-F238E27FC236}">
                <a16:creationId xmlns:a16="http://schemas.microsoft.com/office/drawing/2014/main" id="{8A4A4788-ACD4-49F9-ADB6-E3B0CA43E56C}"/>
              </a:ext>
            </a:extLst>
          </p:cNvPr>
          <p:cNvSpPr txBox="1">
            <a:spLocks noChangeAspect="1"/>
          </p:cNvSpPr>
          <p:nvPr/>
        </p:nvSpPr>
        <p:spPr>
          <a:xfrm>
            <a:off x="5343525" y="4183069"/>
            <a:ext cx="1604030" cy="609398"/>
          </a:xfrm>
          <a:prstGeom prst="rect">
            <a:avLst/>
          </a:prstGeom>
          <a:noFill/>
          <a:ln>
            <a:noFill/>
          </a:ln>
          <a:effectLst>
            <a:outerShdw blurRad="508000" dir="5400000" sx="150000" sy="150000" algn="ctr" rotWithShape="0">
              <a:schemeClr val="accent4"/>
            </a:outerShdw>
          </a:effectLst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3"/>
                </a:solidFill>
                <a:latin typeface="Siemens Serif" panose="02020500000000000000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b="1" kern="1200">
                <a:solidFill>
                  <a:schemeClr val="accent2"/>
                </a:solidFill>
                <a:latin typeface="Siemens Serif" panose="02020500000000000000" pitchFamily="18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D217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21C0FF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HOW</a:t>
            </a:r>
          </a:p>
        </p:txBody>
      </p:sp>
      <p:sp>
        <p:nvSpPr>
          <p:cNvPr id="28" name="Chapter 5">
            <a:extLst>
              <a:ext uri="{FF2B5EF4-FFF2-40B4-BE49-F238E27FC236}">
                <a16:creationId xmlns:a16="http://schemas.microsoft.com/office/drawing/2014/main" id="{C513CB39-1D16-4EB4-8E71-93932374A85B}"/>
              </a:ext>
            </a:extLst>
          </p:cNvPr>
          <p:cNvSpPr txBox="1">
            <a:spLocks/>
          </p:cNvSpPr>
          <p:nvPr/>
        </p:nvSpPr>
        <p:spPr>
          <a:xfrm>
            <a:off x="7458074" y="4033797"/>
            <a:ext cx="4256089" cy="90794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ure technology and cost leadership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 Giga factory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ng international partner ecosystem</a:t>
            </a:r>
          </a:p>
        </p:txBody>
      </p:sp>
      <p:sp>
        <p:nvSpPr>
          <p:cNvPr id="36" name="Number 3">
            <a:extLst>
              <a:ext uri="{FF2B5EF4-FFF2-40B4-BE49-F238E27FC236}">
                <a16:creationId xmlns:a16="http://schemas.microsoft.com/office/drawing/2014/main" id="{8F81A36F-99AF-48BC-BED6-40D40B75807A}"/>
              </a:ext>
            </a:extLst>
          </p:cNvPr>
          <p:cNvSpPr txBox="1">
            <a:spLocks noChangeAspect="1"/>
          </p:cNvSpPr>
          <p:nvPr/>
        </p:nvSpPr>
        <p:spPr>
          <a:xfrm>
            <a:off x="5367401" y="2670043"/>
            <a:ext cx="1844104" cy="609398"/>
          </a:xfrm>
          <a:prstGeom prst="rect">
            <a:avLst/>
          </a:prstGeom>
          <a:noFill/>
          <a:ln>
            <a:noFill/>
          </a:ln>
          <a:effectLst>
            <a:outerShdw blurRad="508000" dir="5400000" sx="150000" sy="150000" algn="ctr" rotWithShape="0">
              <a:schemeClr val="accent4"/>
            </a:outerShdw>
          </a:effectLst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3"/>
                </a:solidFill>
                <a:latin typeface="Siemens Serif" panose="02020500000000000000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b="1" kern="1200">
                <a:solidFill>
                  <a:schemeClr val="accent2"/>
                </a:solidFill>
                <a:latin typeface="Siemens Serif" panose="02020500000000000000" pitchFamily="18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D217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21C0FF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WHAT</a:t>
            </a:r>
          </a:p>
        </p:txBody>
      </p:sp>
      <p:sp>
        <p:nvSpPr>
          <p:cNvPr id="16" name="Chapter 2">
            <a:extLst>
              <a:ext uri="{FF2B5EF4-FFF2-40B4-BE49-F238E27FC236}">
                <a16:creationId xmlns:a16="http://schemas.microsoft.com/office/drawing/2014/main" id="{81A25FD6-A584-4718-8F0C-D06A1E883A67}"/>
              </a:ext>
            </a:extLst>
          </p:cNvPr>
          <p:cNvSpPr txBox="1">
            <a:spLocks/>
          </p:cNvSpPr>
          <p:nvPr/>
        </p:nvSpPr>
        <p:spPr>
          <a:xfrm>
            <a:off x="7458074" y="2382272"/>
            <a:ext cx="4256089" cy="11849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-house PEM electrolysis technology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 Power-to-X-solutions enabled by the full Siemens Energy competence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 twin and service concepts</a:t>
            </a: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5EED0CED-5480-4246-AB76-54B3C531D4F6}"/>
              </a:ext>
            </a:extLst>
          </p:cNvPr>
          <p:cNvCxnSpPr>
            <a:cxnSpLocks/>
          </p:cNvCxnSpPr>
          <p:nvPr/>
        </p:nvCxnSpPr>
        <p:spPr>
          <a:xfrm>
            <a:off x="5343525" y="2155904"/>
            <a:ext cx="6370638" cy="0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tx2"/>
                </a:gs>
                <a:gs pos="100000">
                  <a:schemeClr val="accent3">
                    <a:alpha val="0"/>
                  </a:schemeClr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E101029-9924-4800-B2FB-CA3E9AEBE4DC}"/>
              </a:ext>
            </a:extLst>
          </p:cNvPr>
          <p:cNvCxnSpPr>
            <a:cxnSpLocks/>
          </p:cNvCxnSpPr>
          <p:nvPr/>
        </p:nvCxnSpPr>
        <p:spPr>
          <a:xfrm>
            <a:off x="5343525" y="3793580"/>
            <a:ext cx="6370638" cy="0"/>
          </a:xfrm>
          <a:prstGeom prst="line">
            <a:avLst/>
          </a:prstGeom>
          <a:noFill/>
          <a:ln w="12700" cap="rnd" cmpd="sng" algn="ctr">
            <a:gradFill flip="none" rotWithShape="1">
              <a:gsLst>
                <a:gs pos="0">
                  <a:schemeClr val="tx2"/>
                </a:gs>
                <a:gs pos="100000">
                  <a:schemeClr val="accent3">
                    <a:alpha val="0"/>
                  </a:schemeClr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120477B-0CB2-4C68-83EF-61401AE001D0}"/>
              </a:ext>
            </a:extLst>
          </p:cNvPr>
          <p:cNvSpPr txBox="1"/>
          <p:nvPr/>
        </p:nvSpPr>
        <p:spPr>
          <a:xfrm>
            <a:off x="5343525" y="5323621"/>
            <a:ext cx="6424377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We know how to industrialize technologies! </a:t>
            </a: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4D217A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1E09B7E8-B1AA-E69B-8B75-8C21EA2A80BD}"/>
              </a:ext>
            </a:extLst>
          </p:cNvPr>
          <p:cNvSpPr txBox="1"/>
          <p:nvPr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bg1"/>
                </a:solidFill>
              </a:rPr>
              <a:t>May 2023</a:t>
            </a:r>
          </a:p>
        </p:txBody>
      </p:sp>
    </p:spTree>
    <p:extLst>
      <p:ext uri="{BB962C8B-B14F-4D97-AF65-F5344CB8AC3E}">
        <p14:creationId xmlns:p14="http://schemas.microsoft.com/office/powerpoint/2010/main" val="655767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L2HIVjH_C2zHgHCbDu1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JYTV0AbhLcnqhPJyPJS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xfNVUevrHiFbUWCdL.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izhA3AsjdEeaejO1Hf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UOTcZxzlqyM_mEB6K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FLlA2OYHs.OygzibbU.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STwwMuMPY_RbrNjcLZb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.zDaJimXj3w0052xEKb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_Exy7lEYzSVWZ3PlV_i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Mbl2losNumDMIGV1CQ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3lLQbm1_VuHNPQ0N0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N5.kuftjS6omdZR.Nsy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XsCz9qeMN3L9rVVfHx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UPWYMX5Z9vPSmtwc.v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xnBFtEC.U6qgcTCyEHx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0WJj0a7G9w9sOT1_18v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gN5MB68GKWaFsig8ucO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K_jpZRhBvzsIVH_Me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uvZjIY1wO.Yn_JneoUq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Cvu2ESMuetG9.PuHkR3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Fztl.rUcyXVRscxXGZI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vx_Hmfu5NKafVsb.6qh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QJ7mb9zd8NiH8C3LM5W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G8cQySdcgZRGuvydzKU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PL3QAQO69f1iPNSC8.Z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bfbH4BU0fS1iDWb2vuC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018cMhpi1m6iD3R6PJt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mdUlEEVmYyHrGKyGp8R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gwp_DWAnMTGklvJ48Sb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kMTUqaQMAhkWVSzDB9o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Bl5D7E_6tEKu3xEDsCM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GaYubAlo5WB6FaJMN6.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EAIlSFccQh_tvbX7Hz.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aYJJeKPsmPep4R1ovZE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dSuv1O.38Uqglq1j2H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khrxTGDuxIwQb3.WuzS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QSoYaXl.RZ8XKPcfTLz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ElezD41ErSOkmlTONDt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taD1aG1nbuBU3EMGj0j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y8q7GAV.EyfR4WkDZgl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L2HIVjH_C2zHgHCbDu1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JYTV0AbhLcnqhPJyPJS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xfNVUevrHiFbUWCdL.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fizhA3AsjdEeaejO1Hf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UOTcZxzlqyM_mEB6K6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FLlA2OYHs.OygzibbU.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STwwMuMPY_RbrNjcLZb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.zDaJimXj3w0052xEKb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_Exy7lEYzSVWZ3PlV_i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Mbl2losNumDMIGV1CQ5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3lLQbm1_VuHNPQ0N0Z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N5.kuftjS6omdZR.Nsy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XsCz9qeMN3L9rVVfHx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gwp_DWAnMTGklvJ48S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03nrH9UzpCNcROwrli_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2gEl2eykwYZtuV0.pfA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N00WkNxkGXxczgoZ9G5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N00WkNxkGXxczgoZ9G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XsCz9qeMN3L9rVVfHx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UPWYMX5Z9vPSmtwc.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xnBFtEC.U6qgcTCyEH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0WJj0a7G9w9sOT1_18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gN5MB68GKWaFsig8uc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EK_jpZRhBvzsIVH_M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uvZjIY1wO.Yn_JneoU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Cvu2ESMuetG9.PuHkR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Fztl.rUcyXVRscxXGZ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vx_Hmfu5NKafVsb.6qh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QJ7mb9zd8NiH8C3LM5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G8cQySdcgZRGuvydzKU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PL3QAQO69f1iPNSC8.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bfbH4BU0fS1iDWb2vu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018cMhpi1m6iD3R6PJ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mdUlEEVmYyHrGKyGp8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gwp_DWAnMTGklvJ48S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kMTUqaQMAhkWVSzDB9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Bl5D7E_6tEKu3xEDsC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GaYubAlo5WB6FaJMN6.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EAIlSFccQh_tvbX7Hz.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aYJJeKPsmPep4R1ovZE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dSuv1O.38Uqglq1j2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khrxTGDuxIwQb3.WuzS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QSoYaXl.RZ8XKPcfTLz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ElezD41ErSOkmlTONDt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taD1aG1nbuBU3EMGj0j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y8q7GAV.EyfR4WkDZglg"/>
</p:tagLst>
</file>

<file path=ppt/theme/theme1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  <a:extLst>
    <a:ext uri="{05A4C25C-085E-4340-85A3-A5531E510DB2}">
      <thm15:themeFamily xmlns:thm15="http://schemas.microsoft.com/office/thememl/2012/main" name="SE_PPT_Template 16x9" id="{E1539DBB-267A-4668-9D58-8AEB5B75C29F}" vid="{3433C535-5FC2-443C-8821-1DB4D827541E}"/>
    </a:ext>
  </a:extLst>
</a:theme>
</file>

<file path=ppt/theme/theme10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8A00E5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8A00E5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  <a:extLst>
    <a:ext uri="{05A4C25C-085E-4340-85A3-A5531E510DB2}">
      <thm15:themeFamily xmlns:thm15="http://schemas.microsoft.com/office/thememl/2012/main" name="SE_PPT-Template_v1-4.pptx" id="{9F356809-ADD9-45B2-80AE-679313C34245}" vid="{BA9A0271-C1B2-4796-B4A5-568D1AF50045}"/>
    </a:ext>
  </a:extLst>
</a:theme>
</file>

<file path=ppt/theme/theme3.xml><?xml version="1.0" encoding="utf-8"?>
<a:theme xmlns:a="http://schemas.openxmlformats.org/drawingml/2006/main" name="2_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4.xml><?xml version="1.0" encoding="utf-8"?>
<a:theme xmlns:a="http://schemas.openxmlformats.org/drawingml/2006/main" name="3_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5.xml><?xml version="1.0" encoding="utf-8"?>
<a:theme xmlns:a="http://schemas.openxmlformats.org/drawingml/2006/main" name="4_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  <a:extLst>
    <a:ext uri="{05A4C25C-085E-4340-85A3-A5531E510DB2}">
      <thm15:themeFamily xmlns:thm15="http://schemas.microsoft.com/office/thememl/2012/main" name="SE_PPT-Template.pptx" id="{023A37F2-AF87-4822-B4D0-64FAE8ABED5E}" vid="{9F6375CC-19C6-408F-A8EE-C21CBC27B287}"/>
    </a:ext>
  </a:extLst>
</a:theme>
</file>

<file path=ppt/theme/theme6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7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8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  <a:extLst>
    <a:ext uri="{05A4C25C-085E-4340-85A3-A5531E510DB2}">
      <thm15:themeFamily xmlns:thm15="http://schemas.microsoft.com/office/thememl/2012/main" name="SE_PPT_Template 16x9" id="{E1539DBB-267A-4668-9D58-8AEB5B75C29F}" vid="{3433C535-5FC2-443C-8821-1DB4D827541E}"/>
    </a:ext>
  </a:extLst>
</a:theme>
</file>

<file path=ppt/theme/theme9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0">
      <a:srgbClr val="EFEBEA"/>
    </a:custClr>
    <a:custClr name="SE Brown 3">
      <a:srgbClr val="8F7C7A"/>
    </a:custClr>
    <a:custClr name="SE Gray 0">
      <a:srgbClr val="EAF4F8"/>
    </a:custClr>
    <a:custClr name="SE Gray 3">
      <a:srgbClr val="96B0C0"/>
    </a:custClr>
    <a:custClr name="SE Green 0">
      <a:srgbClr val="DCFFDC"/>
    </a:custClr>
    <a:custClr name="SE Green 3">
      <a:srgbClr val="27B66D"/>
    </a:custClr>
    <a:custClr name="SE Blue 0">
      <a:srgbClr val="CAF9FF"/>
    </a:custClr>
    <a:custClr name="SE Blue 3">
      <a:srgbClr val="0084E1"/>
    </a:custClr>
    <a:custClr name="SE Yellow 0">
      <a:srgbClr val="FCFCB5"/>
    </a:custClr>
    <a:custClr name="SE Yellow 3">
      <a:srgbClr val="E2D000"/>
    </a:custClr>
    <a:custClr name="SE Brown 1">
      <a:srgbClr val="CFC0BE"/>
    </a:custClr>
    <a:custClr name="SE Brown 4">
      <a:srgbClr val="7D6766"/>
    </a:custClr>
    <a:custClr name="SE Gray 1">
      <a:srgbClr val="D7E4EE"/>
    </a:custClr>
    <a:custClr name="SE Gray 4">
      <a:srgbClr val="7B919D"/>
    </a:custClr>
    <a:custClr name="SE Green 1">
      <a:srgbClr val="00FD79"/>
    </a:custClr>
    <a:custClr name="SE Green 4">
      <a:srgbClr val="009B55"/>
    </a:custClr>
    <a:custClr name="SE Blue 1">
      <a:srgbClr val="6ADDFF"/>
    </a:custClr>
    <a:custClr name="SE Blue 4">
      <a:srgbClr val="0057C6"/>
    </a:custClr>
    <a:custClr name="SE Yellow 1">
      <a:srgbClr val="FFF91F"/>
    </a:custClr>
    <a:custClr name="SE Yellow 4">
      <a:srgbClr val="C6AE00"/>
    </a:custClr>
    <a:custClr name="SE Brown 2">
      <a:srgbClr val="AF9E9C"/>
    </a:custClr>
    <a:custClr name="SE Brown 5">
      <a:srgbClr val="564646"/>
    </a:custClr>
    <a:custClr name="SE Gray 2">
      <a:srgbClr val="B8CEDB"/>
    </a:custClr>
    <a:custClr name="SE Gray 5">
      <a:srgbClr val="54646E"/>
    </a:custClr>
    <a:custClr name="SE Green 2">
      <a:srgbClr val="14DA79"/>
    </a:custClr>
    <a:custClr name="SE Green 5">
      <a:srgbClr val="006C3B"/>
    </a:custClr>
    <a:custClr name="SE Blue 2">
      <a:srgbClr val="21C0FF"/>
    </a:custClr>
    <a:custClr name="SE Blue 5">
      <a:srgbClr val="00328C"/>
    </a:custClr>
    <a:custClr name="SE Yellow 2">
      <a:srgbClr val="F6E600"/>
    </a:custClr>
    <a:custClr name="SE Yellow 5">
      <a:srgbClr val="8C7500"/>
    </a:custClr>
  </a:custClrLst>
  <a:extLst>
    <a:ext uri="{05A4C25C-085E-4340-85A3-A5531E510DB2}">
      <thm15:themeFamily xmlns:thm15="http://schemas.microsoft.com/office/thememl/2012/main" name="SE-PPT-Template_v1-6" id="{338CCF95-01A8-4EE3-8368-74B0D29A2E0B}" vid="{239FC6A1-4FB9-4A23-899F-6BE6F9D73F5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p4ppTags>
  <Name>One object (large)</Name>
  <PpLayout>16</PpLayout>
  <Index>10</Index>
</p4ppTags>
</file>

<file path=customXml/itemProps1.xml><?xml version="1.0" encoding="utf-8"?>
<ds:datastoreItem xmlns:ds="http://schemas.openxmlformats.org/officeDocument/2006/customXml" ds:itemID="{DE5E77E6-0237-4D4B-86DC-8B8587F435D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tent</Template>
  <TotalTime>0</TotalTime>
  <Words>915</Words>
  <Application>Microsoft Office PowerPoint</Application>
  <PresentationFormat>Breitbild</PresentationFormat>
  <Paragraphs>191</Paragraphs>
  <Slides>9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9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9</vt:i4>
      </vt:variant>
    </vt:vector>
  </HeadingPairs>
  <TitlesOfParts>
    <vt:vector size="26" baseType="lpstr">
      <vt:lpstr>Arial</vt:lpstr>
      <vt:lpstr>Noto Sans Symbols</vt:lpstr>
      <vt:lpstr>Symbol</vt:lpstr>
      <vt:lpstr>Times New Roman</vt:lpstr>
      <vt:lpstr>var( --e-global-typography-primary-font-family )</vt:lpstr>
      <vt:lpstr>Wingdings</vt:lpstr>
      <vt:lpstr>Siemens Energy</vt:lpstr>
      <vt:lpstr>1_Siemens Energy</vt:lpstr>
      <vt:lpstr>2_Siemens Energy</vt:lpstr>
      <vt:lpstr>3_Siemens Energy</vt:lpstr>
      <vt:lpstr>4_Siemens Energy</vt:lpstr>
      <vt:lpstr>Siemens Energy</vt:lpstr>
      <vt:lpstr>Siemens Energy</vt:lpstr>
      <vt:lpstr>Siemens Energy</vt:lpstr>
      <vt:lpstr>Siemens Energy</vt:lpstr>
      <vt:lpstr>think-cell Folie</vt:lpstr>
      <vt:lpstr>think-cell Slide</vt:lpstr>
      <vt:lpstr>Wasserstoff Elektrolyseure        im industriellen Maßstab  2. Nationales Wirtschaftsforum Wasserstoff Hamburg, 24.05.2023  Dr. Nima Pegemanyfar, Head of Sustainable Energy Systems / Hydrogen  Sales Region Europe</vt:lpstr>
      <vt:lpstr>PowerPoint-Präsentation</vt:lpstr>
      <vt:lpstr>Siemens Energy can offer products, solutions and services across the whole hydrogen / P2X value chain</vt:lpstr>
      <vt:lpstr>Technology expertise in Electrolysis Our electrolyzer portfolio scales up by factor 10 every 4 – 5 years </vt:lpstr>
      <vt:lpstr>Prepared for delivery at Gigawatt scale  Standardization, Modularization and Manufacturing</vt:lpstr>
      <vt:lpstr>Ready to deliver large-scale electrolysis systems + capacity increase in Germany is locked and loaded </vt:lpstr>
      <vt:lpstr>Industrial scale production of Electrolyzer with up to  1GW in 2023 and 3GW in 2025</vt:lpstr>
      <vt:lpstr>Projects completed or in implementation based on Silyzer 300 Scale-up is already happening </vt:lpstr>
      <vt:lpstr>PowerPoint-Präsentation</vt:lpstr>
    </vt:vector>
  </TitlesOfParts>
  <Company>Siemens Gas and Power</Company>
  <LinksUpToDate>false</LinksUpToDate>
  <SharedDoc>false</SharedDoc>
  <HyperlinkBase>www.siemens-energy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stainable Energy Systems</dc:title>
  <dc:creator>Jasmin Brandt | i-pointing</dc:creator>
  <cp:keywords>C_Unrestricted</cp:keywords>
  <dc:description>November 2020
Version 1.1.3</dc:description>
  <cp:lastModifiedBy>Pegemanyfar, Nima</cp:lastModifiedBy>
  <cp:revision>4</cp:revision>
  <cp:lastPrinted>2020-03-11T17:11:35Z</cp:lastPrinted>
  <dcterms:created xsi:type="dcterms:W3CDTF">2021-07-06T06:20:33Z</dcterms:created>
  <dcterms:modified xsi:type="dcterms:W3CDTF">2023-05-19T12:00:26Z</dcterms:modified>
  <cp:contentStatus>Template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Document_Confidentiality">
    <vt:lpwstr>Unrestricted</vt:lpwstr>
  </property>
  <property fmtid="{D5CDD505-2E9C-101B-9397-08002B2CF9AE}" pid="4" name="sodocoClasLang">
    <vt:lpwstr>Frei verwendbar</vt:lpwstr>
  </property>
  <property fmtid="{D5CDD505-2E9C-101B-9397-08002B2CF9AE}" pid="5" name="sodocoClasLangId">
    <vt:i4>0</vt:i4>
  </property>
  <property fmtid="{D5CDD505-2E9C-101B-9397-08002B2CF9AE}" pid="6" name="sodocoClasId">
    <vt:i4>0</vt:i4>
  </property>
  <property fmtid="{D5CDD505-2E9C-101B-9397-08002B2CF9AE}" pid="7" name="MSIP_Label_36791f77-3d39-4d72-9277-ac879ec799ed_Enabled">
    <vt:lpwstr>true</vt:lpwstr>
  </property>
  <property fmtid="{D5CDD505-2E9C-101B-9397-08002B2CF9AE}" pid="8" name="MSIP_Label_36791f77-3d39-4d72-9277-ac879ec799ed_SetDate">
    <vt:lpwstr>2022-04-27T11:08:58Z</vt:lpwstr>
  </property>
  <property fmtid="{D5CDD505-2E9C-101B-9397-08002B2CF9AE}" pid="9" name="MSIP_Label_36791f77-3d39-4d72-9277-ac879ec799ed_Method">
    <vt:lpwstr>Standard</vt:lpwstr>
  </property>
  <property fmtid="{D5CDD505-2E9C-101B-9397-08002B2CF9AE}" pid="10" name="MSIP_Label_36791f77-3d39-4d72-9277-ac879ec799ed_Name">
    <vt:lpwstr>restricted-default</vt:lpwstr>
  </property>
  <property fmtid="{D5CDD505-2E9C-101B-9397-08002B2CF9AE}" pid="11" name="MSIP_Label_36791f77-3d39-4d72-9277-ac879ec799ed_SiteId">
    <vt:lpwstr>254ba93e-1f6f-48f3-90e6-e2766664b477</vt:lpwstr>
  </property>
  <property fmtid="{D5CDD505-2E9C-101B-9397-08002B2CF9AE}" pid="12" name="MSIP_Label_36791f77-3d39-4d72-9277-ac879ec799ed_ActionId">
    <vt:lpwstr>2a67bdbb-abee-48ec-ab51-74fae6b0b26d</vt:lpwstr>
  </property>
  <property fmtid="{D5CDD505-2E9C-101B-9397-08002B2CF9AE}" pid="13" name="MSIP_Label_36791f77-3d39-4d72-9277-ac879ec799ed_ContentBits">
    <vt:lpwstr>0</vt:lpwstr>
  </property>
</Properties>
</file>